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7"/>
  </p:notesMasterIdLst>
  <p:handoutMasterIdLst>
    <p:handoutMasterId r:id="rId28"/>
  </p:handoutMasterIdLst>
  <p:sldIdLst>
    <p:sldId id="256" r:id="rId2"/>
    <p:sldId id="290" r:id="rId3"/>
    <p:sldId id="278" r:id="rId4"/>
    <p:sldId id="350" r:id="rId5"/>
    <p:sldId id="360" r:id="rId6"/>
    <p:sldId id="362" r:id="rId7"/>
    <p:sldId id="353" r:id="rId8"/>
    <p:sldId id="363" r:id="rId9"/>
    <p:sldId id="364" r:id="rId10"/>
    <p:sldId id="365" r:id="rId11"/>
    <p:sldId id="356" r:id="rId12"/>
    <p:sldId id="366" r:id="rId13"/>
    <p:sldId id="367" r:id="rId14"/>
    <p:sldId id="368" r:id="rId15"/>
    <p:sldId id="369" r:id="rId16"/>
    <p:sldId id="359" r:id="rId17"/>
    <p:sldId id="302" r:id="rId18"/>
    <p:sldId id="370" r:id="rId19"/>
    <p:sldId id="297" r:id="rId20"/>
    <p:sldId id="298" r:id="rId21"/>
    <p:sldId id="299" r:id="rId22"/>
    <p:sldId id="303" r:id="rId23"/>
    <p:sldId id="304" r:id="rId24"/>
    <p:sldId id="305" r:id="rId25"/>
    <p:sldId id="289" r:id="rId26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163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8545" autoAdjust="0"/>
    <p:restoredTop sz="86410" autoAdjust="0"/>
  </p:normalViewPr>
  <p:slideViewPr>
    <p:cSldViewPr>
      <p:cViewPr varScale="1">
        <p:scale>
          <a:sx n="85" d="100"/>
          <a:sy n="85" d="100"/>
        </p:scale>
        <p:origin x="120" y="246"/>
      </p:cViewPr>
      <p:guideLst>
        <p:guide orient="horz" pos="2183"/>
        <p:guide pos="1632"/>
      </p:guideLst>
    </p:cSldViewPr>
  </p:slideViewPr>
  <p:outlineViewPr>
    <p:cViewPr>
      <p:scale>
        <a:sx n="33" d="100"/>
        <a:sy n="33" d="100"/>
      </p:scale>
      <p:origin x="0" y="-831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8F36D0-D698-455C-AA50-924427002D4D}" type="datetimeFigureOut">
              <a:rPr lang="en-GB" smtClean="0"/>
              <a:t>05/03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6ADC93-DAB0-4B2E-BB32-E504B07D85B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77594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5C5267-5C11-4C45-BAE5-CCB596448AE1}" type="datetimeFigureOut">
              <a:rPr lang="en-GB" smtClean="0"/>
              <a:t>05/03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442EB0-A846-45C6-8FD9-7B3FFC69638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27537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442EB0-A846-45C6-8FD9-7B3FFC696389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0017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442EB0-A846-45C6-8FD9-7B3FFC696389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759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r>
              <a:rPr lang="en-GB" dirty="0"/>
              <a:t>Date</a:t>
            </a:r>
          </a:p>
        </p:txBody>
      </p:sp>
      <p:sp>
        <p:nvSpPr>
          <p:cNvPr id="8089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6BA0FF7-33CA-4C78-8D32-DDB614B1B5FF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8090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" y="744538"/>
            <a:ext cx="6618288" cy="3724275"/>
          </a:xfrm>
          <a:ln/>
        </p:spPr>
      </p:sp>
      <p:sp>
        <p:nvSpPr>
          <p:cNvPr id="8090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1342" y="4715153"/>
            <a:ext cx="5434993" cy="4466987"/>
          </a:xfrm>
          <a:noFill/>
          <a:ln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60828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442EB0-A846-45C6-8FD9-7B3FFC696389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57282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442EB0-A846-45C6-8FD9-7B3FFC696389}" type="slidenum">
              <a:rPr lang="en-GB" smtClean="0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0317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442EB0-A846-45C6-8FD9-7B3FFC696389}" type="slidenum">
              <a:rPr lang="en-GB" smtClean="0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66660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442EB0-A846-45C6-8FD9-7B3FFC696389}" type="slidenum">
              <a:rPr lang="en-GB" smtClean="0"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32015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442EB0-A846-45C6-8FD9-7B3FFC696389}" type="slidenum">
              <a:rPr lang="en-GB" smtClean="0"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22127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442EB0-A846-45C6-8FD9-7B3FFC696389}" type="slidenum">
              <a:rPr lang="en-GB" smtClean="0"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49688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711200" y="1371600"/>
            <a:ext cx="10468864" cy="1828800"/>
          </a:xfrm>
          <a:ln>
            <a:noFill/>
          </a:ln>
        </p:spPr>
        <p:txBody>
          <a:bodyPr vert="horz" tIns="0" rIns="18288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711200" y="3228536"/>
            <a:ext cx="10472928" cy="1752600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n-US"/>
              <a:t>Click to edit Master subtitle style</a:t>
            </a:r>
          </a:p>
        </p:txBody>
      </p:sp>
      <p:sp>
        <p:nvSpPr>
          <p:cNvPr id="30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32973C-BC0E-499B-8DDE-2AA734AC9C48}" type="datetimeFigureOut">
              <a:rPr lang="en-GB" smtClean="0"/>
              <a:t>05/03/2019</a:t>
            </a:fld>
            <a:endParaRPr lang="en-GB" dirty="0"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27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62EF06-CAC3-4510-96AD-091B6CC62CFB}" type="slidenum">
              <a:rPr lang="en-GB" smtClean="0"/>
              <a:t>‹#›</a:t>
            </a:fld>
            <a:endParaRPr lang="en-GB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32973C-BC0E-499B-8DDE-2AA734AC9C48}" type="datetimeFigureOut">
              <a:rPr lang="en-GB" smtClean="0"/>
              <a:t>05/03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62EF06-CAC3-4510-96AD-091B6CC62CF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914402"/>
            <a:ext cx="2743200" cy="5211763"/>
          </a:xfrm>
        </p:spPr>
        <p:txBody>
          <a:bodyPr vert="eaVert"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914402"/>
            <a:ext cx="8026400" cy="5211763"/>
          </a:xfrm>
        </p:spPr>
        <p:txBody>
          <a:bodyPr vert="eaVert"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32973C-BC0E-499B-8DDE-2AA734AC9C48}" type="datetimeFigureOut">
              <a:rPr lang="en-GB" smtClean="0"/>
              <a:t>05/03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62EF06-CAC3-4510-96AD-091B6CC62CF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5440" y="800708"/>
            <a:ext cx="10972800" cy="794352"/>
          </a:xfrm>
        </p:spPr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55440" y="1808820"/>
            <a:ext cx="10166920" cy="4121812"/>
          </a:xfrm>
        </p:spPr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32973C-BC0E-499B-8DDE-2AA734AC9C48}" type="datetimeFigureOut">
              <a:rPr lang="en-GB" smtClean="0"/>
              <a:t>05/03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62EF06-CAC3-4510-96AD-091B6CC62CF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5440" y="1016732"/>
            <a:ext cx="10363200" cy="894404"/>
          </a:xfrm>
          <a:ln>
            <a:noFill/>
          </a:ln>
        </p:spPr>
        <p:txBody>
          <a:bodyPr vert="horz" tIns="0" bIns="0" anchor="b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55440" y="2204864"/>
            <a:ext cx="10363200" cy="1509712"/>
          </a:xfrm>
        </p:spPr>
        <p:txBody>
          <a:bodyPr lIns="45720" rIns="45720" anchor="t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32973C-BC0E-499B-8DDE-2AA734AC9C48}" type="datetimeFigureOut">
              <a:rPr lang="en-GB" smtClean="0"/>
              <a:t>05/03/2019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62EF06-CAC3-4510-96AD-091B6CC62CFB}" type="slidenum">
              <a:rPr lang="en-GB" smtClean="0"/>
              <a:t>‹#›</a:t>
            </a:fld>
            <a:endParaRPr lang="en-GB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704088"/>
            <a:ext cx="10972800" cy="1143000"/>
          </a:xfrm>
        </p:spPr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920085"/>
            <a:ext cx="53848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920085"/>
            <a:ext cx="53848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32973C-BC0E-499B-8DDE-2AA734AC9C48}" type="datetimeFigureOut">
              <a:rPr lang="en-GB" smtClean="0"/>
              <a:t>05/03/2019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62EF06-CAC3-4510-96AD-091B6CC62CF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704088"/>
            <a:ext cx="10972800" cy="1143000"/>
          </a:xfrm>
        </p:spPr>
        <p:txBody>
          <a:bodyPr tIns="45720" anchor="b"/>
          <a:lstStyle>
            <a:lvl1pPr>
              <a:defRPr/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855248"/>
            <a:ext cx="5386917" cy="659352"/>
          </a:xfrm>
        </p:spPr>
        <p:txBody>
          <a:bodyPr lIns="45720" tIns="0" rIns="45720" bIns="0" anchor="ctr">
            <a:noAutofit/>
          </a:bodyPr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6193368" y="1859758"/>
            <a:ext cx="5389033" cy="654843"/>
          </a:xfrm>
        </p:spPr>
        <p:txBody>
          <a:bodyPr lIns="45720" tIns="0" rIns="45720" bIns="0" anchor="ctr"/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609600" y="2514600"/>
            <a:ext cx="5386917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514600"/>
            <a:ext cx="5389033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32973C-BC0E-499B-8DDE-2AA734AC9C48}" type="datetimeFigureOut">
              <a:rPr lang="en-GB" smtClean="0"/>
              <a:t>05/03/2019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62EF06-CAC3-4510-96AD-091B6CC62CF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704088"/>
            <a:ext cx="11074400" cy="1143000"/>
          </a:xfrm>
        </p:spPr>
        <p:txBody>
          <a:bodyPr vert="horz" tIns="45720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contourClr>
                <a:schemeClr val="tx2"/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50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32973C-BC0E-499B-8DDE-2AA734AC9C48}" type="datetimeFigureOut">
              <a:rPr lang="en-GB" smtClean="0"/>
              <a:t>05/03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62EF06-CAC3-4510-96AD-091B6CC62CF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32973C-BC0E-499B-8DDE-2AA734AC9C48}" type="datetimeFigureOut">
              <a:rPr lang="en-GB" smtClean="0"/>
              <a:t>05/03/2019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62EF06-CAC3-4510-96AD-091B6CC62CF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514352"/>
            <a:ext cx="3657600" cy="1162050"/>
          </a:xfrm>
        </p:spPr>
        <p:txBody>
          <a:bodyPr lIns="0" anchor="b">
            <a:noAutofit/>
          </a:bodyPr>
          <a:lstStyle>
            <a:lvl1pPr algn="l" rtl="0">
              <a:spcBef>
                <a:spcPct val="0"/>
              </a:spcBef>
              <a:buNone/>
              <a:defRPr sz="26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914400" y="1676400"/>
            <a:ext cx="3657600" cy="4572000"/>
          </a:xfrm>
        </p:spPr>
        <p:txBody>
          <a:bodyPr lIns="18288" rIns="18288"/>
          <a:lstStyle>
            <a:lvl1pPr marL="0" indent="0" algn="l">
              <a:buNone/>
              <a:defRPr sz="1400"/>
            </a:lvl1pPr>
            <a:lvl2pPr indent="0" algn="l">
              <a:buNone/>
              <a:defRPr sz="1200"/>
            </a:lvl2pPr>
            <a:lvl3pPr indent="0" algn="l">
              <a:buNone/>
              <a:defRPr sz="1000"/>
            </a:lvl3pPr>
            <a:lvl4pPr indent="0" algn="l">
              <a:buNone/>
              <a:defRPr sz="900"/>
            </a:lvl4pPr>
            <a:lvl5pPr indent="0" algn="l">
              <a:buNone/>
              <a:defRPr sz="900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4766733" y="1676400"/>
            <a:ext cx="6815667" cy="4572000"/>
          </a:xfrm>
        </p:spPr>
        <p:txBody>
          <a:bodyPr tIns="0"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32973C-BC0E-499B-8DDE-2AA734AC9C48}" type="datetimeFigureOut">
              <a:rPr lang="en-GB" smtClean="0"/>
              <a:t>05/03/2019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62EF06-CAC3-4510-96AD-091B6CC62CFB}" type="slidenum">
              <a:rPr lang="en-GB" smtClean="0"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nip and Round Single Corner Rectangle 8"/>
          <p:cNvSpPr/>
          <p:nvPr/>
        </p:nvSpPr>
        <p:spPr>
          <a:xfrm rot="420000" flipV="1">
            <a:off x="4221004" y="1108077"/>
            <a:ext cx="7010400" cy="41148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 sz="1800" dirty="0"/>
          </a:p>
        </p:txBody>
      </p:sp>
      <p:sp>
        <p:nvSpPr>
          <p:cNvPr id="12" name="Right Triangle 11"/>
          <p:cNvSpPr/>
          <p:nvPr/>
        </p:nvSpPr>
        <p:spPr>
          <a:xfrm rot="420000" flipV="1">
            <a:off x="10672179" y="5359769"/>
            <a:ext cx="207264" cy="155448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2800" y="1176997"/>
            <a:ext cx="2950464" cy="1582621"/>
          </a:xfrm>
        </p:spPr>
        <p:txBody>
          <a:bodyPr vert="horz" lIns="45720" tIns="45720" rIns="45720" bIns="45720" anchor="b"/>
          <a:lstStyle>
            <a:lvl1pPr algn="l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12800" y="2828785"/>
            <a:ext cx="2946400" cy="2179320"/>
          </a:xfrm>
        </p:spPr>
        <p:txBody>
          <a:bodyPr lIns="64008" rIns="45720" bIns="45720" anchor="t"/>
          <a:lstStyle>
            <a:lvl1pPr marL="0" indent="0" algn="l">
              <a:spcBef>
                <a:spcPts val="250"/>
              </a:spcBef>
              <a:buFontTx/>
              <a:buNone/>
              <a:defRPr sz="13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32973C-BC0E-499B-8DDE-2AA734AC9C48}" type="datetimeFigureOut">
              <a:rPr lang="en-GB" smtClean="0"/>
              <a:t>05/03/2019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769600" y="6356351"/>
            <a:ext cx="812800" cy="365125"/>
          </a:xfrm>
        </p:spPr>
        <p:txBody>
          <a:bodyPr/>
          <a:lstStyle/>
          <a:p>
            <a:fld id="{1762EF06-CAC3-4510-96AD-091B6CC62CF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 rot="420000">
            <a:off x="4647724" y="1199517"/>
            <a:ext cx="6156960" cy="393192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en-US" dirty="0"/>
              <a:t>Click icon to add picture</a:t>
            </a: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 flipV="1">
            <a:off x="-12700" y="5816600"/>
            <a:ext cx="1221740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 sz="18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Freeform 10"/>
          <p:cNvSpPr>
            <a:spLocks/>
          </p:cNvSpPr>
          <p:nvPr/>
        </p:nvSpPr>
        <p:spPr bwMode="auto">
          <a:xfrm flipV="1">
            <a:off x="5842000" y="6219826"/>
            <a:ext cx="63500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 sz="18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>
            <a:spLocks/>
          </p:cNvSpPr>
          <p:nvPr/>
        </p:nvSpPr>
        <p:spPr bwMode="auto">
          <a:xfrm>
            <a:off x="-12700" y="-7144"/>
            <a:ext cx="1221740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 sz="18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5842000" y="-7144"/>
            <a:ext cx="63500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 sz="18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609600" y="704088"/>
            <a:ext cx="10972800" cy="1143000"/>
          </a:xfrm>
          <a:prstGeom prst="rect">
            <a:avLst/>
          </a:prstGeom>
        </p:spPr>
        <p:txBody>
          <a:bodyPr vert="horz" lIns="0" rIns="0" bIns="0" anchor="b">
            <a:normAutofit/>
          </a:bodyPr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0" name="Text Placeholder 29"/>
          <p:cNvSpPr>
            <a:spLocks noGrp="1"/>
          </p:cNvSpPr>
          <p:nvPr>
            <p:ph type="body" idx="1"/>
          </p:nvPr>
        </p:nvSpPr>
        <p:spPr>
          <a:xfrm>
            <a:off x="609600" y="1935480"/>
            <a:ext cx="10972800" cy="438912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/>
              <a:t>Click to edit Master text styles</a:t>
            </a:r>
          </a:p>
          <a:p>
            <a:pPr lvl="1" eaLnBrk="1" latinLnBrk="0" hangingPunct="1"/>
            <a:r>
              <a:rPr kumimoji="0" lang="en-US"/>
              <a:t>Second level</a:t>
            </a:r>
          </a:p>
          <a:p>
            <a:pPr lvl="2" eaLnBrk="1" latinLnBrk="0" hangingPunct="1"/>
            <a:r>
              <a:rPr kumimoji="0" lang="en-US"/>
              <a:t>Third level</a:t>
            </a:r>
          </a:p>
          <a:p>
            <a:pPr lvl="3" eaLnBrk="1" latinLnBrk="0" hangingPunct="1"/>
            <a:r>
              <a:rPr kumimoji="0" lang="en-US"/>
              <a:t>Fourth level</a:t>
            </a:r>
          </a:p>
          <a:p>
            <a:pPr lvl="4" eaLnBrk="1" latinLnBrk="0" hangingPunct="1"/>
            <a:r>
              <a:rPr kumimoji="0" lang="en-US"/>
              <a:t>Fifth level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4132973C-BC0E-499B-8DDE-2AA734AC9C48}" type="datetimeFigureOut">
              <a:rPr lang="en-GB" smtClean="0"/>
              <a:t>05/03/2019</a:t>
            </a:fld>
            <a:endParaRPr lang="en-GB" dirty="0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3556000" y="6356351"/>
            <a:ext cx="44704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10566400" y="6356351"/>
            <a:ext cx="1016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fld id="{1762EF06-CAC3-4510-96AD-091B6CC62CFB}" type="slidenum">
              <a:rPr lang="en-GB" smtClean="0"/>
              <a:t>‹#›</a:t>
            </a:fld>
            <a:endParaRPr lang="en-GB" dirty="0"/>
          </a:p>
        </p:txBody>
      </p:sp>
      <p:grpSp>
        <p:nvGrpSpPr>
          <p:cNvPr id="2" name="Group 1"/>
          <p:cNvGrpSpPr/>
          <p:nvPr/>
        </p:nvGrpSpPr>
        <p:grpSpPr>
          <a:xfrm>
            <a:off x="-25356" y="202408"/>
            <a:ext cx="12240731" cy="649224"/>
            <a:chOff x="-19045" y="216550"/>
            <a:chExt cx="9180548" cy="649224"/>
          </a:xfrm>
        </p:grpSpPr>
        <p:sp>
          <p:nvSpPr>
            <p:cNvPr id="12" name="Freeform 11"/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 sz="1800" dirty="0"/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 sz="1800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rtl="0" eaLnBrk="1" latinLnBrk="0" hangingPunct="1">
        <a:spcBef>
          <a:spcPct val="0"/>
        </a:spcBef>
        <a:buNone/>
        <a:defRPr kumimoji="0" sz="5000" b="0" kern="120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ct val="20000"/>
        </a:spcBef>
        <a:buClr>
          <a:schemeClr val="accent3"/>
        </a:buClr>
        <a:buSzPct val="95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46888" algn="l" rtl="0" eaLnBrk="1" latinLnBrk="0" hangingPunct="1">
        <a:spcBef>
          <a:spcPct val="20000"/>
        </a:spcBef>
        <a:buClr>
          <a:schemeClr val="accent1"/>
        </a:buClr>
        <a:buSzPct val="85000"/>
        <a:buFont typeface="Wingdings 2"/>
        <a:buChar char="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46888" algn="l" rtl="0" eaLnBrk="1" latinLnBrk="0" hangingPunct="1">
        <a:spcBef>
          <a:spcPct val="20000"/>
        </a:spcBef>
        <a:buClr>
          <a:schemeClr val="accent2"/>
        </a:buClr>
        <a:buSzPct val="70000"/>
        <a:buFont typeface="Wingdings 2"/>
        <a:buChar char="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88720" indent="-210312" algn="l" rtl="0" eaLnBrk="1" latinLnBrk="0" hangingPunct="1">
        <a:spcBef>
          <a:spcPct val="20000"/>
        </a:spcBef>
        <a:buClr>
          <a:schemeClr val="accent3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63040" indent="-210312" algn="l" rtl="0" eaLnBrk="1" latinLnBrk="0" hangingPunct="1">
        <a:spcBef>
          <a:spcPct val="20000"/>
        </a:spcBef>
        <a:buClr>
          <a:schemeClr val="accent4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2.jp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17" Type="http://schemas.openxmlformats.org/officeDocument/2006/relationships/tags" Target="../tags/tag118.xml"/><Relationship Id="rId299" Type="http://schemas.openxmlformats.org/officeDocument/2006/relationships/tags" Target="../tags/tag300.xml"/><Relationship Id="rId21" Type="http://schemas.openxmlformats.org/officeDocument/2006/relationships/tags" Target="../tags/tag22.xml"/><Relationship Id="rId63" Type="http://schemas.openxmlformats.org/officeDocument/2006/relationships/tags" Target="../tags/tag64.xml"/><Relationship Id="rId159" Type="http://schemas.openxmlformats.org/officeDocument/2006/relationships/tags" Target="../tags/tag160.xml"/><Relationship Id="rId324" Type="http://schemas.openxmlformats.org/officeDocument/2006/relationships/tags" Target="../tags/tag325.xml"/><Relationship Id="rId366" Type="http://schemas.openxmlformats.org/officeDocument/2006/relationships/tags" Target="../tags/tag367.xml"/><Relationship Id="rId170" Type="http://schemas.openxmlformats.org/officeDocument/2006/relationships/tags" Target="../tags/tag171.xml"/><Relationship Id="rId226" Type="http://schemas.openxmlformats.org/officeDocument/2006/relationships/tags" Target="../tags/tag227.xml"/><Relationship Id="rId268" Type="http://schemas.openxmlformats.org/officeDocument/2006/relationships/tags" Target="../tags/tag269.xml"/><Relationship Id="rId32" Type="http://schemas.openxmlformats.org/officeDocument/2006/relationships/tags" Target="../tags/tag33.xml"/><Relationship Id="rId74" Type="http://schemas.openxmlformats.org/officeDocument/2006/relationships/tags" Target="../tags/tag75.xml"/><Relationship Id="rId128" Type="http://schemas.openxmlformats.org/officeDocument/2006/relationships/tags" Target="../tags/tag129.xml"/><Relationship Id="rId335" Type="http://schemas.openxmlformats.org/officeDocument/2006/relationships/tags" Target="../tags/tag336.xml"/><Relationship Id="rId377" Type="http://schemas.openxmlformats.org/officeDocument/2006/relationships/tags" Target="../tags/tag378.xml"/><Relationship Id="rId5" Type="http://schemas.openxmlformats.org/officeDocument/2006/relationships/tags" Target="../tags/tag6.xml"/><Relationship Id="rId181" Type="http://schemas.openxmlformats.org/officeDocument/2006/relationships/tags" Target="../tags/tag182.xml"/><Relationship Id="rId237" Type="http://schemas.openxmlformats.org/officeDocument/2006/relationships/tags" Target="../tags/tag238.xml"/><Relationship Id="rId279" Type="http://schemas.openxmlformats.org/officeDocument/2006/relationships/tags" Target="../tags/tag280.xml"/><Relationship Id="rId43" Type="http://schemas.openxmlformats.org/officeDocument/2006/relationships/tags" Target="../tags/tag44.xml"/><Relationship Id="rId139" Type="http://schemas.openxmlformats.org/officeDocument/2006/relationships/tags" Target="../tags/tag140.xml"/><Relationship Id="rId290" Type="http://schemas.openxmlformats.org/officeDocument/2006/relationships/tags" Target="../tags/tag291.xml"/><Relationship Id="rId304" Type="http://schemas.openxmlformats.org/officeDocument/2006/relationships/tags" Target="../tags/tag305.xml"/><Relationship Id="rId346" Type="http://schemas.openxmlformats.org/officeDocument/2006/relationships/tags" Target="../tags/tag347.xml"/><Relationship Id="rId85" Type="http://schemas.openxmlformats.org/officeDocument/2006/relationships/tags" Target="../tags/tag86.xml"/><Relationship Id="rId150" Type="http://schemas.openxmlformats.org/officeDocument/2006/relationships/tags" Target="../tags/tag151.xml"/><Relationship Id="rId192" Type="http://schemas.openxmlformats.org/officeDocument/2006/relationships/tags" Target="../tags/tag193.xml"/><Relationship Id="rId206" Type="http://schemas.openxmlformats.org/officeDocument/2006/relationships/tags" Target="../tags/tag207.xml"/><Relationship Id="rId248" Type="http://schemas.openxmlformats.org/officeDocument/2006/relationships/tags" Target="../tags/tag249.xml"/><Relationship Id="rId12" Type="http://schemas.openxmlformats.org/officeDocument/2006/relationships/tags" Target="../tags/tag13.xml"/><Relationship Id="rId108" Type="http://schemas.openxmlformats.org/officeDocument/2006/relationships/tags" Target="../tags/tag109.xml"/><Relationship Id="rId315" Type="http://schemas.openxmlformats.org/officeDocument/2006/relationships/tags" Target="../tags/tag316.xml"/><Relationship Id="rId357" Type="http://schemas.openxmlformats.org/officeDocument/2006/relationships/tags" Target="../tags/tag358.xml"/><Relationship Id="rId54" Type="http://schemas.openxmlformats.org/officeDocument/2006/relationships/tags" Target="../tags/tag55.xml"/><Relationship Id="rId96" Type="http://schemas.openxmlformats.org/officeDocument/2006/relationships/tags" Target="../tags/tag97.xml"/><Relationship Id="rId161" Type="http://schemas.openxmlformats.org/officeDocument/2006/relationships/tags" Target="../tags/tag162.xml"/><Relationship Id="rId217" Type="http://schemas.openxmlformats.org/officeDocument/2006/relationships/tags" Target="../tags/tag218.xml"/><Relationship Id="rId259" Type="http://schemas.openxmlformats.org/officeDocument/2006/relationships/tags" Target="../tags/tag260.xml"/><Relationship Id="rId23" Type="http://schemas.openxmlformats.org/officeDocument/2006/relationships/tags" Target="../tags/tag24.xml"/><Relationship Id="rId119" Type="http://schemas.openxmlformats.org/officeDocument/2006/relationships/tags" Target="../tags/tag120.xml"/><Relationship Id="rId270" Type="http://schemas.openxmlformats.org/officeDocument/2006/relationships/tags" Target="../tags/tag271.xml"/><Relationship Id="rId326" Type="http://schemas.openxmlformats.org/officeDocument/2006/relationships/tags" Target="../tags/tag327.xml"/><Relationship Id="rId65" Type="http://schemas.openxmlformats.org/officeDocument/2006/relationships/tags" Target="../tags/tag66.xml"/><Relationship Id="rId130" Type="http://schemas.openxmlformats.org/officeDocument/2006/relationships/tags" Target="../tags/tag131.xml"/><Relationship Id="rId368" Type="http://schemas.openxmlformats.org/officeDocument/2006/relationships/tags" Target="../tags/tag369.xml"/><Relationship Id="rId172" Type="http://schemas.openxmlformats.org/officeDocument/2006/relationships/tags" Target="../tags/tag173.xml"/><Relationship Id="rId228" Type="http://schemas.openxmlformats.org/officeDocument/2006/relationships/tags" Target="../tags/tag229.xml"/><Relationship Id="rId281" Type="http://schemas.openxmlformats.org/officeDocument/2006/relationships/tags" Target="../tags/tag282.xml"/><Relationship Id="rId337" Type="http://schemas.openxmlformats.org/officeDocument/2006/relationships/tags" Target="../tags/tag338.xml"/><Relationship Id="rId34" Type="http://schemas.openxmlformats.org/officeDocument/2006/relationships/tags" Target="../tags/tag35.xml"/><Relationship Id="rId76" Type="http://schemas.openxmlformats.org/officeDocument/2006/relationships/tags" Target="../tags/tag77.xml"/><Relationship Id="rId141" Type="http://schemas.openxmlformats.org/officeDocument/2006/relationships/tags" Target="../tags/tag142.xml"/><Relationship Id="rId379" Type="http://schemas.openxmlformats.org/officeDocument/2006/relationships/tags" Target="../tags/tag380.xml"/><Relationship Id="rId7" Type="http://schemas.openxmlformats.org/officeDocument/2006/relationships/tags" Target="../tags/tag8.xml"/><Relationship Id="rId183" Type="http://schemas.openxmlformats.org/officeDocument/2006/relationships/tags" Target="../tags/tag184.xml"/><Relationship Id="rId239" Type="http://schemas.openxmlformats.org/officeDocument/2006/relationships/tags" Target="../tags/tag240.xml"/><Relationship Id="rId250" Type="http://schemas.openxmlformats.org/officeDocument/2006/relationships/tags" Target="../tags/tag251.xml"/><Relationship Id="rId292" Type="http://schemas.openxmlformats.org/officeDocument/2006/relationships/tags" Target="../tags/tag293.xml"/><Relationship Id="rId306" Type="http://schemas.openxmlformats.org/officeDocument/2006/relationships/tags" Target="../tags/tag307.xml"/><Relationship Id="rId45" Type="http://schemas.openxmlformats.org/officeDocument/2006/relationships/tags" Target="../tags/tag46.xml"/><Relationship Id="rId87" Type="http://schemas.openxmlformats.org/officeDocument/2006/relationships/tags" Target="../tags/tag88.xml"/><Relationship Id="rId110" Type="http://schemas.openxmlformats.org/officeDocument/2006/relationships/tags" Target="../tags/tag111.xml"/><Relationship Id="rId348" Type="http://schemas.openxmlformats.org/officeDocument/2006/relationships/tags" Target="../tags/tag349.xml"/><Relationship Id="rId152" Type="http://schemas.openxmlformats.org/officeDocument/2006/relationships/tags" Target="../tags/tag153.xml"/><Relationship Id="rId194" Type="http://schemas.openxmlformats.org/officeDocument/2006/relationships/tags" Target="../tags/tag195.xml"/><Relationship Id="rId208" Type="http://schemas.openxmlformats.org/officeDocument/2006/relationships/tags" Target="../tags/tag209.xml"/><Relationship Id="rId261" Type="http://schemas.openxmlformats.org/officeDocument/2006/relationships/tags" Target="../tags/tag262.xml"/><Relationship Id="rId14" Type="http://schemas.openxmlformats.org/officeDocument/2006/relationships/tags" Target="../tags/tag15.xml"/><Relationship Id="rId56" Type="http://schemas.openxmlformats.org/officeDocument/2006/relationships/tags" Target="../tags/tag57.xml"/><Relationship Id="rId317" Type="http://schemas.openxmlformats.org/officeDocument/2006/relationships/tags" Target="../tags/tag318.xml"/><Relationship Id="rId359" Type="http://schemas.openxmlformats.org/officeDocument/2006/relationships/tags" Target="../tags/tag360.xml"/><Relationship Id="rId98" Type="http://schemas.openxmlformats.org/officeDocument/2006/relationships/tags" Target="../tags/tag99.xml"/><Relationship Id="rId121" Type="http://schemas.openxmlformats.org/officeDocument/2006/relationships/tags" Target="../tags/tag122.xml"/><Relationship Id="rId163" Type="http://schemas.openxmlformats.org/officeDocument/2006/relationships/tags" Target="../tags/tag164.xml"/><Relationship Id="rId219" Type="http://schemas.openxmlformats.org/officeDocument/2006/relationships/tags" Target="../tags/tag220.xml"/><Relationship Id="rId370" Type="http://schemas.openxmlformats.org/officeDocument/2006/relationships/tags" Target="../tags/tag371.xml"/><Relationship Id="rId230" Type="http://schemas.openxmlformats.org/officeDocument/2006/relationships/tags" Target="../tags/tag231.xml"/><Relationship Id="rId25" Type="http://schemas.openxmlformats.org/officeDocument/2006/relationships/tags" Target="../tags/tag26.xml"/><Relationship Id="rId67" Type="http://schemas.openxmlformats.org/officeDocument/2006/relationships/tags" Target="../tags/tag68.xml"/><Relationship Id="rId272" Type="http://schemas.openxmlformats.org/officeDocument/2006/relationships/tags" Target="../tags/tag273.xml"/><Relationship Id="rId328" Type="http://schemas.openxmlformats.org/officeDocument/2006/relationships/tags" Target="../tags/tag329.xml"/><Relationship Id="rId132" Type="http://schemas.openxmlformats.org/officeDocument/2006/relationships/tags" Target="../tags/tag133.xml"/><Relationship Id="rId174" Type="http://schemas.openxmlformats.org/officeDocument/2006/relationships/tags" Target="../tags/tag175.xml"/><Relationship Id="rId381" Type="http://schemas.openxmlformats.org/officeDocument/2006/relationships/tags" Target="../tags/tag382.xml"/><Relationship Id="rId241" Type="http://schemas.openxmlformats.org/officeDocument/2006/relationships/tags" Target="../tags/tag242.xml"/><Relationship Id="rId36" Type="http://schemas.openxmlformats.org/officeDocument/2006/relationships/tags" Target="../tags/tag37.xml"/><Relationship Id="rId283" Type="http://schemas.openxmlformats.org/officeDocument/2006/relationships/tags" Target="../tags/tag284.xml"/><Relationship Id="rId339" Type="http://schemas.openxmlformats.org/officeDocument/2006/relationships/tags" Target="../tags/tag340.xml"/><Relationship Id="rId78" Type="http://schemas.openxmlformats.org/officeDocument/2006/relationships/tags" Target="../tags/tag79.xml"/><Relationship Id="rId101" Type="http://schemas.openxmlformats.org/officeDocument/2006/relationships/tags" Target="../tags/tag102.xml"/><Relationship Id="rId143" Type="http://schemas.openxmlformats.org/officeDocument/2006/relationships/tags" Target="../tags/tag144.xml"/><Relationship Id="rId185" Type="http://schemas.openxmlformats.org/officeDocument/2006/relationships/tags" Target="../tags/tag186.xml"/><Relationship Id="rId350" Type="http://schemas.openxmlformats.org/officeDocument/2006/relationships/tags" Target="../tags/tag351.xml"/><Relationship Id="rId9" Type="http://schemas.openxmlformats.org/officeDocument/2006/relationships/tags" Target="../tags/tag10.xml"/><Relationship Id="rId210" Type="http://schemas.openxmlformats.org/officeDocument/2006/relationships/tags" Target="../tags/tag211.xml"/><Relationship Id="rId26" Type="http://schemas.openxmlformats.org/officeDocument/2006/relationships/tags" Target="../tags/tag27.xml"/><Relationship Id="rId231" Type="http://schemas.openxmlformats.org/officeDocument/2006/relationships/tags" Target="../tags/tag232.xml"/><Relationship Id="rId252" Type="http://schemas.openxmlformats.org/officeDocument/2006/relationships/tags" Target="../tags/tag253.xml"/><Relationship Id="rId273" Type="http://schemas.openxmlformats.org/officeDocument/2006/relationships/tags" Target="../tags/tag274.xml"/><Relationship Id="rId294" Type="http://schemas.openxmlformats.org/officeDocument/2006/relationships/tags" Target="../tags/tag295.xml"/><Relationship Id="rId308" Type="http://schemas.openxmlformats.org/officeDocument/2006/relationships/tags" Target="../tags/tag309.xml"/><Relationship Id="rId329" Type="http://schemas.openxmlformats.org/officeDocument/2006/relationships/tags" Target="../tags/tag330.xml"/><Relationship Id="rId47" Type="http://schemas.openxmlformats.org/officeDocument/2006/relationships/tags" Target="../tags/tag48.xml"/><Relationship Id="rId68" Type="http://schemas.openxmlformats.org/officeDocument/2006/relationships/tags" Target="../tags/tag69.xml"/><Relationship Id="rId89" Type="http://schemas.openxmlformats.org/officeDocument/2006/relationships/tags" Target="../tags/tag90.xml"/><Relationship Id="rId112" Type="http://schemas.openxmlformats.org/officeDocument/2006/relationships/tags" Target="../tags/tag113.xml"/><Relationship Id="rId133" Type="http://schemas.openxmlformats.org/officeDocument/2006/relationships/tags" Target="../tags/tag134.xml"/><Relationship Id="rId154" Type="http://schemas.openxmlformats.org/officeDocument/2006/relationships/tags" Target="../tags/tag155.xml"/><Relationship Id="rId175" Type="http://schemas.openxmlformats.org/officeDocument/2006/relationships/tags" Target="../tags/tag176.xml"/><Relationship Id="rId340" Type="http://schemas.openxmlformats.org/officeDocument/2006/relationships/tags" Target="../tags/tag341.xml"/><Relationship Id="rId361" Type="http://schemas.openxmlformats.org/officeDocument/2006/relationships/tags" Target="../tags/tag362.xml"/><Relationship Id="rId196" Type="http://schemas.openxmlformats.org/officeDocument/2006/relationships/tags" Target="../tags/tag197.xml"/><Relationship Id="rId200" Type="http://schemas.openxmlformats.org/officeDocument/2006/relationships/tags" Target="../tags/tag201.xml"/><Relationship Id="rId382" Type="http://schemas.openxmlformats.org/officeDocument/2006/relationships/slideLayout" Target="../slideLayouts/slideLayout6.xml"/><Relationship Id="rId16" Type="http://schemas.openxmlformats.org/officeDocument/2006/relationships/tags" Target="../tags/tag17.xml"/><Relationship Id="rId221" Type="http://schemas.openxmlformats.org/officeDocument/2006/relationships/tags" Target="../tags/tag222.xml"/><Relationship Id="rId242" Type="http://schemas.openxmlformats.org/officeDocument/2006/relationships/tags" Target="../tags/tag243.xml"/><Relationship Id="rId263" Type="http://schemas.openxmlformats.org/officeDocument/2006/relationships/tags" Target="../tags/tag264.xml"/><Relationship Id="rId284" Type="http://schemas.openxmlformats.org/officeDocument/2006/relationships/tags" Target="../tags/tag285.xml"/><Relationship Id="rId319" Type="http://schemas.openxmlformats.org/officeDocument/2006/relationships/tags" Target="../tags/tag320.xml"/><Relationship Id="rId37" Type="http://schemas.openxmlformats.org/officeDocument/2006/relationships/tags" Target="../tags/tag38.xml"/><Relationship Id="rId58" Type="http://schemas.openxmlformats.org/officeDocument/2006/relationships/tags" Target="../tags/tag59.xml"/><Relationship Id="rId79" Type="http://schemas.openxmlformats.org/officeDocument/2006/relationships/tags" Target="../tags/tag80.xml"/><Relationship Id="rId102" Type="http://schemas.openxmlformats.org/officeDocument/2006/relationships/tags" Target="../tags/tag103.xml"/><Relationship Id="rId123" Type="http://schemas.openxmlformats.org/officeDocument/2006/relationships/tags" Target="../tags/tag124.xml"/><Relationship Id="rId144" Type="http://schemas.openxmlformats.org/officeDocument/2006/relationships/tags" Target="../tags/tag145.xml"/><Relationship Id="rId330" Type="http://schemas.openxmlformats.org/officeDocument/2006/relationships/tags" Target="../tags/tag331.xml"/><Relationship Id="rId90" Type="http://schemas.openxmlformats.org/officeDocument/2006/relationships/tags" Target="../tags/tag91.xml"/><Relationship Id="rId165" Type="http://schemas.openxmlformats.org/officeDocument/2006/relationships/tags" Target="../tags/tag166.xml"/><Relationship Id="rId186" Type="http://schemas.openxmlformats.org/officeDocument/2006/relationships/tags" Target="../tags/tag187.xml"/><Relationship Id="rId351" Type="http://schemas.openxmlformats.org/officeDocument/2006/relationships/tags" Target="../tags/tag352.xml"/><Relationship Id="rId372" Type="http://schemas.openxmlformats.org/officeDocument/2006/relationships/tags" Target="../tags/tag373.xml"/><Relationship Id="rId211" Type="http://schemas.openxmlformats.org/officeDocument/2006/relationships/tags" Target="../tags/tag212.xml"/><Relationship Id="rId232" Type="http://schemas.openxmlformats.org/officeDocument/2006/relationships/tags" Target="../tags/tag233.xml"/><Relationship Id="rId253" Type="http://schemas.openxmlformats.org/officeDocument/2006/relationships/tags" Target="../tags/tag254.xml"/><Relationship Id="rId274" Type="http://schemas.openxmlformats.org/officeDocument/2006/relationships/tags" Target="../tags/tag275.xml"/><Relationship Id="rId295" Type="http://schemas.openxmlformats.org/officeDocument/2006/relationships/tags" Target="../tags/tag296.xml"/><Relationship Id="rId309" Type="http://schemas.openxmlformats.org/officeDocument/2006/relationships/tags" Target="../tags/tag310.xml"/><Relationship Id="rId27" Type="http://schemas.openxmlformats.org/officeDocument/2006/relationships/tags" Target="../tags/tag28.xml"/><Relationship Id="rId48" Type="http://schemas.openxmlformats.org/officeDocument/2006/relationships/tags" Target="../tags/tag49.xml"/><Relationship Id="rId69" Type="http://schemas.openxmlformats.org/officeDocument/2006/relationships/tags" Target="../tags/tag70.xml"/><Relationship Id="rId113" Type="http://schemas.openxmlformats.org/officeDocument/2006/relationships/tags" Target="../tags/tag114.xml"/><Relationship Id="rId134" Type="http://schemas.openxmlformats.org/officeDocument/2006/relationships/tags" Target="../tags/tag135.xml"/><Relationship Id="rId320" Type="http://schemas.openxmlformats.org/officeDocument/2006/relationships/tags" Target="../tags/tag321.xml"/><Relationship Id="rId80" Type="http://schemas.openxmlformats.org/officeDocument/2006/relationships/tags" Target="../tags/tag81.xml"/><Relationship Id="rId155" Type="http://schemas.openxmlformats.org/officeDocument/2006/relationships/tags" Target="../tags/tag156.xml"/><Relationship Id="rId176" Type="http://schemas.openxmlformats.org/officeDocument/2006/relationships/tags" Target="../tags/tag177.xml"/><Relationship Id="rId197" Type="http://schemas.openxmlformats.org/officeDocument/2006/relationships/tags" Target="../tags/tag198.xml"/><Relationship Id="rId341" Type="http://schemas.openxmlformats.org/officeDocument/2006/relationships/tags" Target="../tags/tag342.xml"/><Relationship Id="rId362" Type="http://schemas.openxmlformats.org/officeDocument/2006/relationships/tags" Target="../tags/tag363.xml"/><Relationship Id="rId383" Type="http://schemas.openxmlformats.org/officeDocument/2006/relationships/notesSlide" Target="../notesSlides/notesSlide4.xml"/><Relationship Id="rId201" Type="http://schemas.openxmlformats.org/officeDocument/2006/relationships/tags" Target="../tags/tag202.xml"/><Relationship Id="rId222" Type="http://schemas.openxmlformats.org/officeDocument/2006/relationships/tags" Target="../tags/tag223.xml"/><Relationship Id="rId243" Type="http://schemas.openxmlformats.org/officeDocument/2006/relationships/tags" Target="../tags/tag244.xml"/><Relationship Id="rId264" Type="http://schemas.openxmlformats.org/officeDocument/2006/relationships/tags" Target="../tags/tag265.xml"/><Relationship Id="rId285" Type="http://schemas.openxmlformats.org/officeDocument/2006/relationships/tags" Target="../tags/tag286.xml"/><Relationship Id="rId17" Type="http://schemas.openxmlformats.org/officeDocument/2006/relationships/tags" Target="../tags/tag18.xml"/><Relationship Id="rId38" Type="http://schemas.openxmlformats.org/officeDocument/2006/relationships/tags" Target="../tags/tag39.xml"/><Relationship Id="rId59" Type="http://schemas.openxmlformats.org/officeDocument/2006/relationships/tags" Target="../tags/tag60.xml"/><Relationship Id="rId103" Type="http://schemas.openxmlformats.org/officeDocument/2006/relationships/tags" Target="../tags/tag104.xml"/><Relationship Id="rId124" Type="http://schemas.openxmlformats.org/officeDocument/2006/relationships/tags" Target="../tags/tag125.xml"/><Relationship Id="rId310" Type="http://schemas.openxmlformats.org/officeDocument/2006/relationships/tags" Target="../tags/tag311.xml"/><Relationship Id="rId70" Type="http://schemas.openxmlformats.org/officeDocument/2006/relationships/tags" Target="../tags/tag71.xml"/><Relationship Id="rId91" Type="http://schemas.openxmlformats.org/officeDocument/2006/relationships/tags" Target="../tags/tag92.xml"/><Relationship Id="rId145" Type="http://schemas.openxmlformats.org/officeDocument/2006/relationships/tags" Target="../tags/tag146.xml"/><Relationship Id="rId166" Type="http://schemas.openxmlformats.org/officeDocument/2006/relationships/tags" Target="../tags/tag167.xml"/><Relationship Id="rId187" Type="http://schemas.openxmlformats.org/officeDocument/2006/relationships/tags" Target="../tags/tag188.xml"/><Relationship Id="rId331" Type="http://schemas.openxmlformats.org/officeDocument/2006/relationships/tags" Target="../tags/tag332.xml"/><Relationship Id="rId352" Type="http://schemas.openxmlformats.org/officeDocument/2006/relationships/tags" Target="../tags/tag353.xml"/><Relationship Id="rId373" Type="http://schemas.openxmlformats.org/officeDocument/2006/relationships/tags" Target="../tags/tag374.xml"/><Relationship Id="rId1" Type="http://schemas.openxmlformats.org/officeDocument/2006/relationships/tags" Target="../tags/tag2.xml"/><Relationship Id="rId212" Type="http://schemas.openxmlformats.org/officeDocument/2006/relationships/tags" Target="../tags/tag213.xml"/><Relationship Id="rId233" Type="http://schemas.openxmlformats.org/officeDocument/2006/relationships/tags" Target="../tags/tag234.xml"/><Relationship Id="rId254" Type="http://schemas.openxmlformats.org/officeDocument/2006/relationships/tags" Target="../tags/tag255.xml"/><Relationship Id="rId28" Type="http://schemas.openxmlformats.org/officeDocument/2006/relationships/tags" Target="../tags/tag29.xml"/><Relationship Id="rId49" Type="http://schemas.openxmlformats.org/officeDocument/2006/relationships/tags" Target="../tags/tag50.xml"/><Relationship Id="rId114" Type="http://schemas.openxmlformats.org/officeDocument/2006/relationships/tags" Target="../tags/tag115.xml"/><Relationship Id="rId275" Type="http://schemas.openxmlformats.org/officeDocument/2006/relationships/tags" Target="../tags/tag276.xml"/><Relationship Id="rId296" Type="http://schemas.openxmlformats.org/officeDocument/2006/relationships/tags" Target="../tags/tag297.xml"/><Relationship Id="rId300" Type="http://schemas.openxmlformats.org/officeDocument/2006/relationships/tags" Target="../tags/tag301.xml"/><Relationship Id="rId60" Type="http://schemas.openxmlformats.org/officeDocument/2006/relationships/tags" Target="../tags/tag61.xml"/><Relationship Id="rId81" Type="http://schemas.openxmlformats.org/officeDocument/2006/relationships/tags" Target="../tags/tag82.xml"/><Relationship Id="rId135" Type="http://schemas.openxmlformats.org/officeDocument/2006/relationships/tags" Target="../tags/tag136.xml"/><Relationship Id="rId156" Type="http://schemas.openxmlformats.org/officeDocument/2006/relationships/tags" Target="../tags/tag157.xml"/><Relationship Id="rId177" Type="http://schemas.openxmlformats.org/officeDocument/2006/relationships/tags" Target="../tags/tag178.xml"/><Relationship Id="rId198" Type="http://schemas.openxmlformats.org/officeDocument/2006/relationships/tags" Target="../tags/tag199.xml"/><Relationship Id="rId321" Type="http://schemas.openxmlformats.org/officeDocument/2006/relationships/tags" Target="../tags/tag322.xml"/><Relationship Id="rId342" Type="http://schemas.openxmlformats.org/officeDocument/2006/relationships/tags" Target="../tags/tag343.xml"/><Relationship Id="rId363" Type="http://schemas.openxmlformats.org/officeDocument/2006/relationships/tags" Target="../tags/tag364.xml"/><Relationship Id="rId202" Type="http://schemas.openxmlformats.org/officeDocument/2006/relationships/tags" Target="../tags/tag203.xml"/><Relationship Id="rId223" Type="http://schemas.openxmlformats.org/officeDocument/2006/relationships/tags" Target="../tags/tag224.xml"/><Relationship Id="rId244" Type="http://schemas.openxmlformats.org/officeDocument/2006/relationships/tags" Target="../tags/tag245.xml"/><Relationship Id="rId18" Type="http://schemas.openxmlformats.org/officeDocument/2006/relationships/tags" Target="../tags/tag19.xml"/><Relationship Id="rId39" Type="http://schemas.openxmlformats.org/officeDocument/2006/relationships/tags" Target="../tags/tag40.xml"/><Relationship Id="rId265" Type="http://schemas.openxmlformats.org/officeDocument/2006/relationships/tags" Target="../tags/tag266.xml"/><Relationship Id="rId286" Type="http://schemas.openxmlformats.org/officeDocument/2006/relationships/tags" Target="../tags/tag287.xml"/><Relationship Id="rId50" Type="http://schemas.openxmlformats.org/officeDocument/2006/relationships/tags" Target="../tags/tag51.xml"/><Relationship Id="rId104" Type="http://schemas.openxmlformats.org/officeDocument/2006/relationships/tags" Target="../tags/tag105.xml"/><Relationship Id="rId125" Type="http://schemas.openxmlformats.org/officeDocument/2006/relationships/tags" Target="../tags/tag126.xml"/><Relationship Id="rId146" Type="http://schemas.openxmlformats.org/officeDocument/2006/relationships/tags" Target="../tags/tag147.xml"/><Relationship Id="rId167" Type="http://schemas.openxmlformats.org/officeDocument/2006/relationships/tags" Target="../tags/tag168.xml"/><Relationship Id="rId188" Type="http://schemas.openxmlformats.org/officeDocument/2006/relationships/tags" Target="../tags/tag189.xml"/><Relationship Id="rId311" Type="http://schemas.openxmlformats.org/officeDocument/2006/relationships/tags" Target="../tags/tag312.xml"/><Relationship Id="rId332" Type="http://schemas.openxmlformats.org/officeDocument/2006/relationships/tags" Target="../tags/tag333.xml"/><Relationship Id="rId353" Type="http://schemas.openxmlformats.org/officeDocument/2006/relationships/tags" Target="../tags/tag354.xml"/><Relationship Id="rId374" Type="http://schemas.openxmlformats.org/officeDocument/2006/relationships/tags" Target="../tags/tag375.xml"/><Relationship Id="rId71" Type="http://schemas.openxmlformats.org/officeDocument/2006/relationships/tags" Target="../tags/tag72.xml"/><Relationship Id="rId92" Type="http://schemas.openxmlformats.org/officeDocument/2006/relationships/tags" Target="../tags/tag93.xml"/><Relationship Id="rId213" Type="http://schemas.openxmlformats.org/officeDocument/2006/relationships/tags" Target="../tags/tag214.xml"/><Relationship Id="rId234" Type="http://schemas.openxmlformats.org/officeDocument/2006/relationships/tags" Target="../tags/tag235.xml"/><Relationship Id="rId2" Type="http://schemas.openxmlformats.org/officeDocument/2006/relationships/tags" Target="../tags/tag3.xml"/><Relationship Id="rId29" Type="http://schemas.openxmlformats.org/officeDocument/2006/relationships/tags" Target="../tags/tag30.xml"/><Relationship Id="rId255" Type="http://schemas.openxmlformats.org/officeDocument/2006/relationships/tags" Target="../tags/tag256.xml"/><Relationship Id="rId276" Type="http://schemas.openxmlformats.org/officeDocument/2006/relationships/tags" Target="../tags/tag277.xml"/><Relationship Id="rId297" Type="http://schemas.openxmlformats.org/officeDocument/2006/relationships/tags" Target="../tags/tag298.xml"/><Relationship Id="rId40" Type="http://schemas.openxmlformats.org/officeDocument/2006/relationships/tags" Target="../tags/tag41.xml"/><Relationship Id="rId115" Type="http://schemas.openxmlformats.org/officeDocument/2006/relationships/tags" Target="../tags/tag116.xml"/><Relationship Id="rId136" Type="http://schemas.openxmlformats.org/officeDocument/2006/relationships/tags" Target="../tags/tag137.xml"/><Relationship Id="rId157" Type="http://schemas.openxmlformats.org/officeDocument/2006/relationships/tags" Target="../tags/tag158.xml"/><Relationship Id="rId178" Type="http://schemas.openxmlformats.org/officeDocument/2006/relationships/tags" Target="../tags/tag179.xml"/><Relationship Id="rId301" Type="http://schemas.openxmlformats.org/officeDocument/2006/relationships/tags" Target="../tags/tag302.xml"/><Relationship Id="rId322" Type="http://schemas.openxmlformats.org/officeDocument/2006/relationships/tags" Target="../tags/tag323.xml"/><Relationship Id="rId343" Type="http://schemas.openxmlformats.org/officeDocument/2006/relationships/tags" Target="../tags/tag344.xml"/><Relationship Id="rId364" Type="http://schemas.openxmlformats.org/officeDocument/2006/relationships/tags" Target="../tags/tag365.xml"/><Relationship Id="rId61" Type="http://schemas.openxmlformats.org/officeDocument/2006/relationships/tags" Target="../tags/tag62.xml"/><Relationship Id="rId82" Type="http://schemas.openxmlformats.org/officeDocument/2006/relationships/tags" Target="../tags/tag83.xml"/><Relationship Id="rId199" Type="http://schemas.openxmlformats.org/officeDocument/2006/relationships/tags" Target="../tags/tag200.xml"/><Relationship Id="rId203" Type="http://schemas.openxmlformats.org/officeDocument/2006/relationships/tags" Target="../tags/tag204.xml"/><Relationship Id="rId19" Type="http://schemas.openxmlformats.org/officeDocument/2006/relationships/tags" Target="../tags/tag20.xml"/><Relationship Id="rId224" Type="http://schemas.openxmlformats.org/officeDocument/2006/relationships/tags" Target="../tags/tag225.xml"/><Relationship Id="rId245" Type="http://schemas.openxmlformats.org/officeDocument/2006/relationships/tags" Target="../tags/tag246.xml"/><Relationship Id="rId266" Type="http://schemas.openxmlformats.org/officeDocument/2006/relationships/tags" Target="../tags/tag267.xml"/><Relationship Id="rId287" Type="http://schemas.openxmlformats.org/officeDocument/2006/relationships/tags" Target="../tags/tag288.xml"/><Relationship Id="rId30" Type="http://schemas.openxmlformats.org/officeDocument/2006/relationships/tags" Target="../tags/tag31.xml"/><Relationship Id="rId105" Type="http://schemas.openxmlformats.org/officeDocument/2006/relationships/tags" Target="../tags/tag106.xml"/><Relationship Id="rId126" Type="http://schemas.openxmlformats.org/officeDocument/2006/relationships/tags" Target="../tags/tag127.xml"/><Relationship Id="rId147" Type="http://schemas.openxmlformats.org/officeDocument/2006/relationships/tags" Target="../tags/tag148.xml"/><Relationship Id="rId168" Type="http://schemas.openxmlformats.org/officeDocument/2006/relationships/tags" Target="../tags/tag169.xml"/><Relationship Id="rId312" Type="http://schemas.openxmlformats.org/officeDocument/2006/relationships/tags" Target="../tags/tag313.xml"/><Relationship Id="rId333" Type="http://schemas.openxmlformats.org/officeDocument/2006/relationships/tags" Target="../tags/tag334.xml"/><Relationship Id="rId354" Type="http://schemas.openxmlformats.org/officeDocument/2006/relationships/tags" Target="../tags/tag355.xml"/><Relationship Id="rId51" Type="http://schemas.openxmlformats.org/officeDocument/2006/relationships/tags" Target="../tags/tag52.xml"/><Relationship Id="rId72" Type="http://schemas.openxmlformats.org/officeDocument/2006/relationships/tags" Target="../tags/tag73.xml"/><Relationship Id="rId93" Type="http://schemas.openxmlformats.org/officeDocument/2006/relationships/tags" Target="../tags/tag94.xml"/><Relationship Id="rId189" Type="http://schemas.openxmlformats.org/officeDocument/2006/relationships/tags" Target="../tags/tag190.xml"/><Relationship Id="rId375" Type="http://schemas.openxmlformats.org/officeDocument/2006/relationships/tags" Target="../tags/tag376.xml"/><Relationship Id="rId3" Type="http://schemas.openxmlformats.org/officeDocument/2006/relationships/tags" Target="../tags/tag4.xml"/><Relationship Id="rId214" Type="http://schemas.openxmlformats.org/officeDocument/2006/relationships/tags" Target="../tags/tag215.xml"/><Relationship Id="rId235" Type="http://schemas.openxmlformats.org/officeDocument/2006/relationships/tags" Target="../tags/tag236.xml"/><Relationship Id="rId256" Type="http://schemas.openxmlformats.org/officeDocument/2006/relationships/tags" Target="../tags/tag257.xml"/><Relationship Id="rId277" Type="http://schemas.openxmlformats.org/officeDocument/2006/relationships/tags" Target="../tags/tag278.xml"/><Relationship Id="rId298" Type="http://schemas.openxmlformats.org/officeDocument/2006/relationships/tags" Target="../tags/tag299.xml"/><Relationship Id="rId116" Type="http://schemas.openxmlformats.org/officeDocument/2006/relationships/tags" Target="../tags/tag117.xml"/><Relationship Id="rId137" Type="http://schemas.openxmlformats.org/officeDocument/2006/relationships/tags" Target="../tags/tag138.xml"/><Relationship Id="rId158" Type="http://schemas.openxmlformats.org/officeDocument/2006/relationships/tags" Target="../tags/tag159.xml"/><Relationship Id="rId302" Type="http://schemas.openxmlformats.org/officeDocument/2006/relationships/tags" Target="../tags/tag303.xml"/><Relationship Id="rId323" Type="http://schemas.openxmlformats.org/officeDocument/2006/relationships/tags" Target="../tags/tag324.xml"/><Relationship Id="rId344" Type="http://schemas.openxmlformats.org/officeDocument/2006/relationships/tags" Target="../tags/tag345.xml"/><Relationship Id="rId20" Type="http://schemas.openxmlformats.org/officeDocument/2006/relationships/tags" Target="../tags/tag21.xml"/><Relationship Id="rId41" Type="http://schemas.openxmlformats.org/officeDocument/2006/relationships/tags" Target="../tags/tag42.xml"/><Relationship Id="rId62" Type="http://schemas.openxmlformats.org/officeDocument/2006/relationships/tags" Target="../tags/tag63.xml"/><Relationship Id="rId83" Type="http://schemas.openxmlformats.org/officeDocument/2006/relationships/tags" Target="../tags/tag84.xml"/><Relationship Id="rId179" Type="http://schemas.openxmlformats.org/officeDocument/2006/relationships/tags" Target="../tags/tag180.xml"/><Relationship Id="rId365" Type="http://schemas.openxmlformats.org/officeDocument/2006/relationships/tags" Target="../tags/tag366.xml"/><Relationship Id="rId190" Type="http://schemas.openxmlformats.org/officeDocument/2006/relationships/tags" Target="../tags/tag191.xml"/><Relationship Id="rId204" Type="http://schemas.openxmlformats.org/officeDocument/2006/relationships/tags" Target="../tags/tag205.xml"/><Relationship Id="rId225" Type="http://schemas.openxmlformats.org/officeDocument/2006/relationships/tags" Target="../tags/tag226.xml"/><Relationship Id="rId246" Type="http://schemas.openxmlformats.org/officeDocument/2006/relationships/tags" Target="../tags/tag247.xml"/><Relationship Id="rId267" Type="http://schemas.openxmlformats.org/officeDocument/2006/relationships/tags" Target="../tags/tag268.xml"/><Relationship Id="rId288" Type="http://schemas.openxmlformats.org/officeDocument/2006/relationships/tags" Target="../tags/tag289.xml"/><Relationship Id="rId106" Type="http://schemas.openxmlformats.org/officeDocument/2006/relationships/tags" Target="../tags/tag107.xml"/><Relationship Id="rId127" Type="http://schemas.openxmlformats.org/officeDocument/2006/relationships/tags" Target="../tags/tag128.xml"/><Relationship Id="rId313" Type="http://schemas.openxmlformats.org/officeDocument/2006/relationships/tags" Target="../tags/tag314.xml"/><Relationship Id="rId10" Type="http://schemas.openxmlformats.org/officeDocument/2006/relationships/tags" Target="../tags/tag11.xml"/><Relationship Id="rId31" Type="http://schemas.openxmlformats.org/officeDocument/2006/relationships/tags" Target="../tags/tag32.xml"/><Relationship Id="rId52" Type="http://schemas.openxmlformats.org/officeDocument/2006/relationships/tags" Target="../tags/tag53.xml"/><Relationship Id="rId73" Type="http://schemas.openxmlformats.org/officeDocument/2006/relationships/tags" Target="../tags/tag74.xml"/><Relationship Id="rId94" Type="http://schemas.openxmlformats.org/officeDocument/2006/relationships/tags" Target="../tags/tag95.xml"/><Relationship Id="rId148" Type="http://schemas.openxmlformats.org/officeDocument/2006/relationships/tags" Target="../tags/tag149.xml"/><Relationship Id="rId169" Type="http://schemas.openxmlformats.org/officeDocument/2006/relationships/tags" Target="../tags/tag170.xml"/><Relationship Id="rId334" Type="http://schemas.openxmlformats.org/officeDocument/2006/relationships/tags" Target="../tags/tag335.xml"/><Relationship Id="rId355" Type="http://schemas.openxmlformats.org/officeDocument/2006/relationships/tags" Target="../tags/tag356.xml"/><Relationship Id="rId376" Type="http://schemas.openxmlformats.org/officeDocument/2006/relationships/tags" Target="../tags/tag377.xml"/><Relationship Id="rId4" Type="http://schemas.openxmlformats.org/officeDocument/2006/relationships/tags" Target="../tags/tag5.xml"/><Relationship Id="rId180" Type="http://schemas.openxmlformats.org/officeDocument/2006/relationships/tags" Target="../tags/tag181.xml"/><Relationship Id="rId215" Type="http://schemas.openxmlformats.org/officeDocument/2006/relationships/tags" Target="../tags/tag216.xml"/><Relationship Id="rId236" Type="http://schemas.openxmlformats.org/officeDocument/2006/relationships/tags" Target="../tags/tag237.xml"/><Relationship Id="rId257" Type="http://schemas.openxmlformats.org/officeDocument/2006/relationships/tags" Target="../tags/tag258.xml"/><Relationship Id="rId278" Type="http://schemas.openxmlformats.org/officeDocument/2006/relationships/tags" Target="../tags/tag279.xml"/><Relationship Id="rId303" Type="http://schemas.openxmlformats.org/officeDocument/2006/relationships/tags" Target="../tags/tag304.xml"/><Relationship Id="rId42" Type="http://schemas.openxmlformats.org/officeDocument/2006/relationships/tags" Target="../tags/tag43.xml"/><Relationship Id="rId84" Type="http://schemas.openxmlformats.org/officeDocument/2006/relationships/tags" Target="../tags/tag85.xml"/><Relationship Id="rId138" Type="http://schemas.openxmlformats.org/officeDocument/2006/relationships/tags" Target="../tags/tag139.xml"/><Relationship Id="rId345" Type="http://schemas.openxmlformats.org/officeDocument/2006/relationships/tags" Target="../tags/tag346.xml"/><Relationship Id="rId191" Type="http://schemas.openxmlformats.org/officeDocument/2006/relationships/tags" Target="../tags/tag192.xml"/><Relationship Id="rId205" Type="http://schemas.openxmlformats.org/officeDocument/2006/relationships/tags" Target="../tags/tag206.xml"/><Relationship Id="rId247" Type="http://schemas.openxmlformats.org/officeDocument/2006/relationships/tags" Target="../tags/tag248.xml"/><Relationship Id="rId107" Type="http://schemas.openxmlformats.org/officeDocument/2006/relationships/tags" Target="../tags/tag108.xml"/><Relationship Id="rId289" Type="http://schemas.openxmlformats.org/officeDocument/2006/relationships/tags" Target="../tags/tag290.xml"/><Relationship Id="rId11" Type="http://schemas.openxmlformats.org/officeDocument/2006/relationships/tags" Target="../tags/tag12.xml"/><Relationship Id="rId53" Type="http://schemas.openxmlformats.org/officeDocument/2006/relationships/tags" Target="../tags/tag54.xml"/><Relationship Id="rId149" Type="http://schemas.openxmlformats.org/officeDocument/2006/relationships/tags" Target="../tags/tag150.xml"/><Relationship Id="rId314" Type="http://schemas.openxmlformats.org/officeDocument/2006/relationships/tags" Target="../tags/tag315.xml"/><Relationship Id="rId356" Type="http://schemas.openxmlformats.org/officeDocument/2006/relationships/tags" Target="../tags/tag357.xml"/><Relationship Id="rId95" Type="http://schemas.openxmlformats.org/officeDocument/2006/relationships/tags" Target="../tags/tag96.xml"/><Relationship Id="rId160" Type="http://schemas.openxmlformats.org/officeDocument/2006/relationships/tags" Target="../tags/tag161.xml"/><Relationship Id="rId216" Type="http://schemas.openxmlformats.org/officeDocument/2006/relationships/tags" Target="../tags/tag217.xml"/><Relationship Id="rId258" Type="http://schemas.openxmlformats.org/officeDocument/2006/relationships/tags" Target="../tags/tag259.xml"/><Relationship Id="rId22" Type="http://schemas.openxmlformats.org/officeDocument/2006/relationships/tags" Target="../tags/tag23.xml"/><Relationship Id="rId64" Type="http://schemas.openxmlformats.org/officeDocument/2006/relationships/tags" Target="../tags/tag65.xml"/><Relationship Id="rId118" Type="http://schemas.openxmlformats.org/officeDocument/2006/relationships/tags" Target="../tags/tag119.xml"/><Relationship Id="rId325" Type="http://schemas.openxmlformats.org/officeDocument/2006/relationships/tags" Target="../tags/tag326.xml"/><Relationship Id="rId367" Type="http://schemas.openxmlformats.org/officeDocument/2006/relationships/tags" Target="../tags/tag368.xml"/><Relationship Id="rId171" Type="http://schemas.openxmlformats.org/officeDocument/2006/relationships/tags" Target="../tags/tag172.xml"/><Relationship Id="rId227" Type="http://schemas.openxmlformats.org/officeDocument/2006/relationships/tags" Target="../tags/tag228.xml"/><Relationship Id="rId269" Type="http://schemas.openxmlformats.org/officeDocument/2006/relationships/tags" Target="../tags/tag270.xml"/><Relationship Id="rId33" Type="http://schemas.openxmlformats.org/officeDocument/2006/relationships/tags" Target="../tags/tag34.xml"/><Relationship Id="rId129" Type="http://schemas.openxmlformats.org/officeDocument/2006/relationships/tags" Target="../tags/tag130.xml"/><Relationship Id="rId280" Type="http://schemas.openxmlformats.org/officeDocument/2006/relationships/tags" Target="../tags/tag281.xml"/><Relationship Id="rId336" Type="http://schemas.openxmlformats.org/officeDocument/2006/relationships/tags" Target="../tags/tag337.xml"/><Relationship Id="rId75" Type="http://schemas.openxmlformats.org/officeDocument/2006/relationships/tags" Target="../tags/tag76.xml"/><Relationship Id="rId140" Type="http://schemas.openxmlformats.org/officeDocument/2006/relationships/tags" Target="../tags/tag141.xml"/><Relationship Id="rId182" Type="http://schemas.openxmlformats.org/officeDocument/2006/relationships/tags" Target="../tags/tag183.xml"/><Relationship Id="rId378" Type="http://schemas.openxmlformats.org/officeDocument/2006/relationships/tags" Target="../tags/tag379.xml"/><Relationship Id="rId6" Type="http://schemas.openxmlformats.org/officeDocument/2006/relationships/tags" Target="../tags/tag7.xml"/><Relationship Id="rId238" Type="http://schemas.openxmlformats.org/officeDocument/2006/relationships/tags" Target="../tags/tag239.xml"/><Relationship Id="rId291" Type="http://schemas.openxmlformats.org/officeDocument/2006/relationships/tags" Target="../tags/tag292.xml"/><Relationship Id="rId305" Type="http://schemas.openxmlformats.org/officeDocument/2006/relationships/tags" Target="../tags/tag306.xml"/><Relationship Id="rId347" Type="http://schemas.openxmlformats.org/officeDocument/2006/relationships/tags" Target="../tags/tag348.xml"/><Relationship Id="rId44" Type="http://schemas.openxmlformats.org/officeDocument/2006/relationships/tags" Target="../tags/tag45.xml"/><Relationship Id="rId86" Type="http://schemas.openxmlformats.org/officeDocument/2006/relationships/tags" Target="../tags/tag87.xml"/><Relationship Id="rId151" Type="http://schemas.openxmlformats.org/officeDocument/2006/relationships/tags" Target="../tags/tag152.xml"/><Relationship Id="rId193" Type="http://schemas.openxmlformats.org/officeDocument/2006/relationships/tags" Target="../tags/tag194.xml"/><Relationship Id="rId207" Type="http://schemas.openxmlformats.org/officeDocument/2006/relationships/tags" Target="../tags/tag208.xml"/><Relationship Id="rId249" Type="http://schemas.openxmlformats.org/officeDocument/2006/relationships/tags" Target="../tags/tag250.xml"/><Relationship Id="rId13" Type="http://schemas.openxmlformats.org/officeDocument/2006/relationships/tags" Target="../tags/tag14.xml"/><Relationship Id="rId109" Type="http://schemas.openxmlformats.org/officeDocument/2006/relationships/tags" Target="../tags/tag110.xml"/><Relationship Id="rId260" Type="http://schemas.openxmlformats.org/officeDocument/2006/relationships/tags" Target="../tags/tag261.xml"/><Relationship Id="rId316" Type="http://schemas.openxmlformats.org/officeDocument/2006/relationships/tags" Target="../tags/tag317.xml"/><Relationship Id="rId55" Type="http://schemas.openxmlformats.org/officeDocument/2006/relationships/tags" Target="../tags/tag56.xml"/><Relationship Id="rId97" Type="http://schemas.openxmlformats.org/officeDocument/2006/relationships/tags" Target="../tags/tag98.xml"/><Relationship Id="rId120" Type="http://schemas.openxmlformats.org/officeDocument/2006/relationships/tags" Target="../tags/tag121.xml"/><Relationship Id="rId358" Type="http://schemas.openxmlformats.org/officeDocument/2006/relationships/tags" Target="../tags/tag359.xml"/><Relationship Id="rId162" Type="http://schemas.openxmlformats.org/officeDocument/2006/relationships/tags" Target="../tags/tag163.xml"/><Relationship Id="rId218" Type="http://schemas.openxmlformats.org/officeDocument/2006/relationships/tags" Target="../tags/tag219.xml"/><Relationship Id="rId271" Type="http://schemas.openxmlformats.org/officeDocument/2006/relationships/tags" Target="../tags/tag272.xml"/><Relationship Id="rId24" Type="http://schemas.openxmlformats.org/officeDocument/2006/relationships/tags" Target="../tags/tag25.xml"/><Relationship Id="rId66" Type="http://schemas.openxmlformats.org/officeDocument/2006/relationships/tags" Target="../tags/tag67.xml"/><Relationship Id="rId131" Type="http://schemas.openxmlformats.org/officeDocument/2006/relationships/tags" Target="../tags/tag132.xml"/><Relationship Id="rId327" Type="http://schemas.openxmlformats.org/officeDocument/2006/relationships/tags" Target="../tags/tag328.xml"/><Relationship Id="rId369" Type="http://schemas.openxmlformats.org/officeDocument/2006/relationships/tags" Target="../tags/tag370.xml"/><Relationship Id="rId173" Type="http://schemas.openxmlformats.org/officeDocument/2006/relationships/tags" Target="../tags/tag174.xml"/><Relationship Id="rId229" Type="http://schemas.openxmlformats.org/officeDocument/2006/relationships/tags" Target="../tags/tag230.xml"/><Relationship Id="rId380" Type="http://schemas.openxmlformats.org/officeDocument/2006/relationships/tags" Target="../tags/tag381.xml"/><Relationship Id="rId240" Type="http://schemas.openxmlformats.org/officeDocument/2006/relationships/tags" Target="../tags/tag241.xml"/><Relationship Id="rId35" Type="http://schemas.openxmlformats.org/officeDocument/2006/relationships/tags" Target="../tags/tag36.xml"/><Relationship Id="rId77" Type="http://schemas.openxmlformats.org/officeDocument/2006/relationships/tags" Target="../tags/tag78.xml"/><Relationship Id="rId100" Type="http://schemas.openxmlformats.org/officeDocument/2006/relationships/tags" Target="../tags/tag101.xml"/><Relationship Id="rId282" Type="http://schemas.openxmlformats.org/officeDocument/2006/relationships/tags" Target="../tags/tag283.xml"/><Relationship Id="rId338" Type="http://schemas.openxmlformats.org/officeDocument/2006/relationships/tags" Target="../tags/tag339.xml"/><Relationship Id="rId8" Type="http://schemas.openxmlformats.org/officeDocument/2006/relationships/tags" Target="../tags/tag9.xml"/><Relationship Id="rId142" Type="http://schemas.openxmlformats.org/officeDocument/2006/relationships/tags" Target="../tags/tag143.xml"/><Relationship Id="rId184" Type="http://schemas.openxmlformats.org/officeDocument/2006/relationships/tags" Target="../tags/tag185.xml"/><Relationship Id="rId251" Type="http://schemas.openxmlformats.org/officeDocument/2006/relationships/tags" Target="../tags/tag252.xml"/><Relationship Id="rId46" Type="http://schemas.openxmlformats.org/officeDocument/2006/relationships/tags" Target="../tags/tag47.xml"/><Relationship Id="rId293" Type="http://schemas.openxmlformats.org/officeDocument/2006/relationships/tags" Target="../tags/tag294.xml"/><Relationship Id="rId307" Type="http://schemas.openxmlformats.org/officeDocument/2006/relationships/tags" Target="../tags/tag308.xml"/><Relationship Id="rId349" Type="http://schemas.openxmlformats.org/officeDocument/2006/relationships/tags" Target="../tags/tag350.xml"/><Relationship Id="rId88" Type="http://schemas.openxmlformats.org/officeDocument/2006/relationships/tags" Target="../tags/tag89.xml"/><Relationship Id="rId111" Type="http://schemas.openxmlformats.org/officeDocument/2006/relationships/tags" Target="../tags/tag112.xml"/><Relationship Id="rId153" Type="http://schemas.openxmlformats.org/officeDocument/2006/relationships/tags" Target="../tags/tag154.xml"/><Relationship Id="rId195" Type="http://schemas.openxmlformats.org/officeDocument/2006/relationships/tags" Target="../tags/tag196.xml"/><Relationship Id="rId209" Type="http://schemas.openxmlformats.org/officeDocument/2006/relationships/tags" Target="../tags/tag210.xml"/><Relationship Id="rId360" Type="http://schemas.openxmlformats.org/officeDocument/2006/relationships/tags" Target="../tags/tag361.xml"/><Relationship Id="rId220" Type="http://schemas.openxmlformats.org/officeDocument/2006/relationships/tags" Target="../tags/tag221.xml"/><Relationship Id="rId15" Type="http://schemas.openxmlformats.org/officeDocument/2006/relationships/tags" Target="../tags/tag16.xml"/><Relationship Id="rId57" Type="http://schemas.openxmlformats.org/officeDocument/2006/relationships/tags" Target="../tags/tag58.xml"/><Relationship Id="rId262" Type="http://schemas.openxmlformats.org/officeDocument/2006/relationships/tags" Target="../tags/tag263.xml"/><Relationship Id="rId318" Type="http://schemas.openxmlformats.org/officeDocument/2006/relationships/tags" Target="../tags/tag319.xml"/><Relationship Id="rId99" Type="http://schemas.openxmlformats.org/officeDocument/2006/relationships/tags" Target="../tags/tag100.xml"/><Relationship Id="rId122" Type="http://schemas.openxmlformats.org/officeDocument/2006/relationships/tags" Target="../tags/tag123.xml"/><Relationship Id="rId164" Type="http://schemas.openxmlformats.org/officeDocument/2006/relationships/tags" Target="../tags/tag165.xml"/><Relationship Id="rId371" Type="http://schemas.openxmlformats.org/officeDocument/2006/relationships/tags" Target="../tags/tag37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40468" y="2859224"/>
            <a:ext cx="10297144" cy="1139552"/>
          </a:xfrm>
        </p:spPr>
        <p:txBody>
          <a:bodyPr>
            <a:noAutofit/>
          </a:bodyPr>
          <a:lstStyle/>
          <a:p>
            <a:pPr algn="l"/>
            <a:r>
              <a:rPr lang="en-GB" sz="4800" dirty="0"/>
              <a:t>Globalising Yourself </a:t>
            </a:r>
            <a:br>
              <a:rPr lang="en-GB" sz="4800" dirty="0"/>
            </a:br>
            <a:r>
              <a:rPr lang="en-GB" sz="4800" dirty="0"/>
              <a:t>and Your Caree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27448" y="4401108"/>
            <a:ext cx="7854696" cy="1080120"/>
          </a:xfrm>
        </p:spPr>
        <p:txBody>
          <a:bodyPr/>
          <a:lstStyle/>
          <a:p>
            <a:pPr algn="l"/>
            <a:r>
              <a:rPr lang="en-GB" dirty="0">
                <a:latin typeface="Arial" pitchFamily="34" charset="0"/>
                <a:cs typeface="Arial" pitchFamily="34" charset="0"/>
              </a:rPr>
              <a:t>Mohammed Amin </a:t>
            </a:r>
            <a:r>
              <a:rPr lang="en-GB" sz="2000" dirty="0">
                <a:latin typeface="Arial" pitchFamily="34" charset="0"/>
                <a:cs typeface="Arial" pitchFamily="34" charset="0"/>
              </a:rPr>
              <a:t>MBE</a:t>
            </a:r>
            <a:r>
              <a:rPr lang="it-IT" sz="2000" dirty="0">
                <a:latin typeface="Arial" pitchFamily="34" charset="0"/>
                <a:cs typeface="Arial" pitchFamily="34" charset="0"/>
              </a:rPr>
              <a:t> FRSA MA FCA AMCT CTA(Fellow)</a:t>
            </a:r>
            <a:endParaRPr lang="en-GB" sz="2000" dirty="0">
              <a:latin typeface="Arial" pitchFamily="34" charset="0"/>
              <a:cs typeface="Arial" pitchFamily="34" charset="0"/>
            </a:endParaRPr>
          </a:p>
          <a:p>
            <a:pPr algn="l"/>
            <a:r>
              <a:rPr lang="en-GB" dirty="0">
                <a:latin typeface="Arial" pitchFamily="34" charset="0"/>
                <a:cs typeface="Arial" pitchFamily="34" charset="0"/>
              </a:rPr>
              <a:t> 7 March 2019</a:t>
            </a:r>
          </a:p>
        </p:txBody>
      </p:sp>
      <p:sp>
        <p:nvSpPr>
          <p:cNvPr id="4" name="Subtitle 2"/>
          <p:cNvSpPr txBox="1">
            <a:spLocks/>
          </p:cNvSpPr>
          <p:nvPr/>
        </p:nvSpPr>
        <p:spPr>
          <a:xfrm>
            <a:off x="1040468" y="1376772"/>
            <a:ext cx="10096091" cy="1080120"/>
          </a:xfrm>
          <a:prstGeom prst="rect">
            <a:avLst/>
          </a:prstGeom>
        </p:spPr>
        <p:txBody>
          <a:bodyPr vert="horz" lIns="0" rIns="18288">
            <a:noAutofit/>
          </a:bodyPr>
          <a:lstStyle>
            <a:lvl1pPr marL="0" marR="45720" indent="0" algn="r" rtl="0" eaLnBrk="1" latinLnBrk="0" hangingPunct="1">
              <a:spcBef>
                <a:spcPct val="20000"/>
              </a:spcBef>
              <a:buClr>
                <a:schemeClr val="accent3"/>
              </a:buClr>
              <a:buSzPct val="95000"/>
              <a:buFont typeface="Wingdings 2"/>
              <a:buNone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1" latinLnBrk="0" hangingPunct="1">
              <a:spcBef>
                <a:spcPct val="20000"/>
              </a:spcBef>
              <a:buClr>
                <a:schemeClr val="accent1"/>
              </a:buClr>
              <a:buSzPct val="85000"/>
              <a:buFont typeface="Wingdings 2"/>
              <a:buNone/>
              <a:defRPr kumimoji="0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Wingdings 2"/>
              <a:buNone/>
              <a:defRPr kumimoji="0"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rtl="0" eaLnBrk="1" latinLnBrk="0" hangingPunct="1">
              <a:spcBef>
                <a:spcPct val="20000"/>
              </a:spcBef>
              <a:buClr>
                <a:schemeClr val="accent3"/>
              </a:buClr>
              <a:buSzPct val="65000"/>
              <a:buFont typeface="Wingdings 2"/>
              <a:buNone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rtl="0" eaLnBrk="1" latinLnBrk="0" hangingPunct="1">
              <a:spcBef>
                <a:spcPct val="20000"/>
              </a:spcBef>
              <a:buClr>
                <a:schemeClr val="accent4"/>
              </a:buClr>
              <a:buSzPct val="65000"/>
              <a:buFont typeface="Wingdings 2"/>
              <a:buNone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rtl="0" eaLnBrk="1" latinLnBrk="0" hangingPunct="1">
              <a:spcBef>
                <a:spcPct val="20000"/>
              </a:spcBef>
              <a:buClr>
                <a:schemeClr val="accent5"/>
              </a:buClr>
              <a:buSzPct val="80000"/>
              <a:buFont typeface="Wingdings 2"/>
              <a:buNone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rtl="0" eaLnBrk="1" latinLnBrk="0" hangingPunct="1">
              <a:spcBef>
                <a:spcPct val="20000"/>
              </a:spcBef>
              <a:buClr>
                <a:schemeClr val="accent6"/>
              </a:buClr>
              <a:buSzPct val="80000"/>
              <a:buFont typeface="Wingdings 2"/>
              <a:buNone/>
              <a:defRPr kumimoji="0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rtl="0" eaLnBrk="1" latinLnBrk="0" hangingPunct="1">
              <a:spcBef>
                <a:spcPct val="20000"/>
              </a:spcBef>
              <a:buClr>
                <a:schemeClr val="tx2"/>
              </a:buClr>
              <a:buNone/>
              <a:defRPr kumimoji="0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kumimoji="0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4400" dirty="0">
                <a:latin typeface="Arial" pitchFamily="34" charset="0"/>
                <a:cs typeface="Arial" pitchFamily="34" charset="0"/>
              </a:rPr>
              <a:t>Bath University Global Scholar Society</a:t>
            </a:r>
            <a:endParaRPr lang="en-GB" sz="4400" dirty="0"/>
          </a:p>
        </p:txBody>
      </p:sp>
    </p:spTree>
    <p:extLst>
      <p:ext uri="{BB962C8B-B14F-4D97-AF65-F5344CB8AC3E}">
        <p14:creationId xmlns:p14="http://schemas.microsoft.com/office/powerpoint/2010/main" val="24435135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3C753C-55E6-4A4A-8976-CD739AB22F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You have to meet in pers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06DF82-7870-4A89-B288-ACD64D61A05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Can you know someone at a distance?</a:t>
            </a:r>
          </a:p>
          <a:p>
            <a:pPr lvl="1"/>
            <a:r>
              <a:rPr lang="en-GB" dirty="0"/>
              <a:t>What are they like over dinner?</a:t>
            </a:r>
          </a:p>
          <a:p>
            <a:pPr lvl="1"/>
            <a:r>
              <a:rPr lang="en-GB" dirty="0"/>
              <a:t>What do you know about their family?</a:t>
            </a:r>
          </a:p>
          <a:p>
            <a:pPr lvl="1"/>
            <a:r>
              <a:rPr lang="en-GB" dirty="0"/>
              <a:t>How do they see the world?</a:t>
            </a:r>
          </a:p>
          <a:p>
            <a:pPr lvl="1"/>
            <a:r>
              <a:rPr lang="en-GB" dirty="0"/>
              <a:t>What are their values?</a:t>
            </a:r>
          </a:p>
          <a:p>
            <a:r>
              <a:rPr lang="en-GB" dirty="0"/>
              <a:t>Remote communication works best with people you know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7C90051-BF6A-45DB-B4FC-4440651C6D43}"/>
              </a:ext>
            </a:extLst>
          </p:cNvPr>
          <p:cNvSpPr txBox="1"/>
          <p:nvPr/>
        </p:nvSpPr>
        <p:spPr>
          <a:xfrm>
            <a:off x="947428" y="6237312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Slide </a:t>
            </a:r>
            <a:fld id="{B8D4D8F1-594F-4164-A7A5-512E320BA361}" type="slidenum">
              <a:rPr lang="en-GB"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2654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5440" y="2747772"/>
            <a:ext cx="10081120" cy="1362456"/>
          </a:xfrm>
        </p:spPr>
        <p:txBody>
          <a:bodyPr/>
          <a:lstStyle/>
          <a:p>
            <a:r>
              <a:rPr lang="en-GB" dirty="0"/>
              <a:t>My millennial childre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8A48381-0B28-4A73-9B03-CEBF2E151D53}"/>
              </a:ext>
            </a:extLst>
          </p:cNvPr>
          <p:cNvSpPr txBox="1"/>
          <p:nvPr/>
        </p:nvSpPr>
        <p:spPr>
          <a:xfrm>
            <a:off x="947428" y="6237312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Slide </a:t>
            </a:r>
            <a:fld id="{B8D4D8F1-594F-4164-A7A5-512E320BA361}" type="slidenum">
              <a:rPr lang="en-GB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23997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314490-B5CA-4B98-A530-04E50CC24A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Son 1 - writ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369840-FF16-477B-9FB8-652105CD0A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Free electronic communications</a:t>
            </a:r>
          </a:p>
          <a:p>
            <a:r>
              <a:rPr lang="en-GB" dirty="0"/>
              <a:t>Worked from home for computer games company in California</a:t>
            </a:r>
          </a:p>
          <a:p>
            <a:pPr lvl="1"/>
            <a:r>
              <a:rPr lang="en-GB" dirty="0"/>
              <a:t>Supervised ~ 12 people in USA, Canada, China, Greece, etc.</a:t>
            </a:r>
          </a:p>
          <a:p>
            <a:pPr lvl="1"/>
            <a:r>
              <a:rPr lang="en-GB" dirty="0"/>
              <a:t>Only travelled occasionally to California HQ</a:t>
            </a:r>
          </a:p>
          <a:p>
            <a:endParaRPr lang="en-GB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823243B-1129-43EE-872E-6ECFAEFDE504}"/>
              </a:ext>
            </a:extLst>
          </p:cNvPr>
          <p:cNvSpPr txBox="1"/>
          <p:nvPr/>
        </p:nvSpPr>
        <p:spPr>
          <a:xfrm>
            <a:off x="947428" y="6237312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Slide </a:t>
            </a:r>
            <a:fld id="{B8D4D8F1-594F-4164-A7A5-512E320BA361}" type="slidenum">
              <a:rPr lang="en-GB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75376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CEEE71-5F56-473D-A5F9-769F2AF439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Son 2 – computer programm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B69528-4CA1-4421-9D73-0C93B1C489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Met wife playing online multi-player games</a:t>
            </a:r>
          </a:p>
          <a:p>
            <a:r>
              <a:rPr lang="en-GB" dirty="0"/>
              <a:t>Moved to Detroi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1D14E4D-F27D-42FE-9425-930847F6A871}"/>
              </a:ext>
            </a:extLst>
          </p:cNvPr>
          <p:cNvSpPr txBox="1"/>
          <p:nvPr/>
        </p:nvSpPr>
        <p:spPr>
          <a:xfrm>
            <a:off x="947428" y="6237312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Slide </a:t>
            </a:r>
            <a:fld id="{B8D4D8F1-594F-4164-A7A5-512E320BA361}" type="slidenum">
              <a:rPr lang="en-GB"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62852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AC800-3882-4F26-8593-FB67EF56DF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Daughter 1 - consulta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47A7AA-B415-41C0-B3AC-D2DDCDA972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Big traveller personally</a:t>
            </a:r>
          </a:p>
          <a:p>
            <a:r>
              <a:rPr lang="en-GB" dirty="0"/>
              <a:t>Archaeology PhD with long fieldwork in Uganda</a:t>
            </a:r>
          </a:p>
          <a:p>
            <a:r>
              <a:rPr lang="en-GB" dirty="0"/>
              <a:t>Consultant with Accenture</a:t>
            </a:r>
          </a:p>
          <a:p>
            <a:pPr lvl="1"/>
            <a:r>
              <a:rPr lang="en-GB" dirty="0"/>
              <a:t>South Korea on a few days notic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A6D4DCB-3DD0-4B77-B4ED-461B556B758B}"/>
              </a:ext>
            </a:extLst>
          </p:cNvPr>
          <p:cNvSpPr txBox="1"/>
          <p:nvPr/>
        </p:nvSpPr>
        <p:spPr>
          <a:xfrm>
            <a:off x="947428" y="6237312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Slide </a:t>
            </a:r>
            <a:fld id="{B8D4D8F1-594F-4164-A7A5-512E320BA361}" type="slidenum">
              <a:rPr lang="en-GB"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91410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B0D138-CD0E-4F2E-9261-3DC5B0BEB6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Daughter 2 - linguis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BA7BC1-8DBF-42F8-A02C-F35E954796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Also big traveller personally</a:t>
            </a:r>
          </a:p>
          <a:p>
            <a:r>
              <a:rPr lang="en-GB" dirty="0"/>
              <a:t>Studied Japanese</a:t>
            </a:r>
          </a:p>
          <a:p>
            <a:r>
              <a:rPr lang="en-GB" dirty="0"/>
              <a:t>Lived in Japan 2 ½ years teaching English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BD8BC63-FDB9-4CC8-8FF7-52010E4F2E11}"/>
              </a:ext>
            </a:extLst>
          </p:cNvPr>
          <p:cNvSpPr txBox="1"/>
          <p:nvPr/>
        </p:nvSpPr>
        <p:spPr>
          <a:xfrm>
            <a:off x="947428" y="6237312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Slide </a:t>
            </a:r>
            <a:fld id="{B8D4D8F1-594F-4164-A7A5-512E320BA361}" type="slidenum">
              <a:rPr lang="en-GB"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14061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5440" y="2747772"/>
            <a:ext cx="10081120" cy="1362456"/>
          </a:xfrm>
        </p:spPr>
        <p:txBody>
          <a:bodyPr/>
          <a:lstStyle/>
          <a:p>
            <a:r>
              <a:rPr lang="en-GB" dirty="0"/>
              <a:t>The future for you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8A48381-0B28-4A73-9B03-CEBF2E151D53}"/>
              </a:ext>
            </a:extLst>
          </p:cNvPr>
          <p:cNvSpPr txBox="1"/>
          <p:nvPr/>
        </p:nvSpPr>
        <p:spPr>
          <a:xfrm>
            <a:off x="947428" y="6237312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Slide </a:t>
            </a:r>
            <a:fld id="{B8D4D8F1-594F-4164-A7A5-512E320BA361}" type="slidenum">
              <a:rPr lang="en-GB"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42487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384A19-821E-4442-82DB-A6D7D3A9CC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Yogi Berr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4CD5998-33C2-4ACA-88A8-04FE03BB3D39}"/>
              </a:ext>
            </a:extLst>
          </p:cNvPr>
          <p:cNvSpPr txBox="1"/>
          <p:nvPr/>
        </p:nvSpPr>
        <p:spPr>
          <a:xfrm>
            <a:off x="1667508" y="2096852"/>
            <a:ext cx="738082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“It's tough to make predictions, especially about the future.”</a:t>
            </a:r>
            <a:endParaRPr lang="en-GB" sz="60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81F68E1-844B-4BBD-8BE3-6FA3CE1875D8}"/>
              </a:ext>
            </a:extLst>
          </p:cNvPr>
          <p:cNvSpPr txBox="1"/>
          <p:nvPr/>
        </p:nvSpPr>
        <p:spPr>
          <a:xfrm>
            <a:off x="947428" y="6237312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Slide </a:t>
            </a:r>
            <a:fld id="{B8D4D8F1-594F-4164-A7A5-512E320BA361}" type="slidenum">
              <a:rPr lang="en-GB"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611894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87139F-F936-4C48-869D-7DC3C749D2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Berkshire Hathaway 2018 account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FC2418B-FC84-4ED3-8D9E-36025D770D2B}"/>
              </a:ext>
            </a:extLst>
          </p:cNvPr>
          <p:cNvCxnSpPr/>
          <p:nvPr/>
        </p:nvCxnSpPr>
        <p:spPr>
          <a:xfrm>
            <a:off x="1055440" y="2708920"/>
            <a:ext cx="8640960" cy="0"/>
          </a:xfrm>
          <a:prstGeom prst="line">
            <a:avLst/>
          </a:prstGeom>
          <a:ln w="508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3B695B6F-52F9-4A60-9A4C-7CE019FE0F92}"/>
              </a:ext>
            </a:extLst>
          </p:cNvPr>
          <p:cNvSpPr txBox="1"/>
          <p:nvPr/>
        </p:nvSpPr>
        <p:spPr>
          <a:xfrm>
            <a:off x="9336360" y="2240868"/>
            <a:ext cx="8640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2018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636ABE8-74B3-4DE1-9021-7C485B128621}"/>
              </a:ext>
            </a:extLst>
          </p:cNvPr>
          <p:cNvSpPr txBox="1"/>
          <p:nvPr/>
        </p:nvSpPr>
        <p:spPr>
          <a:xfrm>
            <a:off x="8994322" y="3969060"/>
            <a:ext cx="154817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Warren Buffet, net worth $83 b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F14D092-361E-4BEC-AD16-E10F622D93BE}"/>
              </a:ext>
            </a:extLst>
          </p:cNvPr>
          <p:cNvSpPr txBox="1"/>
          <p:nvPr/>
        </p:nvSpPr>
        <p:spPr>
          <a:xfrm>
            <a:off x="6530882" y="2240868"/>
            <a:ext cx="8640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1942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6AEF17DD-455D-48C0-BBF1-6D966D6FEB0E}"/>
              </a:ext>
            </a:extLst>
          </p:cNvPr>
          <p:cNvCxnSpPr/>
          <p:nvPr/>
        </p:nvCxnSpPr>
        <p:spPr>
          <a:xfrm flipH="1">
            <a:off x="6780076" y="3068960"/>
            <a:ext cx="2916324" cy="0"/>
          </a:xfrm>
          <a:prstGeom prst="straightConnector1">
            <a:avLst/>
          </a:prstGeom>
          <a:ln w="5080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EE74EB64-D568-47A9-818E-1E70008DAFBA}"/>
              </a:ext>
            </a:extLst>
          </p:cNvPr>
          <p:cNvSpPr txBox="1"/>
          <p:nvPr/>
        </p:nvSpPr>
        <p:spPr>
          <a:xfrm>
            <a:off x="7734182" y="3160192"/>
            <a:ext cx="12601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77 year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97053AB-92D4-4561-BF6C-7DEB0753F21A}"/>
              </a:ext>
            </a:extLst>
          </p:cNvPr>
          <p:cNvSpPr txBox="1"/>
          <p:nvPr/>
        </p:nvSpPr>
        <p:spPr>
          <a:xfrm>
            <a:off x="6023992" y="3969060"/>
            <a:ext cx="234026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Warren Buffet’s first investment, aged 11. $114.75</a:t>
            </a:r>
          </a:p>
          <a:p>
            <a:r>
              <a:rPr lang="en-GB" dirty="0"/>
              <a:t>Cities Services preferred stock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0AD6B023-DF68-42FB-B024-DB2817480F9A}"/>
              </a:ext>
            </a:extLst>
          </p:cNvPr>
          <p:cNvCxnSpPr/>
          <p:nvPr/>
        </p:nvCxnSpPr>
        <p:spPr>
          <a:xfrm flipH="1">
            <a:off x="3863752" y="3068960"/>
            <a:ext cx="2916324" cy="0"/>
          </a:xfrm>
          <a:prstGeom prst="straightConnector1">
            <a:avLst/>
          </a:prstGeom>
          <a:ln w="5080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2EA1BB9-0B04-47DF-AC8B-93BD1763C545}"/>
              </a:ext>
            </a:extLst>
          </p:cNvPr>
          <p:cNvCxnSpPr/>
          <p:nvPr/>
        </p:nvCxnSpPr>
        <p:spPr>
          <a:xfrm flipH="1">
            <a:off x="947428" y="3072987"/>
            <a:ext cx="2916324" cy="0"/>
          </a:xfrm>
          <a:prstGeom prst="straightConnector1">
            <a:avLst/>
          </a:prstGeom>
          <a:ln w="50800">
            <a:solidFill>
              <a:srgbClr val="00B05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A21B1BBB-49B3-43AE-A793-DD9EEBD2975F}"/>
              </a:ext>
            </a:extLst>
          </p:cNvPr>
          <p:cNvSpPr txBox="1"/>
          <p:nvPr/>
        </p:nvSpPr>
        <p:spPr>
          <a:xfrm>
            <a:off x="4773122" y="3149678"/>
            <a:ext cx="12601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77 year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FBC02F1-9772-44BE-AF6A-15A62D33ACF4}"/>
              </a:ext>
            </a:extLst>
          </p:cNvPr>
          <p:cNvSpPr txBox="1"/>
          <p:nvPr/>
        </p:nvSpPr>
        <p:spPr>
          <a:xfrm>
            <a:off x="1812062" y="3139164"/>
            <a:ext cx="12601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77 year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3B5CD27-E16A-4DA7-9D3E-31E05B3D04A6}"/>
              </a:ext>
            </a:extLst>
          </p:cNvPr>
          <p:cNvSpPr txBox="1"/>
          <p:nvPr/>
        </p:nvSpPr>
        <p:spPr>
          <a:xfrm>
            <a:off x="731404" y="2273412"/>
            <a:ext cx="8640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1788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44585ED-AA4B-4752-AE2F-C3793CF5AAFC}"/>
              </a:ext>
            </a:extLst>
          </p:cNvPr>
          <p:cNvSpPr txBox="1"/>
          <p:nvPr/>
        </p:nvSpPr>
        <p:spPr>
          <a:xfrm>
            <a:off x="871270" y="4030591"/>
            <a:ext cx="23402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USA</a:t>
            </a:r>
          </a:p>
          <a:p>
            <a:r>
              <a:rPr lang="en-GB" dirty="0"/>
              <a:t>4 million peop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764A152-698C-4D5D-88A4-5B1C9BDBA20D}"/>
              </a:ext>
            </a:extLst>
          </p:cNvPr>
          <p:cNvSpPr txBox="1"/>
          <p:nvPr/>
        </p:nvSpPr>
        <p:spPr>
          <a:xfrm>
            <a:off x="1235460" y="5446388"/>
            <a:ext cx="96850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000" dirty="0">
                <a:solidFill>
                  <a:srgbClr val="FF0000"/>
                </a:solidFill>
              </a:rPr>
              <a:t>What will your world be like in 2060?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5589EFD-040B-4D68-AD3D-B4B45DABD658}"/>
              </a:ext>
            </a:extLst>
          </p:cNvPr>
          <p:cNvSpPr txBox="1"/>
          <p:nvPr/>
        </p:nvSpPr>
        <p:spPr>
          <a:xfrm>
            <a:off x="947428" y="6237312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Slide </a:t>
            </a:r>
            <a:fld id="{B8D4D8F1-594F-4164-A7A5-512E320BA361}" type="slidenum">
              <a:rPr lang="en-GB"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312361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46FAF1-ACE1-4EA9-A380-DC44EF35FA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440" y="555999"/>
            <a:ext cx="10972800" cy="614332"/>
          </a:xfrm>
        </p:spPr>
        <p:txBody>
          <a:bodyPr>
            <a:normAutofit fontScale="90000"/>
          </a:bodyPr>
          <a:lstStyle/>
          <a:p>
            <a:r>
              <a:rPr lang="en-GB" dirty="0"/>
              <a:t>UK Real average salary per capita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FCD9E3A-EABE-432F-9B92-F9B1BF2334F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7528" y="1184096"/>
            <a:ext cx="8784976" cy="536001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4635919-9922-483A-8552-6F44E2D6B7CD}"/>
              </a:ext>
            </a:extLst>
          </p:cNvPr>
          <p:cNvSpPr txBox="1"/>
          <p:nvPr/>
        </p:nvSpPr>
        <p:spPr>
          <a:xfrm>
            <a:off x="947428" y="6237312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Slide </a:t>
            </a:r>
            <a:fld id="{B8D4D8F1-594F-4164-A7A5-512E320BA361}" type="slidenum">
              <a:rPr lang="en-GB"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89411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9195" y="855038"/>
            <a:ext cx="10972800" cy="810736"/>
          </a:xfrm>
        </p:spPr>
        <p:txBody>
          <a:bodyPr/>
          <a:lstStyle/>
          <a:p>
            <a:r>
              <a:rPr lang="en-GB" dirty="0"/>
              <a:t>Out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89195" y="1665774"/>
            <a:ext cx="10972800" cy="4389120"/>
          </a:xfrm>
        </p:spPr>
        <p:txBody>
          <a:bodyPr/>
          <a:lstStyle/>
          <a:p>
            <a:r>
              <a:rPr lang="en-GB" baseline="0" dirty="0"/>
              <a:t>My chronology</a:t>
            </a:r>
          </a:p>
          <a:p>
            <a:r>
              <a:rPr lang="en-GB" dirty="0"/>
              <a:t>Being global is a state of mind</a:t>
            </a:r>
          </a:p>
          <a:p>
            <a:r>
              <a:rPr lang="en-GB" dirty="0"/>
              <a:t>A closer look at my career</a:t>
            </a:r>
          </a:p>
          <a:p>
            <a:r>
              <a:rPr lang="en-GB" dirty="0"/>
              <a:t>My millennial children</a:t>
            </a:r>
          </a:p>
          <a:p>
            <a:r>
              <a:rPr lang="en-GB" dirty="0"/>
              <a:t>The future for you</a:t>
            </a:r>
          </a:p>
          <a:p>
            <a:r>
              <a:rPr lang="en-GB" dirty="0"/>
              <a:t>Q&amp;A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947428" y="6237312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Slide </a:t>
            </a:r>
            <a:fld id="{B8D4D8F1-594F-4164-A7A5-512E320BA361}" type="slidenum">
              <a:rPr lang="en-GB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09657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DE24D9-BCA7-4E8F-85B0-97438B791D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My televi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55E885-2D36-45BE-91B3-416F126611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2006 </a:t>
            </a:r>
          </a:p>
          <a:p>
            <a:pPr lvl="1"/>
            <a:r>
              <a:rPr lang="en-GB" dirty="0"/>
              <a:t>Sony flat screen 42 inch HD £2,156</a:t>
            </a:r>
          </a:p>
          <a:p>
            <a:r>
              <a:rPr lang="en-GB" dirty="0"/>
              <a:t>2017</a:t>
            </a:r>
          </a:p>
          <a:p>
            <a:pPr lvl="1"/>
            <a:r>
              <a:rPr lang="en-GB" dirty="0"/>
              <a:t>Bought Samsung 49" Smart 4K Ultra HD HDR QLED £1,399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B138155-7C96-42FD-93A0-7E7DBA98E3AC}"/>
              </a:ext>
            </a:extLst>
          </p:cNvPr>
          <p:cNvSpPr txBox="1"/>
          <p:nvPr/>
        </p:nvSpPr>
        <p:spPr>
          <a:xfrm>
            <a:off x="947428" y="6237312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Slide </a:t>
            </a:r>
            <a:fld id="{B8D4D8F1-594F-4164-A7A5-512E320BA361}" type="slidenum">
              <a:rPr lang="en-GB"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42341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FBCAE9-7E43-4842-B2A0-45077714C0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What I wanted as a teenag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23FBC0-F2E7-492F-A848-E51AFBD846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Computer terminal in my bedroom</a:t>
            </a:r>
          </a:p>
          <a:p>
            <a:r>
              <a:rPr lang="en-GB" dirty="0"/>
              <a:t>Connected via a cable to a large computer with the world’s information</a:t>
            </a:r>
          </a:p>
          <a:p>
            <a:r>
              <a:rPr lang="en-GB" dirty="0"/>
              <a:t>Availability in 1960’s?</a:t>
            </a:r>
          </a:p>
          <a:p>
            <a:r>
              <a:rPr lang="en-GB" dirty="0"/>
              <a:t>Cost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F304006-4188-4FFB-939D-7DA8F383221F}"/>
              </a:ext>
            </a:extLst>
          </p:cNvPr>
          <p:cNvSpPr txBox="1"/>
          <p:nvPr/>
        </p:nvSpPr>
        <p:spPr>
          <a:xfrm>
            <a:off x="947428" y="6237312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Slide </a:t>
            </a:r>
            <a:fld id="{B8D4D8F1-594F-4164-A7A5-512E320BA361}" type="slidenum">
              <a:rPr lang="en-GB"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580613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E48D64-3839-4428-A1DA-A71495ADB7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Some tren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B60F94-BF8E-4A1F-8B6D-9A10A00A26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1996 IBM’s Deep Blue defeats World Chess Champion Gary Kasparov</a:t>
            </a:r>
          </a:p>
          <a:p>
            <a:r>
              <a:rPr lang="en-GB" dirty="0"/>
              <a:t>2016 Google’s Deep Mind’s AlphaGo defeats Lee Sedol</a:t>
            </a:r>
          </a:p>
          <a:p>
            <a:r>
              <a:rPr lang="en-GB" dirty="0"/>
              <a:t>1950’s Discovery of DNA’s structure </a:t>
            </a:r>
          </a:p>
          <a:p>
            <a:pPr lvl="1"/>
            <a:r>
              <a:rPr lang="en-GB" dirty="0"/>
              <a:t>1990’s Decoding human genome </a:t>
            </a:r>
          </a:p>
          <a:p>
            <a:pPr lvl="2"/>
            <a:r>
              <a:rPr lang="en-GB" dirty="0"/>
              <a:t>2010’s editing the genome with CRISPR/Cas9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2E51695-661A-420E-8144-1267882DA282}"/>
              </a:ext>
            </a:extLst>
          </p:cNvPr>
          <p:cNvSpPr txBox="1"/>
          <p:nvPr/>
        </p:nvSpPr>
        <p:spPr>
          <a:xfrm>
            <a:off x="947428" y="6237312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Slide </a:t>
            </a:r>
            <a:fld id="{B8D4D8F1-594F-4164-A7A5-512E320BA361}" type="slidenum">
              <a:rPr lang="en-GB"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37860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D41983-EF6B-48D6-B407-80FA742944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My personal expect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E93D5B-FB43-428E-9E7A-F894252139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My 17-year old BMW will probably be the last car I ever own</a:t>
            </a:r>
          </a:p>
          <a:p>
            <a:r>
              <a:rPr lang="en-GB" dirty="0"/>
              <a:t>When I am doddery, my carer will probably be a robot</a:t>
            </a:r>
          </a:p>
          <a:p>
            <a:r>
              <a:rPr lang="en-GB" dirty="0"/>
              <a:t>Material cornucopia awaits</a:t>
            </a:r>
          </a:p>
          <a:p>
            <a:pPr lvl="1"/>
            <a:r>
              <a:rPr lang="en-GB" dirty="0"/>
              <a:t>Robots making other robots</a:t>
            </a:r>
          </a:p>
          <a:p>
            <a:pPr lvl="1"/>
            <a:r>
              <a:rPr lang="en-GB" dirty="0"/>
              <a:t>Elimination of most genetic diseases</a:t>
            </a:r>
          </a:p>
          <a:p>
            <a:r>
              <a:rPr lang="en-GB" dirty="0"/>
              <a:t>What can you do better than a robot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7C99D3B-C3C3-4747-A1DA-EE7EE2C345CE}"/>
              </a:ext>
            </a:extLst>
          </p:cNvPr>
          <p:cNvSpPr txBox="1"/>
          <p:nvPr/>
        </p:nvSpPr>
        <p:spPr>
          <a:xfrm>
            <a:off x="947428" y="6237312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Slide </a:t>
            </a:r>
            <a:fld id="{B8D4D8F1-594F-4164-A7A5-512E320BA361}" type="slidenum">
              <a:rPr lang="en-GB"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18850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0AEC92-488B-4143-AF9B-EED74179DC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436" y="656692"/>
            <a:ext cx="10972800" cy="650336"/>
          </a:xfrm>
        </p:spPr>
        <p:txBody>
          <a:bodyPr>
            <a:normAutofit fontScale="90000"/>
          </a:bodyPr>
          <a:lstStyle/>
          <a:p>
            <a:r>
              <a:rPr lang="en-GB" dirty="0"/>
              <a:t>Some saw it coming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234B606-76A1-478B-B9A1-9C962917426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3592" y="1484784"/>
            <a:ext cx="2988099" cy="482453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EB162DD-D4D8-4943-A1CA-8882A9467DBD}"/>
              </a:ext>
            </a:extLst>
          </p:cNvPr>
          <p:cNvSpPr txBox="1"/>
          <p:nvPr/>
        </p:nvSpPr>
        <p:spPr>
          <a:xfrm>
            <a:off x="5807968" y="1844824"/>
            <a:ext cx="5292588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400" dirty="0"/>
              <a:t>“The Naked Sun” </a:t>
            </a:r>
          </a:p>
          <a:p>
            <a:r>
              <a:rPr lang="en-GB" sz="4400" dirty="0"/>
              <a:t>by Isaac Asimov</a:t>
            </a:r>
          </a:p>
          <a:p>
            <a:endParaRPr lang="en-GB" sz="4400" dirty="0"/>
          </a:p>
          <a:p>
            <a:r>
              <a:rPr lang="en-GB" sz="4400" dirty="0"/>
              <a:t>Written 1957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87BF39C-60B1-427C-8BC5-C29416124ACE}"/>
              </a:ext>
            </a:extLst>
          </p:cNvPr>
          <p:cNvSpPr txBox="1"/>
          <p:nvPr/>
        </p:nvSpPr>
        <p:spPr>
          <a:xfrm>
            <a:off x="947428" y="6237312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Slide </a:t>
            </a:r>
            <a:fld id="{B8D4D8F1-594F-4164-A7A5-512E320BA361}" type="slidenum">
              <a:rPr lang="en-GB"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826652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91844" y="2780928"/>
            <a:ext cx="2628292" cy="1362456"/>
          </a:xfrm>
        </p:spPr>
        <p:txBody>
          <a:bodyPr/>
          <a:lstStyle/>
          <a:p>
            <a:r>
              <a:rPr lang="en-GB" dirty="0"/>
              <a:t>Q &amp; 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54C8033-5E6A-4594-996A-CBF17F799DB2}"/>
              </a:ext>
            </a:extLst>
          </p:cNvPr>
          <p:cNvSpPr txBox="1"/>
          <p:nvPr/>
        </p:nvSpPr>
        <p:spPr>
          <a:xfrm>
            <a:off x="947428" y="6237312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Slide </a:t>
            </a:r>
            <a:fld id="{B8D4D8F1-594F-4164-A7A5-512E320BA361}" type="slidenum">
              <a:rPr lang="en-GB"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556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Rectangle 2"/>
          <p:cNvSpPr>
            <a:spLocks noGrp="1" noChangeArrowheads="1"/>
          </p:cNvSpPr>
          <p:nvPr>
            <p:ph type="title"/>
          </p:nvPr>
        </p:nvSpPr>
        <p:spPr>
          <a:xfrm>
            <a:off x="1019436" y="888885"/>
            <a:ext cx="10045116" cy="595312"/>
          </a:xfrm>
        </p:spPr>
        <p:txBody>
          <a:bodyPr>
            <a:noAutofit/>
          </a:bodyPr>
          <a:lstStyle/>
          <a:p>
            <a:pPr algn="l" eaLnBrk="1" hangingPunct="1"/>
            <a:r>
              <a:rPr lang="en-GB" dirty="0"/>
              <a:t>Mohammed Amin - chronology</a:t>
            </a:r>
            <a:endParaRPr lang="en-GB" sz="3600" dirty="0"/>
          </a:p>
        </p:txBody>
      </p:sp>
      <p:sp>
        <p:nvSpPr>
          <p:cNvPr id="7172" name="Rectangle 3"/>
          <p:cNvSpPr>
            <a:spLocks noChangeArrowheads="1"/>
          </p:cNvSpPr>
          <p:nvPr/>
        </p:nvSpPr>
        <p:spPr bwMode="auto">
          <a:xfrm>
            <a:off x="3755740" y="1583534"/>
            <a:ext cx="7452828" cy="42577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1587" lvl="1" defTabSz="695325">
              <a:spcBef>
                <a:spcPct val="0"/>
              </a:spcBef>
            </a:pPr>
            <a:r>
              <a:rPr lang="en-GB" sz="1600" dirty="0"/>
              <a:t>1950 – Born Pakistan</a:t>
            </a:r>
          </a:p>
          <a:p>
            <a:pPr marL="1587" lvl="1" defTabSz="695325">
              <a:spcBef>
                <a:spcPct val="0"/>
              </a:spcBef>
            </a:pPr>
            <a:r>
              <a:rPr lang="en-GB" sz="1600" dirty="0"/>
              <a:t>1952 – Move to UK</a:t>
            </a:r>
          </a:p>
          <a:p>
            <a:pPr marL="1587" lvl="1" defTabSz="695325">
              <a:spcBef>
                <a:spcPct val="0"/>
              </a:spcBef>
            </a:pPr>
            <a:r>
              <a:rPr lang="en-GB" sz="1600" dirty="0"/>
              <a:t>1969 – Cambridge University, Clare College, Mathematics </a:t>
            </a:r>
          </a:p>
          <a:p>
            <a:pPr marL="1587" lvl="1" defTabSz="695325">
              <a:spcBef>
                <a:spcPct val="0"/>
              </a:spcBef>
            </a:pPr>
            <a:r>
              <a:rPr lang="en-GB" sz="1600" dirty="0"/>
              <a:t>1972 – Leeds University Post Graduate Certificate in Education</a:t>
            </a:r>
          </a:p>
          <a:p>
            <a:pPr marL="1587" lvl="1" defTabSz="695325">
              <a:spcBef>
                <a:spcPct val="0"/>
              </a:spcBef>
            </a:pPr>
            <a:r>
              <a:rPr lang="en-GB" sz="1600" dirty="0"/>
              <a:t>1973 – Teacher</a:t>
            </a:r>
          </a:p>
          <a:p>
            <a:pPr marL="1587" lvl="1" defTabSz="695325">
              <a:spcBef>
                <a:spcPct val="0"/>
              </a:spcBef>
            </a:pPr>
            <a:r>
              <a:rPr lang="en-GB" sz="1600" dirty="0"/>
              <a:t>1974 – Trainee accountant, small firm</a:t>
            </a:r>
          </a:p>
          <a:p>
            <a:pPr marL="1587" lvl="1" defTabSz="695325">
              <a:spcBef>
                <a:spcPct val="0"/>
              </a:spcBef>
            </a:pPr>
            <a:r>
              <a:rPr lang="en-GB" sz="1600" dirty="0"/>
              <a:t>1977 – Tax specialist with Arthur Andersen, Manchester</a:t>
            </a:r>
          </a:p>
          <a:p>
            <a:pPr marL="1587" lvl="1" defTabSz="695325">
              <a:spcBef>
                <a:spcPct val="0"/>
              </a:spcBef>
            </a:pPr>
            <a:r>
              <a:rPr lang="en-GB" sz="1600" dirty="0"/>
              <a:t>1981 – Tax manager with Arthur Andersen</a:t>
            </a:r>
          </a:p>
          <a:p>
            <a:pPr marL="1587" lvl="1" defTabSz="695325">
              <a:spcBef>
                <a:spcPct val="0"/>
              </a:spcBef>
            </a:pPr>
            <a:r>
              <a:rPr lang="en-GB" sz="1600" dirty="0"/>
              <a:t>1984 – Senior tax manager, then partner, small firm</a:t>
            </a:r>
          </a:p>
          <a:p>
            <a:pPr marL="1587" lvl="1" defTabSz="695325">
              <a:spcBef>
                <a:spcPct val="0"/>
              </a:spcBef>
            </a:pPr>
            <a:r>
              <a:rPr lang="en-GB" sz="1600" dirty="0"/>
              <a:t>1987 – Senior tax manager, Price Waterhouse</a:t>
            </a:r>
          </a:p>
          <a:p>
            <a:pPr marL="1587" lvl="1" defTabSz="695325">
              <a:spcBef>
                <a:spcPct val="0"/>
              </a:spcBef>
            </a:pPr>
            <a:r>
              <a:rPr lang="en-GB" sz="1600" dirty="0"/>
              <a:t>1990 – Partner, Price Waterhouse</a:t>
            </a:r>
          </a:p>
          <a:p>
            <a:pPr marL="1587" lvl="1" defTabSz="695325">
              <a:spcBef>
                <a:spcPct val="0"/>
              </a:spcBef>
            </a:pPr>
            <a:r>
              <a:rPr lang="en-GB" sz="1600" dirty="0"/>
              <a:t>2001 – National leader, PwC Finance &amp; Treasury Tax Network</a:t>
            </a:r>
          </a:p>
          <a:p>
            <a:pPr marL="1587" lvl="1" defTabSz="695325">
              <a:spcBef>
                <a:spcPct val="0"/>
              </a:spcBef>
            </a:pPr>
            <a:r>
              <a:rPr lang="en-GB" sz="1600" dirty="0"/>
              <a:t>2007 – Member of PwC’s global Islamic Finance Leadership Team</a:t>
            </a:r>
          </a:p>
          <a:p>
            <a:pPr marL="1587" lvl="1" defTabSz="695325">
              <a:spcBef>
                <a:spcPct val="0"/>
              </a:spcBef>
            </a:pPr>
            <a:r>
              <a:rPr lang="en-GB" sz="1600" dirty="0"/>
              <a:t>2009 – Retired from PwC</a:t>
            </a:r>
          </a:p>
          <a:p>
            <a:pPr marL="1587" lvl="1" defTabSz="695325">
              <a:spcBef>
                <a:spcPct val="0"/>
              </a:spcBef>
            </a:pPr>
            <a:endParaRPr lang="en-GB" sz="1600" dirty="0"/>
          </a:p>
          <a:p>
            <a:pPr marL="1587" lvl="1" defTabSz="695325">
              <a:spcBef>
                <a:spcPct val="0"/>
              </a:spcBef>
            </a:pPr>
            <a:r>
              <a:rPr lang="en-GB" sz="3600" b="1" dirty="0">
                <a:solidFill>
                  <a:srgbClr val="FF0000"/>
                </a:solidFill>
              </a:rPr>
              <a:t>mohammedamin.com</a:t>
            </a:r>
            <a:endParaRPr lang="en-GB" sz="3600" dirty="0"/>
          </a:p>
          <a:p>
            <a:pPr marL="1587" lvl="1" defTabSz="695325">
              <a:spcBef>
                <a:spcPct val="0"/>
              </a:spcBef>
            </a:pPr>
            <a:endParaRPr lang="en-GB" sz="1600" dirty="0"/>
          </a:p>
          <a:p>
            <a:pPr marL="358775" lvl="1" indent="-357188" defTabSz="695325">
              <a:spcBef>
                <a:spcPct val="0"/>
              </a:spcBef>
            </a:pPr>
            <a:endParaRPr lang="en-GB" sz="1600" dirty="0"/>
          </a:p>
        </p:txBody>
      </p:sp>
      <p:sp>
        <p:nvSpPr>
          <p:cNvPr id="7175" name="Text Box 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blackWhite">
          <a:xfrm>
            <a:off x="1535114" y="12701"/>
            <a:ext cx="128587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63500" tIns="0" rIns="64800" bIns="0">
            <a:spAutoFit/>
          </a:bodyPr>
          <a:lstStyle/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376" y="1609234"/>
            <a:ext cx="2438400" cy="36576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0CEC68A-EC74-461F-9B83-08D9779CFBB6}"/>
              </a:ext>
            </a:extLst>
          </p:cNvPr>
          <p:cNvSpPr txBox="1"/>
          <p:nvPr/>
        </p:nvSpPr>
        <p:spPr>
          <a:xfrm>
            <a:off x="947428" y="6237312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Slide </a:t>
            </a:r>
            <a:fld id="{B8D4D8F1-594F-4164-A7A5-512E320BA361}" type="slidenum">
              <a:rPr lang="en-GB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38273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7428" y="2747772"/>
            <a:ext cx="10549172" cy="1362456"/>
          </a:xfrm>
        </p:spPr>
        <p:txBody>
          <a:bodyPr/>
          <a:lstStyle/>
          <a:p>
            <a:r>
              <a:rPr lang="en-GB" dirty="0"/>
              <a:t>Being global is a state of mind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8A48381-0B28-4A73-9B03-CEBF2E151D53}"/>
              </a:ext>
            </a:extLst>
          </p:cNvPr>
          <p:cNvSpPr txBox="1"/>
          <p:nvPr/>
        </p:nvSpPr>
        <p:spPr>
          <a:xfrm>
            <a:off x="947428" y="6237312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Slide </a:t>
            </a:r>
            <a:fld id="{B8D4D8F1-594F-4164-A7A5-512E320BA361}" type="slidenum">
              <a:rPr lang="en-GB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06825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61C434-82AC-441F-8391-DDE287B299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436" y="800708"/>
            <a:ext cx="10117124" cy="758348"/>
          </a:xfrm>
        </p:spPr>
        <p:txBody>
          <a:bodyPr>
            <a:normAutofit fontScale="90000"/>
          </a:bodyPr>
          <a:lstStyle/>
          <a:p>
            <a:r>
              <a:rPr lang="en-GB" dirty="0"/>
              <a:t>My first travel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BBB75C3-E19D-424C-AB52-07850E99A00F}"/>
              </a:ext>
            </a:extLst>
          </p:cNvPr>
          <p:cNvGrpSpPr/>
          <p:nvPr/>
        </p:nvGrpSpPr>
        <p:grpSpPr>
          <a:xfrm>
            <a:off x="1163452" y="1795433"/>
            <a:ext cx="9541060" cy="4260849"/>
            <a:chOff x="2201864" y="1196976"/>
            <a:chExt cx="7500937" cy="4260849"/>
          </a:xfrm>
        </p:grpSpPr>
        <p:sp>
          <p:nvSpPr>
            <p:cNvPr id="4" name="Freeform 4">
              <a:extLst>
                <a:ext uri="{FF2B5EF4-FFF2-40B4-BE49-F238E27FC236}">
                  <a16:creationId xmlns:a16="http://schemas.microsoft.com/office/drawing/2014/main" id="{294FEE4A-1A0E-4BC4-AFEA-647463C8D5FF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4043364" y="5394325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1 w 73"/>
                <a:gd name="T3" fmla="*/ 5 h 20"/>
                <a:gd name="T4" fmla="*/ 4 w 73"/>
                <a:gd name="T5" fmla="*/ 10 h 20"/>
                <a:gd name="T6" fmla="*/ 8 w 73"/>
                <a:gd name="T7" fmla="*/ 14 h 20"/>
                <a:gd name="T8" fmla="*/ 13 w 73"/>
                <a:gd name="T9" fmla="*/ 20 h 20"/>
                <a:gd name="T10" fmla="*/ 16 w 73"/>
                <a:gd name="T11" fmla="*/ 17 h 20"/>
                <a:gd name="T12" fmla="*/ 19 w 73"/>
                <a:gd name="T13" fmla="*/ 13 h 20"/>
                <a:gd name="T14" fmla="*/ 23 w 73"/>
                <a:gd name="T15" fmla="*/ 11 h 20"/>
                <a:gd name="T16" fmla="*/ 27 w 73"/>
                <a:gd name="T17" fmla="*/ 10 h 20"/>
                <a:gd name="T18" fmla="*/ 36 w 73"/>
                <a:gd name="T19" fmla="*/ 8 h 20"/>
                <a:gd name="T20" fmla="*/ 46 w 73"/>
                <a:gd name="T21" fmla="*/ 7 h 20"/>
                <a:gd name="T22" fmla="*/ 54 w 73"/>
                <a:gd name="T23" fmla="*/ 7 h 20"/>
                <a:gd name="T24" fmla="*/ 63 w 73"/>
                <a:gd name="T25" fmla="*/ 6 h 20"/>
                <a:gd name="T26" fmla="*/ 66 w 73"/>
                <a:gd name="T27" fmla="*/ 5 h 20"/>
                <a:gd name="T28" fmla="*/ 69 w 73"/>
                <a:gd name="T29" fmla="*/ 4 h 20"/>
                <a:gd name="T30" fmla="*/ 71 w 73"/>
                <a:gd name="T31" fmla="*/ 2 h 20"/>
                <a:gd name="T32" fmla="*/ 73 w 73"/>
                <a:gd name="T33" fmla="*/ 0 h 20"/>
                <a:gd name="T34" fmla="*/ 0 w 73"/>
                <a:gd name="T3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" name="Freeform 5">
              <a:extLst>
                <a:ext uri="{FF2B5EF4-FFF2-40B4-BE49-F238E27FC236}">
                  <a16:creationId xmlns:a16="http://schemas.microsoft.com/office/drawing/2014/main" id="{76D087DD-8D6F-488C-A2EB-54159C93948B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201864" y="1495425"/>
              <a:ext cx="784225" cy="446088"/>
            </a:xfrm>
            <a:custGeom>
              <a:avLst/>
              <a:gdLst>
                <a:gd name="T0" fmla="*/ 1395 w 1808"/>
                <a:gd name="T1" fmla="*/ 807 h 850"/>
                <a:gd name="T2" fmla="*/ 1394 w 1808"/>
                <a:gd name="T3" fmla="*/ 753 h 850"/>
                <a:gd name="T4" fmla="*/ 1373 w 1808"/>
                <a:gd name="T5" fmla="*/ 648 h 850"/>
                <a:gd name="T6" fmla="*/ 1323 w 1808"/>
                <a:gd name="T7" fmla="*/ 641 h 850"/>
                <a:gd name="T8" fmla="*/ 1264 w 1808"/>
                <a:gd name="T9" fmla="*/ 639 h 850"/>
                <a:gd name="T10" fmla="*/ 1134 w 1808"/>
                <a:gd name="T11" fmla="*/ 582 h 850"/>
                <a:gd name="T12" fmla="*/ 973 w 1808"/>
                <a:gd name="T13" fmla="*/ 537 h 850"/>
                <a:gd name="T14" fmla="*/ 943 w 1808"/>
                <a:gd name="T15" fmla="*/ 504 h 850"/>
                <a:gd name="T16" fmla="*/ 901 w 1808"/>
                <a:gd name="T17" fmla="*/ 516 h 850"/>
                <a:gd name="T18" fmla="*/ 849 w 1808"/>
                <a:gd name="T19" fmla="*/ 570 h 850"/>
                <a:gd name="T20" fmla="*/ 675 w 1808"/>
                <a:gd name="T21" fmla="*/ 619 h 850"/>
                <a:gd name="T22" fmla="*/ 678 w 1808"/>
                <a:gd name="T23" fmla="*/ 578 h 850"/>
                <a:gd name="T24" fmla="*/ 721 w 1808"/>
                <a:gd name="T25" fmla="*/ 548 h 850"/>
                <a:gd name="T26" fmla="*/ 786 w 1808"/>
                <a:gd name="T27" fmla="*/ 545 h 850"/>
                <a:gd name="T28" fmla="*/ 724 w 1808"/>
                <a:gd name="T29" fmla="*/ 528 h 850"/>
                <a:gd name="T30" fmla="*/ 578 w 1808"/>
                <a:gd name="T31" fmla="*/ 589 h 850"/>
                <a:gd name="T32" fmla="*/ 547 w 1808"/>
                <a:gd name="T33" fmla="*/ 625 h 850"/>
                <a:gd name="T34" fmla="*/ 526 w 1808"/>
                <a:gd name="T35" fmla="*/ 650 h 850"/>
                <a:gd name="T36" fmla="*/ 452 w 1808"/>
                <a:gd name="T37" fmla="*/ 654 h 850"/>
                <a:gd name="T38" fmla="*/ 383 w 1808"/>
                <a:gd name="T39" fmla="*/ 702 h 850"/>
                <a:gd name="T40" fmla="*/ 252 w 1808"/>
                <a:gd name="T41" fmla="*/ 750 h 850"/>
                <a:gd name="T42" fmla="*/ 105 w 1808"/>
                <a:gd name="T43" fmla="*/ 807 h 850"/>
                <a:gd name="T44" fmla="*/ 4 w 1808"/>
                <a:gd name="T45" fmla="*/ 813 h 850"/>
                <a:gd name="T46" fmla="*/ 14 w 1808"/>
                <a:gd name="T47" fmla="*/ 789 h 850"/>
                <a:gd name="T48" fmla="*/ 127 w 1808"/>
                <a:gd name="T49" fmla="*/ 761 h 850"/>
                <a:gd name="T50" fmla="*/ 265 w 1808"/>
                <a:gd name="T51" fmla="*/ 696 h 850"/>
                <a:gd name="T52" fmla="*/ 300 w 1808"/>
                <a:gd name="T53" fmla="*/ 626 h 850"/>
                <a:gd name="T54" fmla="*/ 253 w 1808"/>
                <a:gd name="T55" fmla="*/ 657 h 850"/>
                <a:gd name="T56" fmla="*/ 150 w 1808"/>
                <a:gd name="T57" fmla="*/ 643 h 850"/>
                <a:gd name="T58" fmla="*/ 172 w 1808"/>
                <a:gd name="T59" fmla="*/ 610 h 850"/>
                <a:gd name="T60" fmla="*/ 240 w 1808"/>
                <a:gd name="T61" fmla="*/ 547 h 850"/>
                <a:gd name="T62" fmla="*/ 152 w 1808"/>
                <a:gd name="T63" fmla="*/ 575 h 850"/>
                <a:gd name="T64" fmla="*/ 143 w 1808"/>
                <a:gd name="T65" fmla="*/ 536 h 850"/>
                <a:gd name="T66" fmla="*/ 346 w 1808"/>
                <a:gd name="T67" fmla="*/ 380 h 850"/>
                <a:gd name="T68" fmla="*/ 444 w 1808"/>
                <a:gd name="T69" fmla="*/ 382 h 850"/>
                <a:gd name="T70" fmla="*/ 569 w 1808"/>
                <a:gd name="T71" fmla="*/ 349 h 850"/>
                <a:gd name="T72" fmla="*/ 592 w 1808"/>
                <a:gd name="T73" fmla="*/ 306 h 850"/>
                <a:gd name="T74" fmla="*/ 506 w 1808"/>
                <a:gd name="T75" fmla="*/ 331 h 850"/>
                <a:gd name="T76" fmla="*/ 438 w 1808"/>
                <a:gd name="T77" fmla="*/ 318 h 850"/>
                <a:gd name="T78" fmla="*/ 472 w 1808"/>
                <a:gd name="T79" fmla="*/ 287 h 850"/>
                <a:gd name="T80" fmla="*/ 711 w 1808"/>
                <a:gd name="T81" fmla="*/ 238 h 850"/>
                <a:gd name="T82" fmla="*/ 749 w 1808"/>
                <a:gd name="T83" fmla="*/ 210 h 850"/>
                <a:gd name="T84" fmla="*/ 684 w 1808"/>
                <a:gd name="T85" fmla="*/ 176 h 850"/>
                <a:gd name="T86" fmla="*/ 739 w 1808"/>
                <a:gd name="T87" fmla="*/ 109 h 850"/>
                <a:gd name="T88" fmla="*/ 988 w 1808"/>
                <a:gd name="T89" fmla="*/ 27 h 850"/>
                <a:gd name="T90" fmla="*/ 1157 w 1808"/>
                <a:gd name="T91" fmla="*/ 9 h 850"/>
                <a:gd name="T92" fmla="*/ 1277 w 1808"/>
                <a:gd name="T93" fmla="*/ 2 h 850"/>
                <a:gd name="T94" fmla="*/ 1354 w 1808"/>
                <a:gd name="T95" fmla="*/ 10 h 850"/>
                <a:gd name="T96" fmla="*/ 1516 w 1808"/>
                <a:gd name="T97" fmla="*/ 34 h 850"/>
                <a:gd name="T98" fmla="*/ 1761 w 1808"/>
                <a:gd name="T99" fmla="*/ 41 h 850"/>
                <a:gd name="T100" fmla="*/ 1287 w 1808"/>
                <a:gd name="T101" fmla="*/ 540 h 850"/>
                <a:gd name="T102" fmla="*/ 1321 w 1808"/>
                <a:gd name="T103" fmla="*/ 571 h 850"/>
                <a:gd name="T104" fmla="*/ 1327 w 1808"/>
                <a:gd name="T105" fmla="*/ 601 h 850"/>
                <a:gd name="T106" fmla="*/ 1382 w 1808"/>
                <a:gd name="T107" fmla="*/ 599 h 850"/>
                <a:gd name="T108" fmla="*/ 1429 w 1808"/>
                <a:gd name="T109" fmla="*/ 577 h 850"/>
                <a:gd name="T110" fmla="*/ 1475 w 1808"/>
                <a:gd name="T111" fmla="*/ 667 h 850"/>
                <a:gd name="T112" fmla="*/ 1462 w 1808"/>
                <a:gd name="T113" fmla="*/ 706 h 850"/>
                <a:gd name="T114" fmla="*/ 1449 w 1808"/>
                <a:gd name="T115" fmla="*/ 742 h 850"/>
                <a:gd name="T116" fmla="*/ 1477 w 1808"/>
                <a:gd name="T117" fmla="*/ 783 h 850"/>
                <a:gd name="T118" fmla="*/ 1477 w 1808"/>
                <a:gd name="T119" fmla="*/ 811 h 850"/>
                <a:gd name="T120" fmla="*/ 1426 w 1808"/>
                <a:gd name="T121" fmla="*/ 848 h 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3DDBAADE-9CFE-4B1D-92DA-833495F52598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662239" y="2111375"/>
              <a:ext cx="1381125" cy="769938"/>
            </a:xfrm>
            <a:custGeom>
              <a:avLst/>
              <a:gdLst>
                <a:gd name="T0" fmla="*/ 2928 w 3175"/>
                <a:gd name="T1" fmla="*/ 353 h 1472"/>
                <a:gd name="T2" fmla="*/ 2896 w 3175"/>
                <a:gd name="T3" fmla="*/ 440 h 1472"/>
                <a:gd name="T4" fmla="*/ 2843 w 3175"/>
                <a:gd name="T5" fmla="*/ 462 h 1472"/>
                <a:gd name="T6" fmla="*/ 2667 w 3175"/>
                <a:gd name="T7" fmla="*/ 566 h 1472"/>
                <a:gd name="T8" fmla="*/ 2595 w 3175"/>
                <a:gd name="T9" fmla="*/ 585 h 1472"/>
                <a:gd name="T10" fmla="*/ 2570 w 3175"/>
                <a:gd name="T11" fmla="*/ 677 h 1472"/>
                <a:gd name="T12" fmla="*/ 2514 w 3175"/>
                <a:gd name="T13" fmla="*/ 621 h 1472"/>
                <a:gd name="T14" fmla="*/ 2499 w 3175"/>
                <a:gd name="T15" fmla="*/ 690 h 1472"/>
                <a:gd name="T16" fmla="*/ 2465 w 3175"/>
                <a:gd name="T17" fmla="*/ 744 h 1472"/>
                <a:gd name="T18" fmla="*/ 2471 w 3175"/>
                <a:gd name="T19" fmla="*/ 823 h 1472"/>
                <a:gd name="T20" fmla="*/ 2332 w 3175"/>
                <a:gd name="T21" fmla="*/ 928 h 1472"/>
                <a:gd name="T22" fmla="*/ 2165 w 3175"/>
                <a:gd name="T23" fmla="*/ 1045 h 1472"/>
                <a:gd name="T24" fmla="*/ 2112 w 3175"/>
                <a:gd name="T25" fmla="*/ 1195 h 1472"/>
                <a:gd name="T26" fmla="*/ 2103 w 3175"/>
                <a:gd name="T27" fmla="*/ 1457 h 1472"/>
                <a:gd name="T28" fmla="*/ 2026 w 3175"/>
                <a:gd name="T29" fmla="*/ 1414 h 1472"/>
                <a:gd name="T30" fmla="*/ 1993 w 3175"/>
                <a:gd name="T31" fmla="*/ 1326 h 1472"/>
                <a:gd name="T32" fmla="*/ 1959 w 3175"/>
                <a:gd name="T33" fmla="*/ 1184 h 1472"/>
                <a:gd name="T34" fmla="*/ 1832 w 3175"/>
                <a:gd name="T35" fmla="*/ 1168 h 1472"/>
                <a:gd name="T36" fmla="*/ 1653 w 3175"/>
                <a:gd name="T37" fmla="*/ 1143 h 1472"/>
                <a:gd name="T38" fmla="*/ 1616 w 3175"/>
                <a:gd name="T39" fmla="*/ 1186 h 1472"/>
                <a:gd name="T40" fmla="*/ 1548 w 3175"/>
                <a:gd name="T41" fmla="*/ 1238 h 1472"/>
                <a:gd name="T42" fmla="*/ 1436 w 3175"/>
                <a:gd name="T43" fmla="*/ 1192 h 1472"/>
                <a:gd name="T44" fmla="*/ 1231 w 3175"/>
                <a:gd name="T45" fmla="*/ 1272 h 1472"/>
                <a:gd name="T46" fmla="*/ 1160 w 3175"/>
                <a:gd name="T47" fmla="*/ 1392 h 1472"/>
                <a:gd name="T48" fmla="*/ 1080 w 3175"/>
                <a:gd name="T49" fmla="*/ 1382 h 1472"/>
                <a:gd name="T50" fmla="*/ 1037 w 3175"/>
                <a:gd name="T51" fmla="*/ 1227 h 1472"/>
                <a:gd name="T52" fmla="*/ 940 w 3175"/>
                <a:gd name="T53" fmla="*/ 1190 h 1472"/>
                <a:gd name="T54" fmla="*/ 867 w 3175"/>
                <a:gd name="T55" fmla="*/ 1219 h 1472"/>
                <a:gd name="T56" fmla="*/ 782 w 3175"/>
                <a:gd name="T57" fmla="*/ 1087 h 1472"/>
                <a:gd name="T58" fmla="*/ 670 w 3175"/>
                <a:gd name="T59" fmla="*/ 1065 h 1472"/>
                <a:gd name="T60" fmla="*/ 462 w 3175"/>
                <a:gd name="T61" fmla="*/ 1065 h 1472"/>
                <a:gd name="T62" fmla="*/ 220 w 3175"/>
                <a:gd name="T63" fmla="*/ 1016 h 1472"/>
                <a:gd name="T64" fmla="*/ 88 w 3175"/>
                <a:gd name="T65" fmla="*/ 920 h 1472"/>
                <a:gd name="T66" fmla="*/ 39 w 3175"/>
                <a:gd name="T67" fmla="*/ 848 h 1472"/>
                <a:gd name="T68" fmla="*/ 29 w 3175"/>
                <a:gd name="T69" fmla="*/ 662 h 1472"/>
                <a:gd name="T70" fmla="*/ 0 w 3175"/>
                <a:gd name="T71" fmla="*/ 604 h 1472"/>
                <a:gd name="T72" fmla="*/ 141 w 3175"/>
                <a:gd name="T73" fmla="*/ 336 h 1472"/>
                <a:gd name="T74" fmla="*/ 247 w 3175"/>
                <a:gd name="T75" fmla="*/ 176 h 1472"/>
                <a:gd name="T76" fmla="*/ 355 w 3175"/>
                <a:gd name="T77" fmla="*/ 102 h 1472"/>
                <a:gd name="T78" fmla="*/ 376 w 3175"/>
                <a:gd name="T79" fmla="*/ 120 h 1472"/>
                <a:gd name="T80" fmla="*/ 1827 w 3175"/>
                <a:gd name="T81" fmla="*/ 0 h 1472"/>
                <a:gd name="T82" fmla="*/ 1926 w 3175"/>
                <a:gd name="T83" fmla="*/ 55 h 1472"/>
                <a:gd name="T84" fmla="*/ 2015 w 3175"/>
                <a:gd name="T85" fmla="*/ 69 h 1472"/>
                <a:gd name="T86" fmla="*/ 1929 w 3175"/>
                <a:gd name="T87" fmla="*/ 128 h 1472"/>
                <a:gd name="T88" fmla="*/ 1977 w 3175"/>
                <a:gd name="T89" fmla="*/ 166 h 1472"/>
                <a:gd name="T90" fmla="*/ 2094 w 3175"/>
                <a:gd name="T91" fmla="*/ 155 h 1472"/>
                <a:gd name="T92" fmla="*/ 2284 w 3175"/>
                <a:gd name="T93" fmla="*/ 193 h 1472"/>
                <a:gd name="T94" fmla="*/ 2217 w 3175"/>
                <a:gd name="T95" fmla="*/ 204 h 1472"/>
                <a:gd name="T96" fmla="*/ 2087 w 3175"/>
                <a:gd name="T97" fmla="*/ 264 h 1472"/>
                <a:gd name="T98" fmla="*/ 2021 w 3175"/>
                <a:gd name="T99" fmla="*/ 355 h 1472"/>
                <a:gd name="T100" fmla="*/ 2012 w 3175"/>
                <a:gd name="T101" fmla="*/ 451 h 1472"/>
                <a:gd name="T102" fmla="*/ 2076 w 3175"/>
                <a:gd name="T103" fmla="*/ 417 h 1472"/>
                <a:gd name="T104" fmla="*/ 2205 w 3175"/>
                <a:gd name="T105" fmla="*/ 252 h 1472"/>
                <a:gd name="T106" fmla="*/ 2267 w 3175"/>
                <a:gd name="T107" fmla="*/ 303 h 1472"/>
                <a:gd name="T108" fmla="*/ 2299 w 3175"/>
                <a:gd name="T109" fmla="*/ 394 h 1472"/>
                <a:gd name="T110" fmla="*/ 2206 w 3175"/>
                <a:gd name="T111" fmla="*/ 454 h 1472"/>
                <a:gd name="T112" fmla="*/ 2317 w 3175"/>
                <a:gd name="T113" fmla="*/ 457 h 1472"/>
                <a:gd name="T114" fmla="*/ 2570 w 3175"/>
                <a:gd name="T115" fmla="*/ 373 h 1472"/>
                <a:gd name="T116" fmla="*/ 2730 w 3175"/>
                <a:gd name="T117" fmla="*/ 252 h 1472"/>
                <a:gd name="T118" fmla="*/ 3016 w 3175"/>
                <a:gd name="T119" fmla="*/ 203 h 1472"/>
                <a:gd name="T120" fmla="*/ 3136 w 3175"/>
                <a:gd name="T121" fmla="*/ 118 h 1472"/>
                <a:gd name="T122" fmla="*/ 3149 w 3175"/>
                <a:gd name="T123" fmla="*/ 184 h 1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" name="Freeform 7">
              <a:extLst>
                <a:ext uri="{FF2B5EF4-FFF2-40B4-BE49-F238E27FC236}">
                  <a16:creationId xmlns:a16="http://schemas.microsoft.com/office/drawing/2014/main" id="{9E57412D-11ED-4FAC-8984-4634F65FBF55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495676" y="3662363"/>
              <a:ext cx="339725" cy="590550"/>
            </a:xfrm>
            <a:custGeom>
              <a:avLst/>
              <a:gdLst>
                <a:gd name="T0" fmla="*/ 583 w 784"/>
                <a:gd name="T1" fmla="*/ 277 h 1128"/>
                <a:gd name="T2" fmla="*/ 549 w 784"/>
                <a:gd name="T3" fmla="*/ 295 h 1128"/>
                <a:gd name="T4" fmla="*/ 484 w 784"/>
                <a:gd name="T5" fmla="*/ 387 h 1128"/>
                <a:gd name="T6" fmla="*/ 465 w 784"/>
                <a:gd name="T7" fmla="*/ 457 h 1128"/>
                <a:gd name="T8" fmla="*/ 481 w 784"/>
                <a:gd name="T9" fmla="*/ 522 h 1128"/>
                <a:gd name="T10" fmla="*/ 530 w 784"/>
                <a:gd name="T11" fmla="*/ 591 h 1128"/>
                <a:gd name="T12" fmla="*/ 579 w 784"/>
                <a:gd name="T13" fmla="*/ 616 h 1128"/>
                <a:gd name="T14" fmla="*/ 625 w 784"/>
                <a:gd name="T15" fmla="*/ 600 h 1128"/>
                <a:gd name="T16" fmla="*/ 654 w 784"/>
                <a:gd name="T17" fmla="*/ 653 h 1128"/>
                <a:gd name="T18" fmla="*/ 672 w 784"/>
                <a:gd name="T19" fmla="*/ 683 h 1128"/>
                <a:gd name="T20" fmla="*/ 714 w 784"/>
                <a:gd name="T21" fmla="*/ 687 h 1128"/>
                <a:gd name="T22" fmla="*/ 749 w 784"/>
                <a:gd name="T23" fmla="*/ 712 h 1128"/>
                <a:gd name="T24" fmla="*/ 770 w 784"/>
                <a:gd name="T25" fmla="*/ 756 h 1128"/>
                <a:gd name="T26" fmla="*/ 761 w 784"/>
                <a:gd name="T27" fmla="*/ 790 h 1128"/>
                <a:gd name="T28" fmla="*/ 760 w 784"/>
                <a:gd name="T29" fmla="*/ 825 h 1128"/>
                <a:gd name="T30" fmla="*/ 772 w 784"/>
                <a:gd name="T31" fmla="*/ 882 h 1128"/>
                <a:gd name="T32" fmla="*/ 758 w 784"/>
                <a:gd name="T33" fmla="*/ 932 h 1128"/>
                <a:gd name="T34" fmla="*/ 770 w 784"/>
                <a:gd name="T35" fmla="*/ 994 h 1128"/>
                <a:gd name="T36" fmla="*/ 763 w 784"/>
                <a:gd name="T37" fmla="*/ 1054 h 1128"/>
                <a:gd name="T38" fmla="*/ 691 w 784"/>
                <a:gd name="T39" fmla="*/ 1122 h 1128"/>
                <a:gd name="T40" fmla="*/ 648 w 784"/>
                <a:gd name="T41" fmla="*/ 1103 h 1128"/>
                <a:gd name="T42" fmla="*/ 602 w 784"/>
                <a:gd name="T43" fmla="*/ 1056 h 1128"/>
                <a:gd name="T44" fmla="*/ 463 w 784"/>
                <a:gd name="T45" fmla="*/ 998 h 1128"/>
                <a:gd name="T46" fmla="*/ 425 w 784"/>
                <a:gd name="T47" fmla="*/ 967 h 1128"/>
                <a:gd name="T48" fmla="*/ 331 w 784"/>
                <a:gd name="T49" fmla="*/ 894 h 1128"/>
                <a:gd name="T50" fmla="*/ 318 w 784"/>
                <a:gd name="T51" fmla="*/ 867 h 1128"/>
                <a:gd name="T52" fmla="*/ 328 w 784"/>
                <a:gd name="T53" fmla="*/ 815 h 1128"/>
                <a:gd name="T54" fmla="*/ 290 w 784"/>
                <a:gd name="T55" fmla="*/ 778 h 1128"/>
                <a:gd name="T56" fmla="*/ 259 w 784"/>
                <a:gd name="T57" fmla="*/ 745 h 1128"/>
                <a:gd name="T58" fmla="*/ 243 w 784"/>
                <a:gd name="T59" fmla="*/ 689 h 1128"/>
                <a:gd name="T60" fmla="*/ 153 w 784"/>
                <a:gd name="T61" fmla="*/ 530 h 1128"/>
                <a:gd name="T62" fmla="*/ 120 w 784"/>
                <a:gd name="T63" fmla="*/ 487 h 1128"/>
                <a:gd name="T64" fmla="*/ 90 w 784"/>
                <a:gd name="T65" fmla="*/ 432 h 1128"/>
                <a:gd name="T66" fmla="*/ 22 w 784"/>
                <a:gd name="T67" fmla="*/ 397 h 1128"/>
                <a:gd name="T68" fmla="*/ 0 w 784"/>
                <a:gd name="T69" fmla="*/ 363 h 1128"/>
                <a:gd name="T70" fmla="*/ 13 w 784"/>
                <a:gd name="T71" fmla="*/ 276 h 1128"/>
                <a:gd name="T72" fmla="*/ 28 w 784"/>
                <a:gd name="T73" fmla="*/ 246 h 1128"/>
                <a:gd name="T74" fmla="*/ 72 w 784"/>
                <a:gd name="T75" fmla="*/ 222 h 1128"/>
                <a:gd name="T76" fmla="*/ 95 w 784"/>
                <a:gd name="T77" fmla="*/ 272 h 1128"/>
                <a:gd name="T78" fmla="*/ 158 w 784"/>
                <a:gd name="T79" fmla="*/ 307 h 1128"/>
                <a:gd name="T80" fmla="*/ 184 w 784"/>
                <a:gd name="T81" fmla="*/ 271 h 1128"/>
                <a:gd name="T82" fmla="*/ 201 w 784"/>
                <a:gd name="T83" fmla="*/ 225 h 1128"/>
                <a:gd name="T84" fmla="*/ 270 w 784"/>
                <a:gd name="T85" fmla="*/ 170 h 1128"/>
                <a:gd name="T86" fmla="*/ 344 w 784"/>
                <a:gd name="T87" fmla="*/ 120 h 1128"/>
                <a:gd name="T88" fmla="*/ 357 w 784"/>
                <a:gd name="T89" fmla="*/ 70 h 1128"/>
                <a:gd name="T90" fmla="*/ 347 w 784"/>
                <a:gd name="T91" fmla="*/ 5 h 1128"/>
                <a:gd name="T92" fmla="*/ 422 w 784"/>
                <a:gd name="T93" fmla="*/ 53 h 1128"/>
                <a:gd name="T94" fmla="*/ 467 w 784"/>
                <a:gd name="T95" fmla="*/ 107 h 1128"/>
                <a:gd name="T96" fmla="*/ 506 w 784"/>
                <a:gd name="T97" fmla="*/ 154 h 1128"/>
                <a:gd name="T98" fmla="*/ 561 w 784"/>
                <a:gd name="T99" fmla="*/ 157 h 1128"/>
                <a:gd name="T100" fmla="*/ 617 w 784"/>
                <a:gd name="T101" fmla="*/ 149 h 1128"/>
                <a:gd name="T102" fmla="*/ 640 w 784"/>
                <a:gd name="T103" fmla="*/ 156 h 1128"/>
                <a:gd name="T104" fmla="*/ 654 w 784"/>
                <a:gd name="T105" fmla="*/ 193 h 1128"/>
                <a:gd name="T106" fmla="*/ 627 w 784"/>
                <a:gd name="T107" fmla="*/ 210 h 1128"/>
                <a:gd name="T108" fmla="*/ 627 w 784"/>
                <a:gd name="T109" fmla="*/ 240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8" name="Freeform 8">
              <a:extLst>
                <a:ext uri="{FF2B5EF4-FFF2-40B4-BE49-F238E27FC236}">
                  <a16:creationId xmlns:a16="http://schemas.microsoft.com/office/drawing/2014/main" id="{937F53A8-E73D-4A19-9B63-222788B4CF12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795714" y="4225925"/>
              <a:ext cx="261937" cy="1130300"/>
            </a:xfrm>
            <a:custGeom>
              <a:avLst/>
              <a:gdLst>
                <a:gd name="T0" fmla="*/ 418 w 598"/>
                <a:gd name="T1" fmla="*/ 2021 h 2158"/>
                <a:gd name="T2" fmla="*/ 342 w 598"/>
                <a:gd name="T3" fmla="*/ 1955 h 2158"/>
                <a:gd name="T4" fmla="*/ 339 w 598"/>
                <a:gd name="T5" fmla="*/ 1893 h 2158"/>
                <a:gd name="T6" fmla="*/ 345 w 598"/>
                <a:gd name="T7" fmla="*/ 1843 h 2158"/>
                <a:gd name="T8" fmla="*/ 362 w 598"/>
                <a:gd name="T9" fmla="*/ 1791 h 2158"/>
                <a:gd name="T10" fmla="*/ 354 w 598"/>
                <a:gd name="T11" fmla="*/ 1740 h 2158"/>
                <a:gd name="T12" fmla="*/ 332 w 598"/>
                <a:gd name="T13" fmla="*/ 1683 h 2158"/>
                <a:gd name="T14" fmla="*/ 303 w 598"/>
                <a:gd name="T15" fmla="*/ 1581 h 2158"/>
                <a:gd name="T16" fmla="*/ 226 w 598"/>
                <a:gd name="T17" fmla="*/ 1460 h 2158"/>
                <a:gd name="T18" fmla="*/ 206 w 598"/>
                <a:gd name="T19" fmla="*/ 1381 h 2158"/>
                <a:gd name="T20" fmla="*/ 217 w 598"/>
                <a:gd name="T21" fmla="*/ 1299 h 2158"/>
                <a:gd name="T22" fmla="*/ 208 w 598"/>
                <a:gd name="T23" fmla="*/ 1235 h 2158"/>
                <a:gd name="T24" fmla="*/ 185 w 598"/>
                <a:gd name="T25" fmla="*/ 1165 h 2158"/>
                <a:gd name="T26" fmla="*/ 211 w 598"/>
                <a:gd name="T27" fmla="*/ 1123 h 2158"/>
                <a:gd name="T28" fmla="*/ 195 w 598"/>
                <a:gd name="T29" fmla="*/ 1082 h 2158"/>
                <a:gd name="T30" fmla="*/ 211 w 598"/>
                <a:gd name="T31" fmla="*/ 1025 h 2158"/>
                <a:gd name="T32" fmla="*/ 210 w 598"/>
                <a:gd name="T33" fmla="*/ 993 h 2158"/>
                <a:gd name="T34" fmla="*/ 187 w 598"/>
                <a:gd name="T35" fmla="*/ 927 h 2158"/>
                <a:gd name="T36" fmla="*/ 136 w 598"/>
                <a:gd name="T37" fmla="*/ 852 h 2158"/>
                <a:gd name="T38" fmla="*/ 134 w 598"/>
                <a:gd name="T39" fmla="*/ 686 h 2158"/>
                <a:gd name="T40" fmla="*/ 183 w 598"/>
                <a:gd name="T41" fmla="*/ 584 h 2158"/>
                <a:gd name="T42" fmla="*/ 189 w 598"/>
                <a:gd name="T43" fmla="*/ 522 h 2158"/>
                <a:gd name="T44" fmla="*/ 160 w 598"/>
                <a:gd name="T45" fmla="*/ 459 h 2158"/>
                <a:gd name="T46" fmla="*/ 182 w 598"/>
                <a:gd name="T47" fmla="*/ 406 h 2158"/>
                <a:gd name="T48" fmla="*/ 229 w 598"/>
                <a:gd name="T49" fmla="*/ 346 h 2158"/>
                <a:gd name="T50" fmla="*/ 200 w 598"/>
                <a:gd name="T51" fmla="*/ 308 h 2158"/>
                <a:gd name="T52" fmla="*/ 148 w 598"/>
                <a:gd name="T53" fmla="*/ 222 h 2158"/>
                <a:gd name="T54" fmla="*/ 129 w 598"/>
                <a:gd name="T55" fmla="*/ 125 h 2158"/>
                <a:gd name="T56" fmla="*/ 91 w 598"/>
                <a:gd name="T57" fmla="*/ 37 h 2158"/>
                <a:gd name="T58" fmla="*/ 0 w 598"/>
                <a:gd name="T59" fmla="*/ 44 h 2158"/>
                <a:gd name="T60" fmla="*/ 31 w 598"/>
                <a:gd name="T61" fmla="*/ 200 h 2158"/>
                <a:gd name="T62" fmla="*/ 42 w 598"/>
                <a:gd name="T63" fmla="*/ 304 h 2158"/>
                <a:gd name="T64" fmla="*/ 27 w 598"/>
                <a:gd name="T65" fmla="*/ 374 h 2158"/>
                <a:gd name="T66" fmla="*/ 52 w 598"/>
                <a:gd name="T67" fmla="*/ 524 h 2158"/>
                <a:gd name="T68" fmla="*/ 46 w 598"/>
                <a:gd name="T69" fmla="*/ 649 h 2158"/>
                <a:gd name="T70" fmla="*/ 36 w 598"/>
                <a:gd name="T71" fmla="*/ 718 h 2158"/>
                <a:gd name="T72" fmla="*/ 52 w 598"/>
                <a:gd name="T73" fmla="*/ 767 h 2158"/>
                <a:gd name="T74" fmla="*/ 64 w 598"/>
                <a:gd name="T75" fmla="*/ 871 h 2158"/>
                <a:gd name="T76" fmla="*/ 81 w 598"/>
                <a:gd name="T77" fmla="*/ 913 h 2158"/>
                <a:gd name="T78" fmla="*/ 73 w 598"/>
                <a:gd name="T79" fmla="*/ 1045 h 2158"/>
                <a:gd name="T80" fmla="*/ 63 w 598"/>
                <a:gd name="T81" fmla="*/ 1152 h 2158"/>
                <a:gd name="T82" fmla="*/ 40 w 598"/>
                <a:gd name="T83" fmla="*/ 1188 h 2158"/>
                <a:gd name="T84" fmla="*/ 60 w 598"/>
                <a:gd name="T85" fmla="*/ 1258 h 2158"/>
                <a:gd name="T86" fmla="*/ 106 w 598"/>
                <a:gd name="T87" fmla="*/ 1343 h 2158"/>
                <a:gd name="T88" fmla="*/ 93 w 598"/>
                <a:gd name="T89" fmla="*/ 1396 h 2158"/>
                <a:gd name="T90" fmla="*/ 106 w 598"/>
                <a:gd name="T91" fmla="*/ 1449 h 2158"/>
                <a:gd name="T92" fmla="*/ 164 w 598"/>
                <a:gd name="T93" fmla="*/ 1467 h 2158"/>
                <a:gd name="T94" fmla="*/ 209 w 598"/>
                <a:gd name="T95" fmla="*/ 1621 h 2158"/>
                <a:gd name="T96" fmla="*/ 227 w 598"/>
                <a:gd name="T97" fmla="*/ 1709 h 2158"/>
                <a:gd name="T98" fmla="*/ 151 w 598"/>
                <a:gd name="T99" fmla="*/ 1749 h 2158"/>
                <a:gd name="T100" fmla="*/ 207 w 598"/>
                <a:gd name="T101" fmla="*/ 1776 h 2158"/>
                <a:gd name="T102" fmla="*/ 250 w 598"/>
                <a:gd name="T103" fmla="*/ 1820 h 2158"/>
                <a:gd name="T104" fmla="*/ 275 w 598"/>
                <a:gd name="T105" fmla="*/ 1871 h 2158"/>
                <a:gd name="T106" fmla="*/ 308 w 598"/>
                <a:gd name="T107" fmla="*/ 1961 h 2158"/>
                <a:gd name="T108" fmla="*/ 359 w 598"/>
                <a:gd name="T109" fmla="*/ 2013 h 2158"/>
                <a:gd name="T110" fmla="*/ 393 w 598"/>
                <a:gd name="T111" fmla="*/ 2048 h 2158"/>
                <a:gd name="T112" fmla="*/ 424 w 598"/>
                <a:gd name="T113" fmla="*/ 2074 h 2158"/>
                <a:gd name="T114" fmla="*/ 465 w 598"/>
                <a:gd name="T115" fmla="*/ 2110 h 2158"/>
                <a:gd name="T116" fmla="*/ 519 w 598"/>
                <a:gd name="T117" fmla="*/ 2140 h 2158"/>
                <a:gd name="T118" fmla="*/ 538 w 598"/>
                <a:gd name="T119" fmla="*/ 2151 h 2158"/>
                <a:gd name="T120" fmla="*/ 586 w 598"/>
                <a:gd name="T121" fmla="*/ 2098 h 2158"/>
                <a:gd name="T122" fmla="*/ 591 w 598"/>
                <a:gd name="T123" fmla="*/ 2071 h 2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" name="Freeform 9">
              <a:extLst>
                <a:ext uri="{FF2B5EF4-FFF2-40B4-BE49-F238E27FC236}">
                  <a16:creationId xmlns:a16="http://schemas.microsoft.com/office/drawing/2014/main" id="{D3715225-3DD6-4634-AEF0-C98DA80A2B2A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3700464" y="3508376"/>
              <a:ext cx="966787" cy="1203325"/>
            </a:xfrm>
            <a:custGeom>
              <a:avLst/>
              <a:gdLst>
                <a:gd name="T0" fmla="*/ 440 w 2226"/>
                <a:gd name="T1" fmla="*/ 896 h 2292"/>
                <a:gd name="T2" fmla="*/ 505 w 2226"/>
                <a:gd name="T3" fmla="*/ 985 h 2292"/>
                <a:gd name="T4" fmla="*/ 572 w 2226"/>
                <a:gd name="T5" fmla="*/ 1054 h 2292"/>
                <a:gd name="T6" fmla="*/ 716 w 2226"/>
                <a:gd name="T7" fmla="*/ 1098 h 2292"/>
                <a:gd name="T8" fmla="*/ 798 w 2226"/>
                <a:gd name="T9" fmla="*/ 1204 h 2292"/>
                <a:gd name="T10" fmla="*/ 846 w 2226"/>
                <a:gd name="T11" fmla="*/ 1292 h 2292"/>
                <a:gd name="T12" fmla="*/ 939 w 2226"/>
                <a:gd name="T13" fmla="*/ 1355 h 2292"/>
                <a:gd name="T14" fmla="*/ 957 w 2226"/>
                <a:gd name="T15" fmla="*/ 1466 h 2292"/>
                <a:gd name="T16" fmla="*/ 976 w 2226"/>
                <a:gd name="T17" fmla="*/ 1541 h 2292"/>
                <a:gd name="T18" fmla="*/ 992 w 2226"/>
                <a:gd name="T19" fmla="*/ 1632 h 2292"/>
                <a:gd name="T20" fmla="*/ 1131 w 2226"/>
                <a:gd name="T21" fmla="*/ 1698 h 2292"/>
                <a:gd name="T22" fmla="*/ 1193 w 2226"/>
                <a:gd name="T23" fmla="*/ 1805 h 2292"/>
                <a:gd name="T24" fmla="*/ 1243 w 2226"/>
                <a:gd name="T25" fmla="*/ 1864 h 2292"/>
                <a:gd name="T26" fmla="*/ 1183 w 2226"/>
                <a:gd name="T27" fmla="*/ 2003 h 2292"/>
                <a:gd name="T28" fmla="*/ 1084 w 2226"/>
                <a:gd name="T29" fmla="*/ 2128 h 2292"/>
                <a:gd name="T30" fmla="*/ 1180 w 2226"/>
                <a:gd name="T31" fmla="*/ 2161 h 2292"/>
                <a:gd name="T32" fmla="*/ 1296 w 2226"/>
                <a:gd name="T33" fmla="*/ 2234 h 2292"/>
                <a:gd name="T34" fmla="*/ 1419 w 2226"/>
                <a:gd name="T35" fmla="*/ 2198 h 2292"/>
                <a:gd name="T36" fmla="*/ 1518 w 2226"/>
                <a:gd name="T37" fmla="*/ 2036 h 2292"/>
                <a:gd name="T38" fmla="*/ 1512 w 2226"/>
                <a:gd name="T39" fmla="*/ 1918 h 2292"/>
                <a:gd name="T40" fmla="*/ 1561 w 2226"/>
                <a:gd name="T41" fmla="*/ 1793 h 2292"/>
                <a:gd name="T42" fmla="*/ 1706 w 2226"/>
                <a:gd name="T43" fmla="*/ 1727 h 2292"/>
                <a:gd name="T44" fmla="*/ 1798 w 2226"/>
                <a:gd name="T45" fmla="*/ 1681 h 2292"/>
                <a:gd name="T46" fmla="*/ 1897 w 2226"/>
                <a:gd name="T47" fmla="*/ 1641 h 2292"/>
                <a:gd name="T48" fmla="*/ 1982 w 2226"/>
                <a:gd name="T49" fmla="*/ 1400 h 2292"/>
                <a:gd name="T50" fmla="*/ 2014 w 2226"/>
                <a:gd name="T51" fmla="*/ 1288 h 2292"/>
                <a:gd name="T52" fmla="*/ 2002 w 2226"/>
                <a:gd name="T53" fmla="*/ 1090 h 2292"/>
                <a:gd name="T54" fmla="*/ 2073 w 2226"/>
                <a:gd name="T55" fmla="*/ 1009 h 2292"/>
                <a:gd name="T56" fmla="*/ 2190 w 2226"/>
                <a:gd name="T57" fmla="*/ 877 h 2292"/>
                <a:gd name="T58" fmla="*/ 2222 w 2226"/>
                <a:gd name="T59" fmla="*/ 732 h 2292"/>
                <a:gd name="T60" fmla="*/ 2157 w 2226"/>
                <a:gd name="T61" fmla="*/ 599 h 2292"/>
                <a:gd name="T62" fmla="*/ 2059 w 2226"/>
                <a:gd name="T63" fmla="*/ 563 h 2292"/>
                <a:gd name="T64" fmla="*/ 1921 w 2226"/>
                <a:gd name="T65" fmla="*/ 462 h 2292"/>
                <a:gd name="T66" fmla="*/ 1742 w 2226"/>
                <a:gd name="T67" fmla="*/ 450 h 2292"/>
                <a:gd name="T68" fmla="*/ 1670 w 2226"/>
                <a:gd name="T69" fmla="*/ 447 h 2292"/>
                <a:gd name="T70" fmla="*/ 1636 w 2226"/>
                <a:gd name="T71" fmla="*/ 394 h 2292"/>
                <a:gd name="T72" fmla="*/ 1512 w 2226"/>
                <a:gd name="T73" fmla="*/ 348 h 2292"/>
                <a:gd name="T74" fmla="*/ 1411 w 2226"/>
                <a:gd name="T75" fmla="*/ 409 h 2292"/>
                <a:gd name="T76" fmla="*/ 1338 w 2226"/>
                <a:gd name="T77" fmla="*/ 405 h 2292"/>
                <a:gd name="T78" fmla="*/ 1247 w 2226"/>
                <a:gd name="T79" fmla="*/ 384 h 2292"/>
                <a:gd name="T80" fmla="*/ 1317 w 2226"/>
                <a:gd name="T81" fmla="*/ 268 h 2292"/>
                <a:gd name="T82" fmla="*/ 1338 w 2226"/>
                <a:gd name="T83" fmla="*/ 184 h 2292"/>
                <a:gd name="T84" fmla="*/ 1291 w 2226"/>
                <a:gd name="T85" fmla="*/ 68 h 2292"/>
                <a:gd name="T86" fmla="*/ 1124 w 2226"/>
                <a:gd name="T87" fmla="*/ 135 h 2292"/>
                <a:gd name="T88" fmla="*/ 1003 w 2226"/>
                <a:gd name="T89" fmla="*/ 170 h 2292"/>
                <a:gd name="T90" fmla="*/ 960 w 2226"/>
                <a:gd name="T91" fmla="*/ 187 h 2292"/>
                <a:gd name="T92" fmla="*/ 812 w 2226"/>
                <a:gd name="T93" fmla="*/ 176 h 2292"/>
                <a:gd name="T94" fmla="*/ 811 w 2226"/>
                <a:gd name="T95" fmla="*/ 67 h 2292"/>
                <a:gd name="T96" fmla="*/ 745 w 2226"/>
                <a:gd name="T97" fmla="*/ 0 h 2292"/>
                <a:gd name="T98" fmla="*/ 700 w 2226"/>
                <a:gd name="T99" fmla="*/ 31 h 2292"/>
                <a:gd name="T100" fmla="*/ 589 w 2226"/>
                <a:gd name="T101" fmla="*/ 70 h 2292"/>
                <a:gd name="T102" fmla="*/ 560 w 2226"/>
                <a:gd name="T103" fmla="*/ 198 h 2292"/>
                <a:gd name="T104" fmla="*/ 453 w 2226"/>
                <a:gd name="T105" fmla="*/ 258 h 2292"/>
                <a:gd name="T106" fmla="*/ 286 w 2226"/>
                <a:gd name="T107" fmla="*/ 197 h 2292"/>
                <a:gd name="T108" fmla="*/ 253 w 2226"/>
                <a:gd name="T109" fmla="*/ 240 h 2292"/>
                <a:gd name="T110" fmla="*/ 198 w 2226"/>
                <a:gd name="T111" fmla="*/ 311 h 2292"/>
                <a:gd name="T112" fmla="*/ 246 w 2226"/>
                <a:gd name="T113" fmla="*/ 388 h 2292"/>
                <a:gd name="T114" fmla="*/ 194 w 2226"/>
                <a:gd name="T115" fmla="*/ 560 h 2292"/>
                <a:gd name="T116" fmla="*/ 100 w 2226"/>
                <a:gd name="T117" fmla="*/ 567 h 2292"/>
                <a:gd name="T118" fmla="*/ 16 w 2226"/>
                <a:gd name="T119" fmla="*/ 687 h 2292"/>
                <a:gd name="T120" fmla="*/ 22 w 2226"/>
                <a:gd name="T121" fmla="*/ 824 h 2292"/>
                <a:gd name="T122" fmla="*/ 120 w 2226"/>
                <a:gd name="T123" fmla="*/ 905 h 2292"/>
                <a:gd name="T124" fmla="*/ 191 w 2226"/>
                <a:gd name="T125" fmla="*/ 949 h 2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7547E3D1-9AC6-4CA0-AA3B-EB78FFB20D14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5813425" y="2454276"/>
              <a:ext cx="69850" cy="49213"/>
            </a:xfrm>
            <a:custGeom>
              <a:avLst/>
              <a:gdLst>
                <a:gd name="T0" fmla="*/ 94 w 161"/>
                <a:gd name="T1" fmla="*/ 0 h 93"/>
                <a:gd name="T2" fmla="*/ 107 w 161"/>
                <a:gd name="T3" fmla="*/ 18 h 93"/>
                <a:gd name="T4" fmla="*/ 112 w 161"/>
                <a:gd name="T5" fmla="*/ 12 h 93"/>
                <a:gd name="T6" fmla="*/ 117 w 161"/>
                <a:gd name="T7" fmla="*/ 8 h 93"/>
                <a:gd name="T8" fmla="*/ 122 w 161"/>
                <a:gd name="T9" fmla="*/ 5 h 93"/>
                <a:gd name="T10" fmla="*/ 127 w 161"/>
                <a:gd name="T11" fmla="*/ 3 h 93"/>
                <a:gd name="T12" fmla="*/ 137 w 161"/>
                <a:gd name="T13" fmla="*/ 1 h 93"/>
                <a:gd name="T14" fmla="*/ 148 w 161"/>
                <a:gd name="T15" fmla="*/ 0 h 93"/>
                <a:gd name="T16" fmla="*/ 151 w 161"/>
                <a:gd name="T17" fmla="*/ 0 h 93"/>
                <a:gd name="T18" fmla="*/ 161 w 161"/>
                <a:gd name="T19" fmla="*/ 0 h 93"/>
                <a:gd name="T20" fmla="*/ 161 w 161"/>
                <a:gd name="T21" fmla="*/ 92 h 93"/>
                <a:gd name="T22" fmla="*/ 155 w 161"/>
                <a:gd name="T23" fmla="*/ 93 h 93"/>
                <a:gd name="T24" fmla="*/ 150 w 161"/>
                <a:gd name="T25" fmla="*/ 93 h 93"/>
                <a:gd name="T26" fmla="*/ 145 w 161"/>
                <a:gd name="T27" fmla="*/ 92 h 93"/>
                <a:gd name="T28" fmla="*/ 140 w 161"/>
                <a:gd name="T29" fmla="*/ 91 h 93"/>
                <a:gd name="T30" fmla="*/ 129 w 161"/>
                <a:gd name="T31" fmla="*/ 88 h 93"/>
                <a:gd name="T32" fmla="*/ 120 w 161"/>
                <a:gd name="T33" fmla="*/ 82 h 93"/>
                <a:gd name="T34" fmla="*/ 111 w 161"/>
                <a:gd name="T35" fmla="*/ 75 h 93"/>
                <a:gd name="T36" fmla="*/ 104 w 161"/>
                <a:gd name="T37" fmla="*/ 67 h 93"/>
                <a:gd name="T38" fmla="*/ 97 w 161"/>
                <a:gd name="T39" fmla="*/ 59 h 93"/>
                <a:gd name="T40" fmla="*/ 94 w 161"/>
                <a:gd name="T41" fmla="*/ 49 h 93"/>
                <a:gd name="T42" fmla="*/ 92 w 161"/>
                <a:gd name="T43" fmla="*/ 50 h 93"/>
                <a:gd name="T44" fmla="*/ 89 w 161"/>
                <a:gd name="T45" fmla="*/ 51 h 93"/>
                <a:gd name="T46" fmla="*/ 86 w 161"/>
                <a:gd name="T47" fmla="*/ 51 h 93"/>
                <a:gd name="T48" fmla="*/ 84 w 161"/>
                <a:gd name="T49" fmla="*/ 51 h 93"/>
                <a:gd name="T50" fmla="*/ 78 w 161"/>
                <a:gd name="T51" fmla="*/ 50 h 93"/>
                <a:gd name="T52" fmla="*/ 74 w 161"/>
                <a:gd name="T53" fmla="*/ 49 h 93"/>
                <a:gd name="T54" fmla="*/ 65 w 161"/>
                <a:gd name="T55" fmla="*/ 48 h 93"/>
                <a:gd name="T56" fmla="*/ 55 w 161"/>
                <a:gd name="T57" fmla="*/ 45 h 93"/>
                <a:gd name="T58" fmla="*/ 44 w 161"/>
                <a:gd name="T59" fmla="*/ 40 h 93"/>
                <a:gd name="T60" fmla="*/ 32 w 161"/>
                <a:gd name="T61" fmla="*/ 34 h 93"/>
                <a:gd name="T62" fmla="*/ 21 w 161"/>
                <a:gd name="T63" fmla="*/ 26 h 93"/>
                <a:gd name="T64" fmla="*/ 12 w 161"/>
                <a:gd name="T65" fmla="*/ 18 h 93"/>
                <a:gd name="T66" fmla="*/ 8 w 161"/>
                <a:gd name="T67" fmla="*/ 14 h 93"/>
                <a:gd name="T68" fmla="*/ 5 w 161"/>
                <a:gd name="T69" fmla="*/ 9 h 93"/>
                <a:gd name="T70" fmla="*/ 3 w 161"/>
                <a:gd name="T71" fmla="*/ 5 h 93"/>
                <a:gd name="T72" fmla="*/ 0 w 161"/>
                <a:gd name="T73" fmla="*/ 0 h 93"/>
                <a:gd name="T74" fmla="*/ 94 w 161"/>
                <a:gd name="T75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1724F73C-1B40-4CE8-A670-4D1AA7369936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311775" y="2328864"/>
              <a:ext cx="82550" cy="160337"/>
            </a:xfrm>
            <a:custGeom>
              <a:avLst/>
              <a:gdLst>
                <a:gd name="T0" fmla="*/ 38 w 192"/>
                <a:gd name="T1" fmla="*/ 3 h 307"/>
                <a:gd name="T2" fmla="*/ 37 w 192"/>
                <a:gd name="T3" fmla="*/ 0 h 307"/>
                <a:gd name="T4" fmla="*/ 57 w 192"/>
                <a:gd name="T5" fmla="*/ 3 h 307"/>
                <a:gd name="T6" fmla="*/ 110 w 192"/>
                <a:gd name="T7" fmla="*/ 14 h 307"/>
                <a:gd name="T8" fmla="*/ 155 w 192"/>
                <a:gd name="T9" fmla="*/ 25 h 307"/>
                <a:gd name="T10" fmla="*/ 181 w 192"/>
                <a:gd name="T11" fmla="*/ 28 h 307"/>
                <a:gd name="T12" fmla="*/ 192 w 192"/>
                <a:gd name="T13" fmla="*/ 35 h 307"/>
                <a:gd name="T14" fmla="*/ 188 w 192"/>
                <a:gd name="T15" fmla="*/ 47 h 307"/>
                <a:gd name="T16" fmla="*/ 175 w 192"/>
                <a:gd name="T17" fmla="*/ 82 h 307"/>
                <a:gd name="T18" fmla="*/ 158 w 192"/>
                <a:gd name="T19" fmla="*/ 127 h 307"/>
                <a:gd name="T20" fmla="*/ 147 w 192"/>
                <a:gd name="T21" fmla="*/ 165 h 307"/>
                <a:gd name="T22" fmla="*/ 146 w 192"/>
                <a:gd name="T23" fmla="*/ 207 h 307"/>
                <a:gd name="T24" fmla="*/ 144 w 192"/>
                <a:gd name="T25" fmla="*/ 249 h 307"/>
                <a:gd name="T26" fmla="*/ 134 w 192"/>
                <a:gd name="T27" fmla="*/ 277 h 307"/>
                <a:gd name="T28" fmla="*/ 106 w 192"/>
                <a:gd name="T29" fmla="*/ 296 h 307"/>
                <a:gd name="T30" fmla="*/ 83 w 192"/>
                <a:gd name="T31" fmla="*/ 303 h 307"/>
                <a:gd name="T32" fmla="*/ 72 w 192"/>
                <a:gd name="T33" fmla="*/ 307 h 307"/>
                <a:gd name="T34" fmla="*/ 52 w 192"/>
                <a:gd name="T35" fmla="*/ 305 h 307"/>
                <a:gd name="T36" fmla="*/ 32 w 192"/>
                <a:gd name="T37" fmla="*/ 291 h 307"/>
                <a:gd name="T38" fmla="*/ 30 w 192"/>
                <a:gd name="T39" fmla="*/ 277 h 307"/>
                <a:gd name="T40" fmla="*/ 22 w 192"/>
                <a:gd name="T41" fmla="*/ 257 h 307"/>
                <a:gd name="T42" fmla="*/ 10 w 192"/>
                <a:gd name="T43" fmla="*/ 231 h 307"/>
                <a:gd name="T44" fmla="*/ 2 w 192"/>
                <a:gd name="T45" fmla="*/ 211 h 307"/>
                <a:gd name="T46" fmla="*/ 0 w 192"/>
                <a:gd name="T47" fmla="*/ 197 h 307"/>
                <a:gd name="T48" fmla="*/ 0 w 192"/>
                <a:gd name="T49" fmla="*/ 180 h 307"/>
                <a:gd name="T50" fmla="*/ 2 w 192"/>
                <a:gd name="T51" fmla="*/ 165 h 307"/>
                <a:gd name="T52" fmla="*/ 11 w 192"/>
                <a:gd name="T53" fmla="*/ 145 h 307"/>
                <a:gd name="T54" fmla="*/ 33 w 192"/>
                <a:gd name="T55" fmla="*/ 109 h 307"/>
                <a:gd name="T56" fmla="*/ 48 w 192"/>
                <a:gd name="T57" fmla="*/ 81 h 307"/>
                <a:gd name="T58" fmla="*/ 52 w 192"/>
                <a:gd name="T59" fmla="*/ 62 h 307"/>
                <a:gd name="T60" fmla="*/ 53 w 192"/>
                <a:gd name="T61" fmla="*/ 41 h 307"/>
                <a:gd name="T62" fmla="*/ 55 w 192"/>
                <a:gd name="T63" fmla="*/ 30 h 307"/>
                <a:gd name="T64" fmla="*/ 57 w 192"/>
                <a:gd name="T65" fmla="*/ 26 h 307"/>
                <a:gd name="T66" fmla="*/ 60 w 192"/>
                <a:gd name="T67" fmla="*/ 22 h 307"/>
                <a:gd name="T68" fmla="*/ 44 w 192"/>
                <a:gd name="T69" fmla="*/ 7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39783C77-7C16-405C-853D-ABB5C464FF44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392738" y="1814514"/>
              <a:ext cx="171450" cy="269875"/>
            </a:xfrm>
            <a:custGeom>
              <a:avLst/>
              <a:gdLst>
                <a:gd name="T0" fmla="*/ 26 w 398"/>
                <a:gd name="T1" fmla="*/ 2 h 518"/>
                <a:gd name="T2" fmla="*/ 95 w 398"/>
                <a:gd name="T3" fmla="*/ 13 h 518"/>
                <a:gd name="T4" fmla="*/ 116 w 398"/>
                <a:gd name="T5" fmla="*/ 23 h 518"/>
                <a:gd name="T6" fmla="*/ 80 w 398"/>
                <a:gd name="T7" fmla="*/ 47 h 518"/>
                <a:gd name="T8" fmla="*/ 64 w 398"/>
                <a:gd name="T9" fmla="*/ 62 h 518"/>
                <a:gd name="T10" fmla="*/ 77 w 398"/>
                <a:gd name="T11" fmla="*/ 69 h 518"/>
                <a:gd name="T12" fmla="*/ 167 w 398"/>
                <a:gd name="T13" fmla="*/ 79 h 518"/>
                <a:gd name="T14" fmla="*/ 210 w 398"/>
                <a:gd name="T15" fmla="*/ 109 h 518"/>
                <a:gd name="T16" fmla="*/ 154 w 398"/>
                <a:gd name="T17" fmla="*/ 127 h 518"/>
                <a:gd name="T18" fmla="*/ 147 w 398"/>
                <a:gd name="T19" fmla="*/ 138 h 518"/>
                <a:gd name="T20" fmla="*/ 191 w 398"/>
                <a:gd name="T21" fmla="*/ 143 h 518"/>
                <a:gd name="T22" fmla="*/ 211 w 398"/>
                <a:gd name="T23" fmla="*/ 156 h 518"/>
                <a:gd name="T24" fmla="*/ 243 w 398"/>
                <a:gd name="T25" fmla="*/ 191 h 518"/>
                <a:gd name="T26" fmla="*/ 258 w 398"/>
                <a:gd name="T27" fmla="*/ 212 h 518"/>
                <a:gd name="T28" fmla="*/ 260 w 398"/>
                <a:gd name="T29" fmla="*/ 237 h 518"/>
                <a:gd name="T30" fmla="*/ 272 w 398"/>
                <a:gd name="T31" fmla="*/ 254 h 518"/>
                <a:gd name="T32" fmla="*/ 286 w 398"/>
                <a:gd name="T33" fmla="*/ 279 h 518"/>
                <a:gd name="T34" fmla="*/ 306 w 398"/>
                <a:gd name="T35" fmla="*/ 297 h 518"/>
                <a:gd name="T36" fmla="*/ 327 w 398"/>
                <a:gd name="T37" fmla="*/ 320 h 518"/>
                <a:gd name="T38" fmla="*/ 346 w 398"/>
                <a:gd name="T39" fmla="*/ 337 h 518"/>
                <a:gd name="T40" fmla="*/ 370 w 398"/>
                <a:gd name="T41" fmla="*/ 341 h 518"/>
                <a:gd name="T42" fmla="*/ 396 w 398"/>
                <a:gd name="T43" fmla="*/ 365 h 518"/>
                <a:gd name="T44" fmla="*/ 395 w 398"/>
                <a:gd name="T45" fmla="*/ 395 h 518"/>
                <a:gd name="T46" fmla="*/ 382 w 398"/>
                <a:gd name="T47" fmla="*/ 404 h 518"/>
                <a:gd name="T48" fmla="*/ 367 w 398"/>
                <a:gd name="T49" fmla="*/ 415 h 518"/>
                <a:gd name="T50" fmla="*/ 368 w 398"/>
                <a:gd name="T51" fmla="*/ 426 h 518"/>
                <a:gd name="T52" fmla="*/ 376 w 398"/>
                <a:gd name="T53" fmla="*/ 443 h 518"/>
                <a:gd name="T54" fmla="*/ 359 w 398"/>
                <a:gd name="T55" fmla="*/ 463 h 518"/>
                <a:gd name="T56" fmla="*/ 146 w 398"/>
                <a:gd name="T57" fmla="*/ 500 h 518"/>
                <a:gd name="T58" fmla="*/ 68 w 398"/>
                <a:gd name="T59" fmla="*/ 508 h 518"/>
                <a:gd name="T60" fmla="*/ 53 w 398"/>
                <a:gd name="T61" fmla="*/ 518 h 518"/>
                <a:gd name="T62" fmla="*/ 58 w 398"/>
                <a:gd name="T63" fmla="*/ 493 h 518"/>
                <a:gd name="T64" fmla="*/ 71 w 398"/>
                <a:gd name="T65" fmla="*/ 476 h 518"/>
                <a:gd name="T66" fmla="*/ 114 w 398"/>
                <a:gd name="T67" fmla="*/ 458 h 518"/>
                <a:gd name="T68" fmla="*/ 172 w 398"/>
                <a:gd name="T69" fmla="*/ 439 h 518"/>
                <a:gd name="T70" fmla="*/ 179 w 398"/>
                <a:gd name="T71" fmla="*/ 426 h 518"/>
                <a:gd name="T72" fmla="*/ 171 w 398"/>
                <a:gd name="T73" fmla="*/ 434 h 518"/>
                <a:gd name="T74" fmla="*/ 111 w 398"/>
                <a:gd name="T75" fmla="*/ 432 h 518"/>
                <a:gd name="T76" fmla="*/ 76 w 398"/>
                <a:gd name="T77" fmla="*/ 420 h 518"/>
                <a:gd name="T78" fmla="*/ 77 w 398"/>
                <a:gd name="T79" fmla="*/ 402 h 518"/>
                <a:gd name="T80" fmla="*/ 95 w 398"/>
                <a:gd name="T81" fmla="*/ 391 h 518"/>
                <a:gd name="T82" fmla="*/ 87 w 398"/>
                <a:gd name="T83" fmla="*/ 352 h 518"/>
                <a:gd name="T84" fmla="*/ 105 w 398"/>
                <a:gd name="T85" fmla="*/ 329 h 518"/>
                <a:gd name="T86" fmla="*/ 154 w 398"/>
                <a:gd name="T87" fmla="*/ 309 h 518"/>
                <a:gd name="T88" fmla="*/ 172 w 398"/>
                <a:gd name="T89" fmla="*/ 291 h 518"/>
                <a:gd name="T90" fmla="*/ 148 w 398"/>
                <a:gd name="T91" fmla="*/ 271 h 518"/>
                <a:gd name="T92" fmla="*/ 139 w 398"/>
                <a:gd name="T93" fmla="*/ 247 h 518"/>
                <a:gd name="T94" fmla="*/ 94 w 398"/>
                <a:gd name="T95" fmla="*/ 239 h 518"/>
                <a:gd name="T96" fmla="*/ 80 w 398"/>
                <a:gd name="T97" fmla="*/ 216 h 518"/>
                <a:gd name="T98" fmla="*/ 90 w 398"/>
                <a:gd name="T99" fmla="*/ 192 h 518"/>
                <a:gd name="T100" fmla="*/ 100 w 398"/>
                <a:gd name="T101" fmla="*/ 168 h 518"/>
                <a:gd name="T102" fmla="*/ 73 w 398"/>
                <a:gd name="T103" fmla="*/ 186 h 518"/>
                <a:gd name="T104" fmla="*/ 22 w 398"/>
                <a:gd name="T105" fmla="*/ 162 h 518"/>
                <a:gd name="T106" fmla="*/ 20 w 398"/>
                <a:gd name="T107" fmla="*/ 142 h 518"/>
                <a:gd name="T108" fmla="*/ 14 w 398"/>
                <a:gd name="T109" fmla="*/ 131 h 518"/>
                <a:gd name="T110" fmla="*/ 20 w 398"/>
                <a:gd name="T111" fmla="*/ 63 h 518"/>
                <a:gd name="T112" fmla="*/ 19 w 398"/>
                <a:gd name="T113" fmla="*/ 49 h 518"/>
                <a:gd name="T114" fmla="*/ 4 w 398"/>
                <a:gd name="T115" fmla="*/ 40 h 518"/>
                <a:gd name="T116" fmla="*/ 20 w 398"/>
                <a:gd name="T117" fmla="*/ 19 h 518"/>
                <a:gd name="T118" fmla="*/ 3 w 398"/>
                <a:gd name="T119" fmla="*/ 9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7EED4EF0-D245-416B-A02F-C9E6DD0A3944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5751513" y="2117725"/>
              <a:ext cx="169862" cy="76200"/>
            </a:xfrm>
            <a:custGeom>
              <a:avLst/>
              <a:gdLst>
                <a:gd name="T0" fmla="*/ 190 w 382"/>
                <a:gd name="T1" fmla="*/ 21 h 148"/>
                <a:gd name="T2" fmla="*/ 177 w 382"/>
                <a:gd name="T3" fmla="*/ 31 h 148"/>
                <a:gd name="T4" fmla="*/ 174 w 382"/>
                <a:gd name="T5" fmla="*/ 45 h 148"/>
                <a:gd name="T6" fmla="*/ 168 w 382"/>
                <a:gd name="T7" fmla="*/ 53 h 148"/>
                <a:gd name="T8" fmla="*/ 166 w 382"/>
                <a:gd name="T9" fmla="*/ 61 h 148"/>
                <a:gd name="T10" fmla="*/ 177 w 382"/>
                <a:gd name="T11" fmla="*/ 74 h 148"/>
                <a:gd name="T12" fmla="*/ 155 w 382"/>
                <a:gd name="T13" fmla="*/ 86 h 148"/>
                <a:gd name="T14" fmla="*/ 108 w 382"/>
                <a:gd name="T15" fmla="*/ 96 h 148"/>
                <a:gd name="T16" fmla="*/ 77 w 382"/>
                <a:gd name="T17" fmla="*/ 97 h 148"/>
                <a:gd name="T18" fmla="*/ 52 w 382"/>
                <a:gd name="T19" fmla="*/ 95 h 148"/>
                <a:gd name="T20" fmla="*/ 4 w 382"/>
                <a:gd name="T21" fmla="*/ 111 h 148"/>
                <a:gd name="T22" fmla="*/ 0 w 382"/>
                <a:gd name="T23" fmla="*/ 129 h 148"/>
                <a:gd name="T24" fmla="*/ 4 w 382"/>
                <a:gd name="T25" fmla="*/ 131 h 148"/>
                <a:gd name="T26" fmla="*/ 12 w 382"/>
                <a:gd name="T27" fmla="*/ 131 h 148"/>
                <a:gd name="T28" fmla="*/ 51 w 382"/>
                <a:gd name="T29" fmla="*/ 129 h 148"/>
                <a:gd name="T30" fmla="*/ 114 w 382"/>
                <a:gd name="T31" fmla="*/ 127 h 148"/>
                <a:gd name="T32" fmla="*/ 123 w 382"/>
                <a:gd name="T33" fmla="*/ 134 h 148"/>
                <a:gd name="T34" fmla="*/ 137 w 382"/>
                <a:gd name="T35" fmla="*/ 141 h 148"/>
                <a:gd name="T36" fmla="*/ 159 w 382"/>
                <a:gd name="T37" fmla="*/ 147 h 148"/>
                <a:gd name="T38" fmla="*/ 185 w 382"/>
                <a:gd name="T39" fmla="*/ 148 h 148"/>
                <a:gd name="T40" fmla="*/ 210 w 382"/>
                <a:gd name="T41" fmla="*/ 148 h 148"/>
                <a:gd name="T42" fmla="*/ 233 w 382"/>
                <a:gd name="T43" fmla="*/ 148 h 148"/>
                <a:gd name="T44" fmla="*/ 255 w 382"/>
                <a:gd name="T45" fmla="*/ 148 h 148"/>
                <a:gd name="T46" fmla="*/ 275 w 382"/>
                <a:gd name="T47" fmla="*/ 143 h 148"/>
                <a:gd name="T48" fmla="*/ 301 w 382"/>
                <a:gd name="T49" fmla="*/ 134 h 148"/>
                <a:gd name="T50" fmla="*/ 334 w 382"/>
                <a:gd name="T51" fmla="*/ 121 h 148"/>
                <a:gd name="T52" fmla="*/ 353 w 382"/>
                <a:gd name="T53" fmla="*/ 103 h 148"/>
                <a:gd name="T54" fmla="*/ 372 w 382"/>
                <a:gd name="T55" fmla="*/ 72 h 148"/>
                <a:gd name="T56" fmla="*/ 376 w 382"/>
                <a:gd name="T57" fmla="*/ 52 h 148"/>
                <a:gd name="T58" fmla="*/ 363 w 382"/>
                <a:gd name="T59" fmla="*/ 44 h 148"/>
                <a:gd name="T60" fmla="*/ 357 w 382"/>
                <a:gd name="T61" fmla="*/ 32 h 148"/>
                <a:gd name="T62" fmla="*/ 347 w 382"/>
                <a:gd name="T63" fmla="*/ 22 h 148"/>
                <a:gd name="T64" fmla="*/ 334 w 382"/>
                <a:gd name="T65" fmla="*/ 17 h 148"/>
                <a:gd name="T66" fmla="*/ 319 w 382"/>
                <a:gd name="T67" fmla="*/ 8 h 148"/>
                <a:gd name="T68" fmla="*/ 203 w 382"/>
                <a:gd name="T69" fmla="*/ 1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id="{05527EDB-F870-46DB-806E-EE2B607D14A3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7243763" y="1966914"/>
              <a:ext cx="1281112" cy="1038225"/>
            </a:xfrm>
            <a:custGeom>
              <a:avLst/>
              <a:gdLst>
                <a:gd name="T0" fmla="*/ 373 w 2936"/>
                <a:gd name="T1" fmla="*/ 1071 h 1983"/>
                <a:gd name="T2" fmla="*/ 385 w 2936"/>
                <a:gd name="T3" fmla="*/ 1182 h 1983"/>
                <a:gd name="T4" fmla="*/ 478 w 2936"/>
                <a:gd name="T5" fmla="*/ 1358 h 1983"/>
                <a:gd name="T6" fmla="*/ 768 w 2936"/>
                <a:gd name="T7" fmla="*/ 1492 h 1983"/>
                <a:gd name="T8" fmla="*/ 1036 w 2936"/>
                <a:gd name="T9" fmla="*/ 1552 h 1983"/>
                <a:gd name="T10" fmla="*/ 1124 w 2936"/>
                <a:gd name="T11" fmla="*/ 1529 h 1983"/>
                <a:gd name="T12" fmla="*/ 1401 w 2936"/>
                <a:gd name="T13" fmla="*/ 1448 h 1983"/>
                <a:gd name="T14" fmla="*/ 1547 w 2936"/>
                <a:gd name="T15" fmla="*/ 1542 h 1983"/>
                <a:gd name="T16" fmla="*/ 1577 w 2936"/>
                <a:gd name="T17" fmla="*/ 1697 h 1983"/>
                <a:gd name="T18" fmla="*/ 1607 w 2936"/>
                <a:gd name="T19" fmla="*/ 1773 h 1983"/>
                <a:gd name="T20" fmla="*/ 1706 w 2936"/>
                <a:gd name="T21" fmla="*/ 1912 h 1983"/>
                <a:gd name="T22" fmla="*/ 1842 w 2936"/>
                <a:gd name="T23" fmla="*/ 1859 h 1983"/>
                <a:gd name="T24" fmla="*/ 2072 w 2936"/>
                <a:gd name="T25" fmla="*/ 1854 h 1983"/>
                <a:gd name="T26" fmla="*/ 2265 w 2936"/>
                <a:gd name="T27" fmla="*/ 1983 h 1983"/>
                <a:gd name="T28" fmla="*/ 2357 w 2936"/>
                <a:gd name="T29" fmla="*/ 1910 h 1983"/>
                <a:gd name="T30" fmla="*/ 2457 w 2936"/>
                <a:gd name="T31" fmla="*/ 1866 h 1983"/>
                <a:gd name="T32" fmla="*/ 2546 w 2936"/>
                <a:gd name="T33" fmla="*/ 1826 h 1983"/>
                <a:gd name="T34" fmla="*/ 2683 w 2936"/>
                <a:gd name="T35" fmla="*/ 1732 h 1983"/>
                <a:gd name="T36" fmla="*/ 2719 w 2936"/>
                <a:gd name="T37" fmla="*/ 1616 h 1983"/>
                <a:gd name="T38" fmla="*/ 2794 w 2936"/>
                <a:gd name="T39" fmla="*/ 1420 h 1983"/>
                <a:gd name="T40" fmla="*/ 2705 w 2936"/>
                <a:gd name="T41" fmla="*/ 1375 h 1983"/>
                <a:gd name="T42" fmla="*/ 2640 w 2936"/>
                <a:gd name="T43" fmla="*/ 1273 h 1983"/>
                <a:gd name="T44" fmla="*/ 2669 w 2936"/>
                <a:gd name="T45" fmla="*/ 1227 h 1983"/>
                <a:gd name="T46" fmla="*/ 2532 w 2936"/>
                <a:gd name="T47" fmla="*/ 1061 h 1983"/>
                <a:gd name="T48" fmla="*/ 2583 w 2936"/>
                <a:gd name="T49" fmla="*/ 993 h 1983"/>
                <a:gd name="T50" fmla="*/ 2453 w 2936"/>
                <a:gd name="T51" fmla="*/ 962 h 1983"/>
                <a:gd name="T52" fmla="*/ 2333 w 2936"/>
                <a:gd name="T53" fmla="*/ 887 h 1983"/>
                <a:gd name="T54" fmla="*/ 2368 w 2936"/>
                <a:gd name="T55" fmla="*/ 836 h 1983"/>
                <a:gd name="T56" fmla="*/ 2443 w 2936"/>
                <a:gd name="T57" fmla="*/ 756 h 1983"/>
                <a:gd name="T58" fmla="*/ 2496 w 2936"/>
                <a:gd name="T59" fmla="*/ 780 h 1983"/>
                <a:gd name="T60" fmla="*/ 2532 w 2936"/>
                <a:gd name="T61" fmla="*/ 853 h 1983"/>
                <a:gd name="T62" fmla="*/ 2689 w 2936"/>
                <a:gd name="T63" fmla="*/ 763 h 1983"/>
                <a:gd name="T64" fmla="*/ 2828 w 2936"/>
                <a:gd name="T65" fmla="*/ 673 h 1983"/>
                <a:gd name="T66" fmla="*/ 2886 w 2936"/>
                <a:gd name="T67" fmla="*/ 564 h 1983"/>
                <a:gd name="T68" fmla="*/ 2928 w 2936"/>
                <a:gd name="T69" fmla="*/ 494 h 1983"/>
                <a:gd name="T70" fmla="*/ 2893 w 2936"/>
                <a:gd name="T71" fmla="*/ 307 h 1983"/>
                <a:gd name="T72" fmla="*/ 2722 w 2936"/>
                <a:gd name="T73" fmla="*/ 341 h 1983"/>
                <a:gd name="T74" fmla="*/ 2461 w 2936"/>
                <a:gd name="T75" fmla="*/ 205 h 1983"/>
                <a:gd name="T76" fmla="*/ 2300 w 2936"/>
                <a:gd name="T77" fmla="*/ 89 h 1983"/>
                <a:gd name="T78" fmla="*/ 1980 w 2936"/>
                <a:gd name="T79" fmla="*/ 53 h 1983"/>
                <a:gd name="T80" fmla="*/ 2007 w 2936"/>
                <a:gd name="T81" fmla="*/ 155 h 1983"/>
                <a:gd name="T82" fmla="*/ 1952 w 2936"/>
                <a:gd name="T83" fmla="*/ 227 h 1983"/>
                <a:gd name="T84" fmla="*/ 2025 w 2936"/>
                <a:gd name="T85" fmla="*/ 350 h 1983"/>
                <a:gd name="T86" fmla="*/ 2146 w 2936"/>
                <a:gd name="T87" fmla="*/ 370 h 1983"/>
                <a:gd name="T88" fmla="*/ 2041 w 2936"/>
                <a:gd name="T89" fmla="*/ 455 h 1983"/>
                <a:gd name="T90" fmla="*/ 1891 w 2936"/>
                <a:gd name="T91" fmla="*/ 570 h 1983"/>
                <a:gd name="T92" fmla="*/ 1630 w 2936"/>
                <a:gd name="T93" fmla="*/ 713 h 1983"/>
                <a:gd name="T94" fmla="*/ 1228 w 2936"/>
                <a:gd name="T95" fmla="*/ 659 h 1983"/>
                <a:gd name="T96" fmla="*/ 1036 w 2936"/>
                <a:gd name="T97" fmla="*/ 560 h 1983"/>
                <a:gd name="T98" fmla="*/ 752 w 2936"/>
                <a:gd name="T99" fmla="*/ 495 h 1983"/>
                <a:gd name="T100" fmla="*/ 686 w 2936"/>
                <a:gd name="T101" fmla="*/ 379 h 1983"/>
                <a:gd name="T102" fmla="*/ 512 w 2936"/>
                <a:gd name="T103" fmla="*/ 299 h 1983"/>
                <a:gd name="T104" fmla="*/ 430 w 2936"/>
                <a:gd name="T105" fmla="*/ 311 h 1983"/>
                <a:gd name="T106" fmla="*/ 423 w 2936"/>
                <a:gd name="T107" fmla="*/ 388 h 1983"/>
                <a:gd name="T108" fmla="*/ 305 w 2936"/>
                <a:gd name="T109" fmla="*/ 382 h 1983"/>
                <a:gd name="T110" fmla="*/ 227 w 2936"/>
                <a:gd name="T111" fmla="*/ 507 h 1983"/>
                <a:gd name="T112" fmla="*/ 260 w 2936"/>
                <a:gd name="T113" fmla="*/ 595 h 1983"/>
                <a:gd name="T114" fmla="*/ 252 w 2936"/>
                <a:gd name="T115" fmla="*/ 716 h 1983"/>
                <a:gd name="T116" fmla="*/ 118 w 2936"/>
                <a:gd name="T117" fmla="*/ 781 h 1983"/>
                <a:gd name="T118" fmla="*/ 40 w 2936"/>
                <a:gd name="T119" fmla="*/ 894 h 1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" name="Freeform 15">
              <a:extLst>
                <a:ext uri="{FF2B5EF4-FFF2-40B4-BE49-F238E27FC236}">
                  <a16:creationId xmlns:a16="http://schemas.microsoft.com/office/drawing/2014/main" id="{97696625-20AA-41E7-A387-CE6FC0C75935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5935663" y="1508125"/>
              <a:ext cx="220662" cy="273050"/>
            </a:xfrm>
            <a:custGeom>
              <a:avLst/>
              <a:gdLst>
                <a:gd name="T0" fmla="*/ 345 w 504"/>
                <a:gd name="T1" fmla="*/ 493 h 524"/>
                <a:gd name="T2" fmla="*/ 256 w 504"/>
                <a:gd name="T3" fmla="*/ 505 h 524"/>
                <a:gd name="T4" fmla="*/ 235 w 504"/>
                <a:gd name="T5" fmla="*/ 517 h 524"/>
                <a:gd name="T6" fmla="*/ 210 w 504"/>
                <a:gd name="T7" fmla="*/ 522 h 524"/>
                <a:gd name="T8" fmla="*/ 155 w 504"/>
                <a:gd name="T9" fmla="*/ 524 h 524"/>
                <a:gd name="T10" fmla="*/ 106 w 504"/>
                <a:gd name="T11" fmla="*/ 522 h 524"/>
                <a:gd name="T12" fmla="*/ 94 w 504"/>
                <a:gd name="T13" fmla="*/ 516 h 524"/>
                <a:gd name="T14" fmla="*/ 71 w 504"/>
                <a:gd name="T15" fmla="*/ 509 h 524"/>
                <a:gd name="T16" fmla="*/ 36 w 504"/>
                <a:gd name="T17" fmla="*/ 496 h 524"/>
                <a:gd name="T18" fmla="*/ 22 w 504"/>
                <a:gd name="T19" fmla="*/ 486 h 524"/>
                <a:gd name="T20" fmla="*/ 20 w 504"/>
                <a:gd name="T21" fmla="*/ 477 h 524"/>
                <a:gd name="T22" fmla="*/ 27 w 504"/>
                <a:gd name="T23" fmla="*/ 463 h 524"/>
                <a:gd name="T24" fmla="*/ 32 w 504"/>
                <a:gd name="T25" fmla="*/ 445 h 524"/>
                <a:gd name="T26" fmla="*/ 28 w 504"/>
                <a:gd name="T27" fmla="*/ 432 h 524"/>
                <a:gd name="T28" fmla="*/ 10 w 504"/>
                <a:gd name="T29" fmla="*/ 417 h 524"/>
                <a:gd name="T30" fmla="*/ 1 w 504"/>
                <a:gd name="T31" fmla="*/ 407 h 524"/>
                <a:gd name="T32" fmla="*/ 1 w 504"/>
                <a:gd name="T33" fmla="*/ 391 h 524"/>
                <a:gd name="T34" fmla="*/ 17 w 504"/>
                <a:gd name="T35" fmla="*/ 360 h 524"/>
                <a:gd name="T36" fmla="*/ 48 w 504"/>
                <a:gd name="T37" fmla="*/ 328 h 524"/>
                <a:gd name="T38" fmla="*/ 86 w 504"/>
                <a:gd name="T39" fmla="*/ 299 h 524"/>
                <a:gd name="T40" fmla="*/ 124 w 504"/>
                <a:gd name="T41" fmla="*/ 279 h 524"/>
                <a:gd name="T42" fmla="*/ 160 w 504"/>
                <a:gd name="T43" fmla="*/ 272 h 524"/>
                <a:gd name="T44" fmla="*/ 155 w 504"/>
                <a:gd name="T45" fmla="*/ 264 h 524"/>
                <a:gd name="T46" fmla="*/ 142 w 504"/>
                <a:gd name="T47" fmla="*/ 259 h 524"/>
                <a:gd name="T48" fmla="*/ 133 w 504"/>
                <a:gd name="T49" fmla="*/ 251 h 524"/>
                <a:gd name="T50" fmla="*/ 127 w 504"/>
                <a:gd name="T51" fmla="*/ 229 h 524"/>
                <a:gd name="T52" fmla="*/ 124 w 504"/>
                <a:gd name="T53" fmla="*/ 195 h 524"/>
                <a:gd name="T54" fmla="*/ 115 w 504"/>
                <a:gd name="T55" fmla="*/ 161 h 524"/>
                <a:gd name="T56" fmla="*/ 100 w 504"/>
                <a:gd name="T57" fmla="*/ 134 h 524"/>
                <a:gd name="T58" fmla="*/ 68 w 504"/>
                <a:gd name="T59" fmla="*/ 90 h 524"/>
                <a:gd name="T60" fmla="*/ 86 w 504"/>
                <a:gd name="T61" fmla="*/ 60 h 524"/>
                <a:gd name="T62" fmla="*/ 106 w 504"/>
                <a:gd name="T63" fmla="*/ 56 h 524"/>
                <a:gd name="T64" fmla="*/ 130 w 504"/>
                <a:gd name="T65" fmla="*/ 58 h 524"/>
                <a:gd name="T66" fmla="*/ 139 w 504"/>
                <a:gd name="T67" fmla="*/ 61 h 524"/>
                <a:gd name="T68" fmla="*/ 160 w 504"/>
                <a:gd name="T69" fmla="*/ 56 h 524"/>
                <a:gd name="T70" fmla="*/ 164 w 504"/>
                <a:gd name="T71" fmla="*/ 33 h 524"/>
                <a:gd name="T72" fmla="*/ 171 w 504"/>
                <a:gd name="T73" fmla="*/ 13 h 524"/>
                <a:gd name="T74" fmla="*/ 187 w 504"/>
                <a:gd name="T75" fmla="*/ 0 h 524"/>
                <a:gd name="T76" fmla="*/ 225 w 504"/>
                <a:gd name="T77" fmla="*/ 0 h 524"/>
                <a:gd name="T78" fmla="*/ 254 w 504"/>
                <a:gd name="T79" fmla="*/ 8 h 524"/>
                <a:gd name="T80" fmla="*/ 280 w 504"/>
                <a:gd name="T81" fmla="*/ 21 h 524"/>
                <a:gd name="T82" fmla="*/ 279 w 504"/>
                <a:gd name="T83" fmla="*/ 62 h 524"/>
                <a:gd name="T84" fmla="*/ 292 w 504"/>
                <a:gd name="T85" fmla="*/ 77 h 524"/>
                <a:gd name="T86" fmla="*/ 319 w 504"/>
                <a:gd name="T87" fmla="*/ 94 h 524"/>
                <a:gd name="T88" fmla="*/ 356 w 504"/>
                <a:gd name="T89" fmla="*/ 119 h 524"/>
                <a:gd name="T90" fmla="*/ 346 w 504"/>
                <a:gd name="T91" fmla="*/ 135 h 524"/>
                <a:gd name="T92" fmla="*/ 340 w 504"/>
                <a:gd name="T93" fmla="*/ 153 h 524"/>
                <a:gd name="T94" fmla="*/ 344 w 504"/>
                <a:gd name="T95" fmla="*/ 176 h 524"/>
                <a:gd name="T96" fmla="*/ 363 w 504"/>
                <a:gd name="T97" fmla="*/ 200 h 524"/>
                <a:gd name="T98" fmla="*/ 378 w 504"/>
                <a:gd name="T99" fmla="*/ 210 h 524"/>
                <a:gd name="T100" fmla="*/ 386 w 504"/>
                <a:gd name="T101" fmla="*/ 256 h 524"/>
                <a:gd name="T102" fmla="*/ 404 w 504"/>
                <a:gd name="T103" fmla="*/ 289 h 524"/>
                <a:gd name="T104" fmla="*/ 432 w 504"/>
                <a:gd name="T105" fmla="*/ 315 h 524"/>
                <a:gd name="T106" fmla="*/ 463 w 504"/>
                <a:gd name="T107" fmla="*/ 335 h 524"/>
                <a:gd name="T108" fmla="*/ 466 w 504"/>
                <a:gd name="T109" fmla="*/ 390 h 524"/>
                <a:gd name="T110" fmla="*/ 397 w 504"/>
                <a:gd name="T111" fmla="*/ 457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" name="Freeform 16">
              <a:extLst>
                <a:ext uri="{FF2B5EF4-FFF2-40B4-BE49-F238E27FC236}">
                  <a16:creationId xmlns:a16="http://schemas.microsoft.com/office/drawing/2014/main" id="{879D3F58-E3C4-4788-900E-A0E6F79BDFF5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672138" y="1925639"/>
              <a:ext cx="182562" cy="238125"/>
            </a:xfrm>
            <a:custGeom>
              <a:avLst/>
              <a:gdLst>
                <a:gd name="T0" fmla="*/ 426 w 438"/>
                <a:gd name="T1" fmla="*/ 190 h 451"/>
                <a:gd name="T2" fmla="*/ 408 w 438"/>
                <a:gd name="T3" fmla="*/ 128 h 451"/>
                <a:gd name="T4" fmla="*/ 387 w 438"/>
                <a:gd name="T5" fmla="*/ 85 h 451"/>
                <a:gd name="T6" fmla="*/ 367 w 438"/>
                <a:gd name="T7" fmla="*/ 62 h 451"/>
                <a:gd name="T8" fmla="*/ 356 w 438"/>
                <a:gd name="T9" fmla="*/ 58 h 451"/>
                <a:gd name="T10" fmla="*/ 335 w 438"/>
                <a:gd name="T11" fmla="*/ 45 h 451"/>
                <a:gd name="T12" fmla="*/ 314 w 438"/>
                <a:gd name="T13" fmla="*/ 38 h 451"/>
                <a:gd name="T14" fmla="*/ 293 w 438"/>
                <a:gd name="T15" fmla="*/ 38 h 451"/>
                <a:gd name="T16" fmla="*/ 276 w 438"/>
                <a:gd name="T17" fmla="*/ 42 h 451"/>
                <a:gd name="T18" fmla="*/ 251 w 438"/>
                <a:gd name="T19" fmla="*/ 58 h 451"/>
                <a:gd name="T20" fmla="*/ 235 w 438"/>
                <a:gd name="T21" fmla="*/ 67 h 451"/>
                <a:gd name="T22" fmla="*/ 217 w 438"/>
                <a:gd name="T23" fmla="*/ 66 h 451"/>
                <a:gd name="T24" fmla="*/ 174 w 438"/>
                <a:gd name="T25" fmla="*/ 37 h 451"/>
                <a:gd name="T26" fmla="*/ 113 w 438"/>
                <a:gd name="T27" fmla="*/ 0 h 451"/>
                <a:gd name="T28" fmla="*/ 95 w 438"/>
                <a:gd name="T29" fmla="*/ 23 h 451"/>
                <a:gd name="T30" fmla="*/ 93 w 438"/>
                <a:gd name="T31" fmla="*/ 43 h 451"/>
                <a:gd name="T32" fmla="*/ 98 w 438"/>
                <a:gd name="T33" fmla="*/ 52 h 451"/>
                <a:gd name="T34" fmla="*/ 119 w 438"/>
                <a:gd name="T35" fmla="*/ 69 h 451"/>
                <a:gd name="T36" fmla="*/ 99 w 438"/>
                <a:gd name="T37" fmla="*/ 73 h 451"/>
                <a:gd name="T38" fmla="*/ 66 w 438"/>
                <a:gd name="T39" fmla="*/ 93 h 451"/>
                <a:gd name="T40" fmla="*/ 58 w 438"/>
                <a:gd name="T41" fmla="*/ 119 h 451"/>
                <a:gd name="T42" fmla="*/ 45 w 438"/>
                <a:gd name="T43" fmla="*/ 138 h 451"/>
                <a:gd name="T44" fmla="*/ 35 w 438"/>
                <a:gd name="T45" fmla="*/ 156 h 451"/>
                <a:gd name="T46" fmla="*/ 33 w 438"/>
                <a:gd name="T47" fmla="*/ 179 h 451"/>
                <a:gd name="T48" fmla="*/ 7 w 438"/>
                <a:gd name="T49" fmla="*/ 238 h 451"/>
                <a:gd name="T50" fmla="*/ 15 w 438"/>
                <a:gd name="T51" fmla="*/ 246 h 451"/>
                <a:gd name="T52" fmla="*/ 26 w 438"/>
                <a:gd name="T53" fmla="*/ 247 h 451"/>
                <a:gd name="T54" fmla="*/ 33 w 438"/>
                <a:gd name="T55" fmla="*/ 346 h 451"/>
                <a:gd name="T56" fmla="*/ 93 w 438"/>
                <a:gd name="T57" fmla="*/ 353 h 451"/>
                <a:gd name="T58" fmla="*/ 104 w 438"/>
                <a:gd name="T59" fmla="*/ 376 h 451"/>
                <a:gd name="T60" fmla="*/ 89 w 438"/>
                <a:gd name="T61" fmla="*/ 425 h 451"/>
                <a:gd name="T62" fmla="*/ 109 w 438"/>
                <a:gd name="T63" fmla="*/ 447 h 451"/>
                <a:gd name="T64" fmla="*/ 152 w 438"/>
                <a:gd name="T65" fmla="*/ 447 h 451"/>
                <a:gd name="T66" fmla="*/ 205 w 438"/>
                <a:gd name="T67" fmla="*/ 444 h 451"/>
                <a:gd name="T68" fmla="*/ 276 w 438"/>
                <a:gd name="T69" fmla="*/ 446 h 451"/>
                <a:gd name="T70" fmla="*/ 343 w 438"/>
                <a:gd name="T71" fmla="*/ 442 h 451"/>
                <a:gd name="T72" fmla="*/ 372 w 438"/>
                <a:gd name="T73" fmla="*/ 432 h 451"/>
                <a:gd name="T74" fmla="*/ 359 w 438"/>
                <a:gd name="T75" fmla="*/ 413 h 451"/>
                <a:gd name="T76" fmla="*/ 369 w 438"/>
                <a:gd name="T77" fmla="*/ 403 h 451"/>
                <a:gd name="T78" fmla="*/ 372 w 438"/>
                <a:gd name="T79" fmla="*/ 382 h 451"/>
                <a:gd name="T80" fmla="*/ 380 w 438"/>
                <a:gd name="T81" fmla="*/ 367 h 451"/>
                <a:gd name="T82" fmla="*/ 343 w 438"/>
                <a:gd name="T83" fmla="*/ 344 h 451"/>
                <a:gd name="T84" fmla="*/ 325 w 438"/>
                <a:gd name="T85" fmla="*/ 323 h 451"/>
                <a:gd name="T86" fmla="*/ 311 w 438"/>
                <a:gd name="T87" fmla="*/ 294 h 451"/>
                <a:gd name="T88" fmla="*/ 294 w 438"/>
                <a:gd name="T89" fmla="*/ 277 h 451"/>
                <a:gd name="T90" fmla="*/ 314 w 438"/>
                <a:gd name="T91" fmla="*/ 275 h 451"/>
                <a:gd name="T92" fmla="*/ 346 w 438"/>
                <a:gd name="T93" fmla="*/ 271 h 451"/>
                <a:gd name="T94" fmla="*/ 369 w 438"/>
                <a:gd name="T95" fmla="*/ 260 h 451"/>
                <a:gd name="T96" fmla="*/ 407 w 438"/>
                <a:gd name="T97" fmla="*/ 240 h 451"/>
                <a:gd name="T98" fmla="*/ 438 w 438"/>
                <a:gd name="T99" fmla="*/ 235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7" name="Freeform 17">
              <a:extLst>
                <a:ext uri="{FF2B5EF4-FFF2-40B4-BE49-F238E27FC236}">
                  <a16:creationId xmlns:a16="http://schemas.microsoft.com/office/drawing/2014/main" id="{7541B5C8-F36A-4873-8F12-C976C3F93886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5697539" y="2182814"/>
              <a:ext cx="250825" cy="274637"/>
            </a:xfrm>
            <a:custGeom>
              <a:avLst/>
              <a:gdLst>
                <a:gd name="T0" fmla="*/ 327 w 578"/>
                <a:gd name="T1" fmla="*/ 88 h 524"/>
                <a:gd name="T2" fmla="*/ 312 w 578"/>
                <a:gd name="T3" fmla="*/ 85 h 524"/>
                <a:gd name="T4" fmla="*/ 301 w 578"/>
                <a:gd name="T5" fmla="*/ 79 h 524"/>
                <a:gd name="T6" fmla="*/ 275 w 578"/>
                <a:gd name="T7" fmla="*/ 66 h 524"/>
                <a:gd name="T8" fmla="*/ 251 w 578"/>
                <a:gd name="T9" fmla="*/ 78 h 524"/>
                <a:gd name="T10" fmla="*/ 246 w 578"/>
                <a:gd name="T11" fmla="*/ 105 h 524"/>
                <a:gd name="T12" fmla="*/ 253 w 578"/>
                <a:gd name="T13" fmla="*/ 153 h 524"/>
                <a:gd name="T14" fmla="*/ 270 w 578"/>
                <a:gd name="T15" fmla="*/ 172 h 524"/>
                <a:gd name="T16" fmla="*/ 287 w 578"/>
                <a:gd name="T17" fmla="*/ 178 h 524"/>
                <a:gd name="T18" fmla="*/ 298 w 578"/>
                <a:gd name="T19" fmla="*/ 191 h 524"/>
                <a:gd name="T20" fmla="*/ 351 w 578"/>
                <a:gd name="T21" fmla="*/ 225 h 524"/>
                <a:gd name="T22" fmla="*/ 449 w 578"/>
                <a:gd name="T23" fmla="*/ 309 h 524"/>
                <a:gd name="T24" fmla="*/ 477 w 578"/>
                <a:gd name="T25" fmla="*/ 322 h 524"/>
                <a:gd name="T26" fmla="*/ 504 w 578"/>
                <a:gd name="T27" fmla="*/ 328 h 524"/>
                <a:gd name="T28" fmla="*/ 536 w 578"/>
                <a:gd name="T29" fmla="*/ 356 h 524"/>
                <a:gd name="T30" fmla="*/ 578 w 578"/>
                <a:gd name="T31" fmla="*/ 376 h 524"/>
                <a:gd name="T32" fmla="*/ 565 w 578"/>
                <a:gd name="T33" fmla="*/ 407 h 524"/>
                <a:gd name="T34" fmla="*/ 526 w 578"/>
                <a:gd name="T35" fmla="*/ 383 h 524"/>
                <a:gd name="T36" fmla="*/ 508 w 578"/>
                <a:gd name="T37" fmla="*/ 376 h 524"/>
                <a:gd name="T38" fmla="*/ 498 w 578"/>
                <a:gd name="T39" fmla="*/ 397 h 524"/>
                <a:gd name="T40" fmla="*/ 506 w 578"/>
                <a:gd name="T41" fmla="*/ 426 h 524"/>
                <a:gd name="T42" fmla="*/ 514 w 578"/>
                <a:gd name="T43" fmla="*/ 442 h 524"/>
                <a:gd name="T44" fmla="*/ 500 w 578"/>
                <a:gd name="T45" fmla="*/ 468 h 524"/>
                <a:gd name="T46" fmla="*/ 483 w 578"/>
                <a:gd name="T47" fmla="*/ 505 h 524"/>
                <a:gd name="T48" fmla="*/ 465 w 578"/>
                <a:gd name="T49" fmla="*/ 522 h 524"/>
                <a:gd name="T50" fmla="*/ 436 w 578"/>
                <a:gd name="T51" fmla="*/ 505 h 524"/>
                <a:gd name="T52" fmla="*/ 456 w 578"/>
                <a:gd name="T53" fmla="*/ 484 h 524"/>
                <a:gd name="T54" fmla="*/ 465 w 578"/>
                <a:gd name="T55" fmla="*/ 467 h 524"/>
                <a:gd name="T56" fmla="*/ 461 w 578"/>
                <a:gd name="T57" fmla="*/ 441 h 524"/>
                <a:gd name="T58" fmla="*/ 427 w 578"/>
                <a:gd name="T59" fmla="*/ 395 h 524"/>
                <a:gd name="T60" fmla="*/ 385 w 578"/>
                <a:gd name="T61" fmla="*/ 369 h 524"/>
                <a:gd name="T62" fmla="*/ 355 w 578"/>
                <a:gd name="T63" fmla="*/ 356 h 524"/>
                <a:gd name="T64" fmla="*/ 318 w 578"/>
                <a:gd name="T65" fmla="*/ 330 h 524"/>
                <a:gd name="T66" fmla="*/ 268 w 578"/>
                <a:gd name="T67" fmla="*/ 315 h 524"/>
                <a:gd name="T68" fmla="*/ 218 w 578"/>
                <a:gd name="T69" fmla="*/ 285 h 524"/>
                <a:gd name="T70" fmla="*/ 162 w 578"/>
                <a:gd name="T71" fmla="*/ 229 h 524"/>
                <a:gd name="T72" fmla="*/ 126 w 578"/>
                <a:gd name="T73" fmla="*/ 168 h 524"/>
                <a:gd name="T74" fmla="*/ 77 w 578"/>
                <a:gd name="T75" fmla="*/ 154 h 524"/>
                <a:gd name="T76" fmla="*/ 51 w 578"/>
                <a:gd name="T77" fmla="*/ 157 h 524"/>
                <a:gd name="T78" fmla="*/ 15 w 578"/>
                <a:gd name="T79" fmla="*/ 165 h 524"/>
                <a:gd name="T80" fmla="*/ 3 w 578"/>
                <a:gd name="T81" fmla="*/ 133 h 524"/>
                <a:gd name="T82" fmla="*/ 1 w 578"/>
                <a:gd name="T83" fmla="*/ 93 h 524"/>
                <a:gd name="T84" fmla="*/ 6 w 578"/>
                <a:gd name="T85" fmla="*/ 49 h 524"/>
                <a:gd name="T86" fmla="*/ 45 w 578"/>
                <a:gd name="T87" fmla="*/ 41 h 524"/>
                <a:gd name="T88" fmla="*/ 68 w 578"/>
                <a:gd name="T89" fmla="*/ 33 h 524"/>
                <a:gd name="T90" fmla="*/ 83 w 578"/>
                <a:gd name="T91" fmla="*/ 48 h 524"/>
                <a:gd name="T92" fmla="*/ 104 w 578"/>
                <a:gd name="T93" fmla="*/ 44 h 524"/>
                <a:gd name="T94" fmla="*/ 149 w 578"/>
                <a:gd name="T95" fmla="*/ 16 h 524"/>
                <a:gd name="T96" fmla="*/ 239 w 578"/>
                <a:gd name="T97" fmla="*/ 0 h 524"/>
                <a:gd name="T98" fmla="*/ 257 w 578"/>
                <a:gd name="T99" fmla="*/ 13 h 524"/>
                <a:gd name="T100" fmla="*/ 332 w 578"/>
                <a:gd name="T101" fmla="*/ 19 h 524"/>
                <a:gd name="T102" fmla="*/ 322 w 578"/>
                <a:gd name="T103" fmla="*/ 65 h 524"/>
                <a:gd name="T104" fmla="*/ 325 w 578"/>
                <a:gd name="T105" fmla="*/ 90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8" name="Freeform 18">
              <a:extLst>
                <a:ext uri="{FF2B5EF4-FFF2-40B4-BE49-F238E27FC236}">
                  <a16:creationId xmlns:a16="http://schemas.microsoft.com/office/drawing/2014/main" id="{1CE27F99-B096-4270-B42F-21CFC3F69927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5715000" y="2351088"/>
              <a:ext cx="33338" cy="82550"/>
            </a:xfrm>
            <a:custGeom>
              <a:avLst/>
              <a:gdLst>
                <a:gd name="T0" fmla="*/ 0 w 79"/>
                <a:gd name="T1" fmla="*/ 37 h 160"/>
                <a:gd name="T2" fmla="*/ 6 w 79"/>
                <a:gd name="T3" fmla="*/ 37 h 160"/>
                <a:gd name="T4" fmla="*/ 11 w 79"/>
                <a:gd name="T5" fmla="*/ 36 h 160"/>
                <a:gd name="T6" fmla="*/ 16 w 79"/>
                <a:gd name="T7" fmla="*/ 35 h 160"/>
                <a:gd name="T8" fmla="*/ 19 w 79"/>
                <a:gd name="T9" fmla="*/ 33 h 160"/>
                <a:gd name="T10" fmla="*/ 26 w 79"/>
                <a:gd name="T11" fmla="*/ 28 h 160"/>
                <a:gd name="T12" fmla="*/ 31 w 79"/>
                <a:gd name="T13" fmla="*/ 22 h 160"/>
                <a:gd name="T14" fmla="*/ 37 w 79"/>
                <a:gd name="T15" fmla="*/ 16 h 160"/>
                <a:gd name="T16" fmla="*/ 41 w 79"/>
                <a:gd name="T17" fmla="*/ 10 h 160"/>
                <a:gd name="T18" fmla="*/ 46 w 79"/>
                <a:gd name="T19" fmla="*/ 5 h 160"/>
                <a:gd name="T20" fmla="*/ 53 w 79"/>
                <a:gd name="T21" fmla="*/ 0 h 160"/>
                <a:gd name="T22" fmla="*/ 57 w 79"/>
                <a:gd name="T23" fmla="*/ 3 h 160"/>
                <a:gd name="T24" fmla="*/ 62 w 79"/>
                <a:gd name="T25" fmla="*/ 7 h 160"/>
                <a:gd name="T26" fmla="*/ 64 w 79"/>
                <a:gd name="T27" fmla="*/ 10 h 160"/>
                <a:gd name="T28" fmla="*/ 66 w 79"/>
                <a:gd name="T29" fmla="*/ 14 h 160"/>
                <a:gd name="T30" fmla="*/ 69 w 79"/>
                <a:gd name="T31" fmla="*/ 22 h 160"/>
                <a:gd name="T32" fmla="*/ 72 w 79"/>
                <a:gd name="T33" fmla="*/ 32 h 160"/>
                <a:gd name="T34" fmla="*/ 73 w 79"/>
                <a:gd name="T35" fmla="*/ 40 h 160"/>
                <a:gd name="T36" fmla="*/ 74 w 79"/>
                <a:gd name="T37" fmla="*/ 49 h 160"/>
                <a:gd name="T38" fmla="*/ 76 w 79"/>
                <a:gd name="T39" fmla="*/ 58 h 160"/>
                <a:gd name="T40" fmla="*/ 79 w 79"/>
                <a:gd name="T41" fmla="*/ 67 h 160"/>
                <a:gd name="T42" fmla="*/ 79 w 79"/>
                <a:gd name="T43" fmla="*/ 98 h 160"/>
                <a:gd name="T44" fmla="*/ 68 w 79"/>
                <a:gd name="T45" fmla="*/ 115 h 160"/>
                <a:gd name="T46" fmla="*/ 59 w 79"/>
                <a:gd name="T47" fmla="*/ 129 h 160"/>
                <a:gd name="T48" fmla="*/ 53 w 79"/>
                <a:gd name="T49" fmla="*/ 136 h 160"/>
                <a:gd name="T50" fmla="*/ 50 w 79"/>
                <a:gd name="T51" fmla="*/ 144 h 160"/>
                <a:gd name="T52" fmla="*/ 48 w 79"/>
                <a:gd name="T53" fmla="*/ 151 h 160"/>
                <a:gd name="T54" fmla="*/ 46 w 79"/>
                <a:gd name="T55" fmla="*/ 160 h 160"/>
                <a:gd name="T56" fmla="*/ 40 w 79"/>
                <a:gd name="T57" fmla="*/ 155 h 160"/>
                <a:gd name="T58" fmla="*/ 33 w 79"/>
                <a:gd name="T59" fmla="*/ 150 h 160"/>
                <a:gd name="T60" fmla="*/ 28 w 79"/>
                <a:gd name="T61" fmla="*/ 144 h 160"/>
                <a:gd name="T62" fmla="*/ 22 w 79"/>
                <a:gd name="T63" fmla="*/ 137 h 160"/>
                <a:gd name="T64" fmla="*/ 18 w 79"/>
                <a:gd name="T65" fmla="*/ 130 h 160"/>
                <a:gd name="T66" fmla="*/ 15 w 79"/>
                <a:gd name="T67" fmla="*/ 123 h 160"/>
                <a:gd name="T68" fmla="*/ 11 w 79"/>
                <a:gd name="T69" fmla="*/ 115 h 160"/>
                <a:gd name="T70" fmla="*/ 8 w 79"/>
                <a:gd name="T71" fmla="*/ 108 h 160"/>
                <a:gd name="T72" fmla="*/ 4 w 79"/>
                <a:gd name="T73" fmla="*/ 91 h 160"/>
                <a:gd name="T74" fmla="*/ 1 w 79"/>
                <a:gd name="T75" fmla="*/ 73 h 160"/>
                <a:gd name="T76" fmla="*/ 0 w 79"/>
                <a:gd name="T77" fmla="*/ 55 h 160"/>
                <a:gd name="T78" fmla="*/ 0 w 79"/>
                <a:gd name="T79" fmla="*/ 37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grpSp>
          <p:nvGrpSpPr>
            <p:cNvPr id="19" name="Group 19">
              <a:extLst>
                <a:ext uri="{FF2B5EF4-FFF2-40B4-BE49-F238E27FC236}">
                  <a16:creationId xmlns:a16="http://schemas.microsoft.com/office/drawing/2014/main" id="{41CC524F-7B06-4CCC-A82C-CEB5A8097BD8}"/>
                </a:ext>
              </a:extLst>
            </p:cNvPr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8034339" y="3411539"/>
              <a:ext cx="473075" cy="212725"/>
              <a:chOff x="4488" y="2394"/>
              <a:chExt cx="358" cy="124"/>
            </a:xfrm>
          </p:grpSpPr>
          <p:sp>
            <p:nvSpPr>
              <p:cNvPr id="549" name="Freeform 20">
                <a:extLst>
                  <a:ext uri="{FF2B5EF4-FFF2-40B4-BE49-F238E27FC236}">
                    <a16:creationId xmlns:a16="http://schemas.microsoft.com/office/drawing/2014/main" id="{E94E72F3-4F82-414A-8725-87B8CE80BD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424 w 512"/>
                  <a:gd name="T1" fmla="*/ 198 h 408"/>
                  <a:gd name="T2" fmla="*/ 387 w 512"/>
                  <a:gd name="T3" fmla="*/ 193 h 408"/>
                  <a:gd name="T4" fmla="*/ 367 w 512"/>
                  <a:gd name="T5" fmla="*/ 203 h 408"/>
                  <a:gd name="T6" fmla="*/ 354 w 512"/>
                  <a:gd name="T7" fmla="*/ 217 h 408"/>
                  <a:gd name="T8" fmla="*/ 347 w 512"/>
                  <a:gd name="T9" fmla="*/ 254 h 408"/>
                  <a:gd name="T10" fmla="*/ 327 w 512"/>
                  <a:gd name="T11" fmla="*/ 306 h 408"/>
                  <a:gd name="T12" fmla="*/ 305 w 512"/>
                  <a:gd name="T13" fmla="*/ 335 h 408"/>
                  <a:gd name="T14" fmla="*/ 289 w 512"/>
                  <a:gd name="T15" fmla="*/ 350 h 408"/>
                  <a:gd name="T16" fmla="*/ 271 w 512"/>
                  <a:gd name="T17" fmla="*/ 359 h 408"/>
                  <a:gd name="T18" fmla="*/ 256 w 512"/>
                  <a:gd name="T19" fmla="*/ 368 h 408"/>
                  <a:gd name="T20" fmla="*/ 253 w 512"/>
                  <a:gd name="T21" fmla="*/ 376 h 408"/>
                  <a:gd name="T22" fmla="*/ 215 w 512"/>
                  <a:gd name="T23" fmla="*/ 370 h 408"/>
                  <a:gd name="T24" fmla="*/ 183 w 512"/>
                  <a:gd name="T25" fmla="*/ 367 h 408"/>
                  <a:gd name="T26" fmla="*/ 155 w 512"/>
                  <a:gd name="T27" fmla="*/ 373 h 408"/>
                  <a:gd name="T28" fmla="*/ 138 w 512"/>
                  <a:gd name="T29" fmla="*/ 388 h 408"/>
                  <a:gd name="T30" fmla="*/ 97 w 512"/>
                  <a:gd name="T31" fmla="*/ 405 h 408"/>
                  <a:gd name="T32" fmla="*/ 62 w 512"/>
                  <a:gd name="T33" fmla="*/ 407 h 408"/>
                  <a:gd name="T34" fmla="*/ 45 w 512"/>
                  <a:gd name="T35" fmla="*/ 400 h 408"/>
                  <a:gd name="T36" fmla="*/ 15 w 512"/>
                  <a:gd name="T37" fmla="*/ 368 h 408"/>
                  <a:gd name="T38" fmla="*/ 2 w 512"/>
                  <a:gd name="T39" fmla="*/ 344 h 408"/>
                  <a:gd name="T40" fmla="*/ 8 w 512"/>
                  <a:gd name="T41" fmla="*/ 335 h 408"/>
                  <a:gd name="T42" fmla="*/ 34 w 512"/>
                  <a:gd name="T43" fmla="*/ 344 h 408"/>
                  <a:gd name="T44" fmla="*/ 53 w 512"/>
                  <a:gd name="T45" fmla="*/ 336 h 408"/>
                  <a:gd name="T46" fmla="*/ 56 w 512"/>
                  <a:gd name="T47" fmla="*/ 314 h 408"/>
                  <a:gd name="T48" fmla="*/ 71 w 512"/>
                  <a:gd name="T49" fmla="*/ 300 h 408"/>
                  <a:gd name="T50" fmla="*/ 82 w 512"/>
                  <a:gd name="T51" fmla="*/ 286 h 408"/>
                  <a:gd name="T52" fmla="*/ 89 w 512"/>
                  <a:gd name="T53" fmla="*/ 272 h 408"/>
                  <a:gd name="T54" fmla="*/ 101 w 512"/>
                  <a:gd name="T55" fmla="*/ 262 h 408"/>
                  <a:gd name="T56" fmla="*/ 137 w 512"/>
                  <a:gd name="T57" fmla="*/ 246 h 408"/>
                  <a:gd name="T58" fmla="*/ 175 w 512"/>
                  <a:gd name="T59" fmla="*/ 232 h 408"/>
                  <a:gd name="T60" fmla="*/ 202 w 512"/>
                  <a:gd name="T61" fmla="*/ 217 h 408"/>
                  <a:gd name="T62" fmla="*/ 213 w 512"/>
                  <a:gd name="T63" fmla="*/ 205 h 408"/>
                  <a:gd name="T64" fmla="*/ 219 w 512"/>
                  <a:gd name="T65" fmla="*/ 191 h 408"/>
                  <a:gd name="T66" fmla="*/ 227 w 512"/>
                  <a:gd name="T67" fmla="*/ 161 h 408"/>
                  <a:gd name="T68" fmla="*/ 229 w 512"/>
                  <a:gd name="T69" fmla="*/ 149 h 408"/>
                  <a:gd name="T70" fmla="*/ 231 w 512"/>
                  <a:gd name="T71" fmla="*/ 152 h 408"/>
                  <a:gd name="T72" fmla="*/ 239 w 512"/>
                  <a:gd name="T73" fmla="*/ 143 h 408"/>
                  <a:gd name="T74" fmla="*/ 237 w 512"/>
                  <a:gd name="T75" fmla="*/ 155 h 408"/>
                  <a:gd name="T76" fmla="*/ 240 w 512"/>
                  <a:gd name="T77" fmla="*/ 174 h 408"/>
                  <a:gd name="T78" fmla="*/ 251 w 512"/>
                  <a:gd name="T79" fmla="*/ 193 h 408"/>
                  <a:gd name="T80" fmla="*/ 272 w 512"/>
                  <a:gd name="T81" fmla="*/ 205 h 408"/>
                  <a:gd name="T82" fmla="*/ 306 w 512"/>
                  <a:gd name="T83" fmla="*/ 204 h 408"/>
                  <a:gd name="T84" fmla="*/ 320 w 512"/>
                  <a:gd name="T85" fmla="*/ 205 h 408"/>
                  <a:gd name="T86" fmla="*/ 327 w 512"/>
                  <a:gd name="T87" fmla="*/ 198 h 408"/>
                  <a:gd name="T88" fmla="*/ 324 w 512"/>
                  <a:gd name="T89" fmla="*/ 176 h 408"/>
                  <a:gd name="T90" fmla="*/ 299 w 512"/>
                  <a:gd name="T91" fmla="*/ 130 h 408"/>
                  <a:gd name="T92" fmla="*/ 319 w 512"/>
                  <a:gd name="T93" fmla="*/ 109 h 408"/>
                  <a:gd name="T94" fmla="*/ 344 w 512"/>
                  <a:gd name="T95" fmla="*/ 66 h 408"/>
                  <a:gd name="T96" fmla="*/ 374 w 512"/>
                  <a:gd name="T97" fmla="*/ 22 h 408"/>
                  <a:gd name="T98" fmla="*/ 399 w 512"/>
                  <a:gd name="T99" fmla="*/ 0 h 408"/>
                  <a:gd name="T100" fmla="*/ 401 w 512"/>
                  <a:gd name="T101" fmla="*/ 23 h 408"/>
                  <a:gd name="T102" fmla="*/ 413 w 512"/>
                  <a:gd name="T103" fmla="*/ 50 h 408"/>
                  <a:gd name="T104" fmla="*/ 439 w 512"/>
                  <a:gd name="T105" fmla="*/ 75 h 408"/>
                  <a:gd name="T106" fmla="*/ 486 w 512"/>
                  <a:gd name="T107" fmla="*/ 106 h 408"/>
                  <a:gd name="T108" fmla="*/ 508 w 512"/>
                  <a:gd name="T109" fmla="*/ 132 h 408"/>
                  <a:gd name="T110" fmla="*/ 499 w 512"/>
                  <a:gd name="T111" fmla="*/ 149 h 408"/>
                  <a:gd name="T112" fmla="*/ 478 w 512"/>
                  <a:gd name="T113" fmla="*/ 152 h 408"/>
                  <a:gd name="T114" fmla="*/ 458 w 512"/>
                  <a:gd name="T115" fmla="*/ 180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50" name="Freeform 21">
                <a:extLst>
                  <a:ext uri="{FF2B5EF4-FFF2-40B4-BE49-F238E27FC236}">
                    <a16:creationId xmlns:a16="http://schemas.microsoft.com/office/drawing/2014/main" id="{46A00A57-7AF3-4506-9D0B-773AFCC2C8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151 w 232"/>
                  <a:gd name="T1" fmla="*/ 24 h 289"/>
                  <a:gd name="T2" fmla="*/ 165 w 232"/>
                  <a:gd name="T3" fmla="*/ 48 h 289"/>
                  <a:gd name="T4" fmla="*/ 174 w 232"/>
                  <a:gd name="T5" fmla="*/ 56 h 289"/>
                  <a:gd name="T6" fmla="*/ 181 w 232"/>
                  <a:gd name="T7" fmla="*/ 60 h 289"/>
                  <a:gd name="T8" fmla="*/ 186 w 232"/>
                  <a:gd name="T9" fmla="*/ 166 h 289"/>
                  <a:gd name="T10" fmla="*/ 189 w 232"/>
                  <a:gd name="T11" fmla="*/ 196 h 289"/>
                  <a:gd name="T12" fmla="*/ 193 w 232"/>
                  <a:gd name="T13" fmla="*/ 207 h 289"/>
                  <a:gd name="T14" fmla="*/ 199 w 232"/>
                  <a:gd name="T15" fmla="*/ 216 h 289"/>
                  <a:gd name="T16" fmla="*/ 232 w 232"/>
                  <a:gd name="T17" fmla="*/ 246 h 289"/>
                  <a:gd name="T18" fmla="*/ 219 w 232"/>
                  <a:gd name="T19" fmla="*/ 288 h 289"/>
                  <a:gd name="T20" fmla="*/ 186 w 232"/>
                  <a:gd name="T21" fmla="*/ 282 h 289"/>
                  <a:gd name="T22" fmla="*/ 151 w 232"/>
                  <a:gd name="T23" fmla="*/ 264 h 289"/>
                  <a:gd name="T24" fmla="*/ 113 w 232"/>
                  <a:gd name="T25" fmla="*/ 235 h 289"/>
                  <a:gd name="T26" fmla="*/ 81 w 232"/>
                  <a:gd name="T27" fmla="*/ 207 h 289"/>
                  <a:gd name="T28" fmla="*/ 56 w 232"/>
                  <a:gd name="T29" fmla="*/ 176 h 289"/>
                  <a:gd name="T30" fmla="*/ 31 w 232"/>
                  <a:gd name="T31" fmla="*/ 145 h 289"/>
                  <a:gd name="T32" fmla="*/ 9 w 232"/>
                  <a:gd name="T33" fmla="*/ 126 h 289"/>
                  <a:gd name="T34" fmla="*/ 2 w 232"/>
                  <a:gd name="T35" fmla="*/ 117 h 289"/>
                  <a:gd name="T36" fmla="*/ 0 w 232"/>
                  <a:gd name="T37" fmla="*/ 109 h 289"/>
                  <a:gd name="T38" fmla="*/ 0 w 232"/>
                  <a:gd name="T39" fmla="*/ 100 h 289"/>
                  <a:gd name="T40" fmla="*/ 3 w 232"/>
                  <a:gd name="T41" fmla="*/ 92 h 289"/>
                  <a:gd name="T42" fmla="*/ 11 w 232"/>
                  <a:gd name="T43" fmla="*/ 79 h 289"/>
                  <a:gd name="T44" fmla="*/ 12 w 232"/>
                  <a:gd name="T45" fmla="*/ 52 h 289"/>
                  <a:gd name="T46" fmla="*/ 7 w 232"/>
                  <a:gd name="T47" fmla="*/ 15 h 289"/>
                  <a:gd name="T48" fmla="*/ 13 w 232"/>
                  <a:gd name="T49" fmla="*/ 0 h 289"/>
                  <a:gd name="T50" fmla="*/ 26 w 232"/>
                  <a:gd name="T51" fmla="*/ 3 h 289"/>
                  <a:gd name="T52" fmla="*/ 42 w 232"/>
                  <a:gd name="T53" fmla="*/ 10 h 289"/>
                  <a:gd name="T54" fmla="*/ 59 w 232"/>
                  <a:gd name="T55" fmla="*/ 21 h 289"/>
                  <a:gd name="T56" fmla="*/ 73 w 232"/>
                  <a:gd name="T57" fmla="*/ 28 h 289"/>
                  <a:gd name="T58" fmla="*/ 81 w 232"/>
                  <a:gd name="T59" fmla="*/ 31 h 289"/>
                  <a:gd name="T60" fmla="*/ 91 w 232"/>
                  <a:gd name="T61" fmla="*/ 31 h 289"/>
                  <a:gd name="T62" fmla="*/ 105 w 232"/>
                  <a:gd name="T63" fmla="*/ 26 h 289"/>
                  <a:gd name="T64" fmla="*/ 120 w 232"/>
                  <a:gd name="T65" fmla="*/ 19 h 289"/>
                  <a:gd name="T66" fmla="*/ 133 w 232"/>
                  <a:gd name="T67" fmla="*/ 11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20" name="Freeform 22">
              <a:extLst>
                <a:ext uri="{FF2B5EF4-FFF2-40B4-BE49-F238E27FC236}">
                  <a16:creationId xmlns:a16="http://schemas.microsoft.com/office/drawing/2014/main" id="{31129A10-4C9B-4E58-8A31-19C3459D6FC2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6056313" y="1287464"/>
              <a:ext cx="3065462" cy="1074737"/>
            </a:xfrm>
            <a:custGeom>
              <a:avLst/>
              <a:gdLst>
                <a:gd name="T0" fmla="*/ 725 w 7049"/>
                <a:gd name="T1" fmla="*/ 1733 h 2048"/>
                <a:gd name="T2" fmla="*/ 1070 w 7049"/>
                <a:gd name="T3" fmla="*/ 1937 h 2048"/>
                <a:gd name="T4" fmla="*/ 1212 w 7049"/>
                <a:gd name="T5" fmla="*/ 1814 h 2048"/>
                <a:gd name="T6" fmla="*/ 1674 w 7049"/>
                <a:gd name="T7" fmla="*/ 1469 h 2048"/>
                <a:gd name="T8" fmla="*/ 2618 w 7049"/>
                <a:gd name="T9" fmla="*/ 1315 h 2048"/>
                <a:gd name="T10" fmla="*/ 3350 w 7049"/>
                <a:gd name="T11" fmla="*/ 1494 h 2048"/>
                <a:gd name="T12" fmla="*/ 3676 w 7049"/>
                <a:gd name="T13" fmla="*/ 1438 h 2048"/>
                <a:gd name="T14" fmla="*/ 4136 w 7049"/>
                <a:gd name="T15" fmla="*/ 1492 h 2048"/>
                <a:gd name="T16" fmla="*/ 4577 w 7049"/>
                <a:gd name="T17" fmla="*/ 1509 h 2048"/>
                <a:gd name="T18" fmla="*/ 4759 w 7049"/>
                <a:gd name="T19" fmla="*/ 1372 h 2048"/>
                <a:gd name="T20" fmla="*/ 5156 w 7049"/>
                <a:gd name="T21" fmla="*/ 1476 h 2048"/>
                <a:gd name="T22" fmla="*/ 5614 w 7049"/>
                <a:gd name="T23" fmla="*/ 1598 h 2048"/>
                <a:gd name="T24" fmla="*/ 5604 w 7049"/>
                <a:gd name="T25" fmla="*/ 1844 h 2048"/>
                <a:gd name="T26" fmla="*/ 5853 w 7049"/>
                <a:gd name="T27" fmla="*/ 1612 h 2048"/>
                <a:gd name="T28" fmla="*/ 5570 w 7049"/>
                <a:gd name="T29" fmla="*/ 1256 h 2048"/>
                <a:gd name="T30" fmla="*/ 5331 w 7049"/>
                <a:gd name="T31" fmla="*/ 1147 h 2048"/>
                <a:gd name="T32" fmla="*/ 5857 w 7049"/>
                <a:gd name="T33" fmla="*/ 982 h 2048"/>
                <a:gd name="T34" fmla="*/ 5974 w 7049"/>
                <a:gd name="T35" fmla="*/ 822 h 2048"/>
                <a:gd name="T36" fmla="*/ 6132 w 7049"/>
                <a:gd name="T37" fmla="*/ 761 h 2048"/>
                <a:gd name="T38" fmla="*/ 6195 w 7049"/>
                <a:gd name="T39" fmla="*/ 974 h 2048"/>
                <a:gd name="T40" fmla="*/ 6352 w 7049"/>
                <a:gd name="T41" fmla="*/ 1251 h 2048"/>
                <a:gd name="T42" fmla="*/ 6575 w 7049"/>
                <a:gd name="T43" fmla="*/ 1410 h 2048"/>
                <a:gd name="T44" fmla="*/ 6566 w 7049"/>
                <a:gd name="T45" fmla="*/ 1214 h 2048"/>
                <a:gd name="T46" fmla="*/ 6373 w 7049"/>
                <a:gd name="T47" fmla="*/ 1037 h 2048"/>
                <a:gd name="T48" fmla="*/ 6547 w 7049"/>
                <a:gd name="T49" fmla="*/ 885 h 2048"/>
                <a:gd name="T50" fmla="*/ 6801 w 7049"/>
                <a:gd name="T51" fmla="*/ 784 h 2048"/>
                <a:gd name="T52" fmla="*/ 6628 w 7049"/>
                <a:gd name="T53" fmla="*/ 618 h 2048"/>
                <a:gd name="T54" fmla="*/ 6799 w 7049"/>
                <a:gd name="T55" fmla="*/ 636 h 2048"/>
                <a:gd name="T56" fmla="*/ 6861 w 7049"/>
                <a:gd name="T57" fmla="*/ 543 h 2048"/>
                <a:gd name="T58" fmla="*/ 6500 w 7049"/>
                <a:gd name="T59" fmla="*/ 462 h 2048"/>
                <a:gd name="T60" fmla="*/ 5843 w 7049"/>
                <a:gd name="T61" fmla="*/ 410 h 2048"/>
                <a:gd name="T62" fmla="*/ 5693 w 7049"/>
                <a:gd name="T63" fmla="*/ 415 h 2048"/>
                <a:gd name="T64" fmla="*/ 4991 w 7049"/>
                <a:gd name="T65" fmla="*/ 351 h 2048"/>
                <a:gd name="T66" fmla="*/ 4728 w 7049"/>
                <a:gd name="T67" fmla="*/ 290 h 2048"/>
                <a:gd name="T68" fmla="*/ 4412 w 7049"/>
                <a:gd name="T69" fmla="*/ 290 h 2048"/>
                <a:gd name="T70" fmla="*/ 4009 w 7049"/>
                <a:gd name="T71" fmla="*/ 318 h 2048"/>
                <a:gd name="T72" fmla="*/ 3574 w 7049"/>
                <a:gd name="T73" fmla="*/ 261 h 2048"/>
                <a:gd name="T74" fmla="*/ 3290 w 7049"/>
                <a:gd name="T75" fmla="*/ 244 h 2048"/>
                <a:gd name="T76" fmla="*/ 3008 w 7049"/>
                <a:gd name="T77" fmla="*/ 235 h 2048"/>
                <a:gd name="T78" fmla="*/ 2724 w 7049"/>
                <a:gd name="T79" fmla="*/ 58 h 2048"/>
                <a:gd name="T80" fmla="*/ 2617 w 7049"/>
                <a:gd name="T81" fmla="*/ 140 h 2048"/>
                <a:gd name="T82" fmla="*/ 2134 w 7049"/>
                <a:gd name="T83" fmla="*/ 167 h 2048"/>
                <a:gd name="T84" fmla="*/ 2159 w 7049"/>
                <a:gd name="T85" fmla="*/ 200 h 2048"/>
                <a:gd name="T86" fmla="*/ 2198 w 7049"/>
                <a:gd name="T87" fmla="*/ 342 h 2048"/>
                <a:gd name="T88" fmla="*/ 1933 w 7049"/>
                <a:gd name="T89" fmla="*/ 256 h 2048"/>
                <a:gd name="T90" fmla="*/ 1787 w 7049"/>
                <a:gd name="T91" fmla="*/ 273 h 2048"/>
                <a:gd name="T92" fmla="*/ 1917 w 7049"/>
                <a:gd name="T93" fmla="*/ 446 h 2048"/>
                <a:gd name="T94" fmla="*/ 2076 w 7049"/>
                <a:gd name="T95" fmla="*/ 529 h 2048"/>
                <a:gd name="T96" fmla="*/ 1883 w 7049"/>
                <a:gd name="T97" fmla="*/ 593 h 2048"/>
                <a:gd name="T98" fmla="*/ 1832 w 7049"/>
                <a:gd name="T99" fmla="*/ 464 h 2048"/>
                <a:gd name="T100" fmla="*/ 1621 w 7049"/>
                <a:gd name="T101" fmla="*/ 231 h 2048"/>
                <a:gd name="T102" fmla="*/ 1623 w 7049"/>
                <a:gd name="T103" fmla="*/ 451 h 2048"/>
                <a:gd name="T104" fmla="*/ 1238 w 7049"/>
                <a:gd name="T105" fmla="*/ 397 h 2048"/>
                <a:gd name="T106" fmla="*/ 1198 w 7049"/>
                <a:gd name="T107" fmla="*/ 477 h 2048"/>
                <a:gd name="T108" fmla="*/ 908 w 7049"/>
                <a:gd name="T109" fmla="*/ 500 h 2048"/>
                <a:gd name="T110" fmla="*/ 692 w 7049"/>
                <a:gd name="T111" fmla="*/ 483 h 2048"/>
                <a:gd name="T112" fmla="*/ 602 w 7049"/>
                <a:gd name="T113" fmla="*/ 585 h 2048"/>
                <a:gd name="T114" fmla="*/ 407 w 7049"/>
                <a:gd name="T115" fmla="*/ 739 h 2048"/>
                <a:gd name="T116" fmla="*/ 390 w 7049"/>
                <a:gd name="T117" fmla="*/ 612 h 2048"/>
                <a:gd name="T118" fmla="*/ 150 w 7049"/>
                <a:gd name="T119" fmla="*/ 440 h 2048"/>
                <a:gd name="T120" fmla="*/ 71 w 7049"/>
                <a:gd name="T121" fmla="*/ 605 h 2048"/>
                <a:gd name="T122" fmla="*/ 112 w 7049"/>
                <a:gd name="T123" fmla="*/ 958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1" name="Freeform 23">
              <a:extLst>
                <a:ext uri="{FF2B5EF4-FFF2-40B4-BE49-F238E27FC236}">
                  <a16:creationId xmlns:a16="http://schemas.microsoft.com/office/drawing/2014/main" id="{A6600154-4180-4BC7-9BCD-216BF9F87250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5319714" y="2274888"/>
              <a:ext cx="280987" cy="247650"/>
            </a:xfrm>
            <a:custGeom>
              <a:avLst/>
              <a:gdLst>
                <a:gd name="T0" fmla="*/ 406 w 647"/>
                <a:gd name="T1" fmla="*/ 27 h 470"/>
                <a:gd name="T2" fmla="*/ 428 w 647"/>
                <a:gd name="T3" fmla="*/ 45 h 470"/>
                <a:gd name="T4" fmla="*/ 458 w 647"/>
                <a:gd name="T5" fmla="*/ 60 h 470"/>
                <a:gd name="T6" fmla="*/ 512 w 647"/>
                <a:gd name="T7" fmla="*/ 78 h 470"/>
                <a:gd name="T8" fmla="*/ 538 w 647"/>
                <a:gd name="T9" fmla="*/ 81 h 470"/>
                <a:gd name="T10" fmla="*/ 562 w 647"/>
                <a:gd name="T11" fmla="*/ 99 h 470"/>
                <a:gd name="T12" fmla="*/ 567 w 647"/>
                <a:gd name="T13" fmla="*/ 97 h 470"/>
                <a:gd name="T14" fmla="*/ 575 w 647"/>
                <a:gd name="T15" fmla="*/ 85 h 470"/>
                <a:gd name="T16" fmla="*/ 583 w 647"/>
                <a:gd name="T17" fmla="*/ 78 h 470"/>
                <a:gd name="T18" fmla="*/ 603 w 647"/>
                <a:gd name="T19" fmla="*/ 80 h 470"/>
                <a:gd name="T20" fmla="*/ 624 w 647"/>
                <a:gd name="T21" fmla="*/ 79 h 470"/>
                <a:gd name="T22" fmla="*/ 640 w 647"/>
                <a:gd name="T23" fmla="*/ 84 h 470"/>
                <a:gd name="T24" fmla="*/ 646 w 647"/>
                <a:gd name="T25" fmla="*/ 103 h 470"/>
                <a:gd name="T26" fmla="*/ 646 w 647"/>
                <a:gd name="T27" fmla="*/ 123 h 470"/>
                <a:gd name="T28" fmla="*/ 618 w 647"/>
                <a:gd name="T29" fmla="*/ 131 h 470"/>
                <a:gd name="T30" fmla="*/ 586 w 647"/>
                <a:gd name="T31" fmla="*/ 146 h 470"/>
                <a:gd name="T32" fmla="*/ 560 w 647"/>
                <a:gd name="T33" fmla="*/ 165 h 470"/>
                <a:gd name="T34" fmla="*/ 504 w 647"/>
                <a:gd name="T35" fmla="*/ 214 h 470"/>
                <a:gd name="T36" fmla="*/ 489 w 647"/>
                <a:gd name="T37" fmla="*/ 227 h 470"/>
                <a:gd name="T38" fmla="*/ 474 w 647"/>
                <a:gd name="T39" fmla="*/ 254 h 470"/>
                <a:gd name="T40" fmla="*/ 473 w 647"/>
                <a:gd name="T41" fmla="*/ 282 h 470"/>
                <a:gd name="T42" fmla="*/ 473 w 647"/>
                <a:gd name="T43" fmla="*/ 311 h 470"/>
                <a:gd name="T44" fmla="*/ 463 w 647"/>
                <a:gd name="T45" fmla="*/ 340 h 470"/>
                <a:gd name="T46" fmla="*/ 450 w 647"/>
                <a:gd name="T47" fmla="*/ 354 h 470"/>
                <a:gd name="T48" fmla="*/ 411 w 647"/>
                <a:gd name="T49" fmla="*/ 384 h 470"/>
                <a:gd name="T50" fmla="*/ 383 w 647"/>
                <a:gd name="T51" fmla="*/ 411 h 470"/>
                <a:gd name="T52" fmla="*/ 374 w 647"/>
                <a:gd name="T53" fmla="*/ 425 h 470"/>
                <a:gd name="T54" fmla="*/ 369 w 647"/>
                <a:gd name="T55" fmla="*/ 432 h 470"/>
                <a:gd name="T56" fmla="*/ 310 w 647"/>
                <a:gd name="T57" fmla="*/ 429 h 470"/>
                <a:gd name="T58" fmla="*/ 257 w 647"/>
                <a:gd name="T59" fmla="*/ 434 h 470"/>
                <a:gd name="T60" fmla="*/ 224 w 647"/>
                <a:gd name="T61" fmla="*/ 446 h 470"/>
                <a:gd name="T62" fmla="*/ 193 w 647"/>
                <a:gd name="T63" fmla="*/ 467 h 470"/>
                <a:gd name="T64" fmla="*/ 179 w 647"/>
                <a:gd name="T65" fmla="*/ 469 h 470"/>
                <a:gd name="T66" fmla="*/ 169 w 647"/>
                <a:gd name="T67" fmla="*/ 461 h 470"/>
                <a:gd name="T68" fmla="*/ 153 w 647"/>
                <a:gd name="T69" fmla="*/ 432 h 470"/>
                <a:gd name="T70" fmla="*/ 140 w 647"/>
                <a:gd name="T71" fmla="*/ 414 h 470"/>
                <a:gd name="T72" fmla="*/ 122 w 647"/>
                <a:gd name="T73" fmla="*/ 400 h 470"/>
                <a:gd name="T74" fmla="*/ 114 w 647"/>
                <a:gd name="T75" fmla="*/ 379 h 470"/>
                <a:gd name="T76" fmla="*/ 126 w 647"/>
                <a:gd name="T77" fmla="*/ 336 h 470"/>
                <a:gd name="T78" fmla="*/ 127 w 647"/>
                <a:gd name="T79" fmla="*/ 267 h 470"/>
                <a:gd name="T80" fmla="*/ 147 w 647"/>
                <a:gd name="T81" fmla="*/ 206 h 470"/>
                <a:gd name="T82" fmla="*/ 168 w 647"/>
                <a:gd name="T83" fmla="*/ 149 h 470"/>
                <a:gd name="T84" fmla="*/ 172 w 647"/>
                <a:gd name="T85" fmla="*/ 131 h 470"/>
                <a:gd name="T86" fmla="*/ 116 w 647"/>
                <a:gd name="T87" fmla="*/ 123 h 470"/>
                <a:gd name="T88" fmla="*/ 62 w 647"/>
                <a:gd name="T89" fmla="*/ 109 h 470"/>
                <a:gd name="T90" fmla="*/ 17 w 647"/>
                <a:gd name="T91" fmla="*/ 93 h 470"/>
                <a:gd name="T92" fmla="*/ 0 w 647"/>
                <a:gd name="T93" fmla="*/ 38 h 470"/>
                <a:gd name="T94" fmla="*/ 23 w 647"/>
                <a:gd name="T95" fmla="*/ 34 h 470"/>
                <a:gd name="T96" fmla="*/ 51 w 647"/>
                <a:gd name="T97" fmla="*/ 20 h 470"/>
                <a:gd name="T98" fmla="*/ 73 w 647"/>
                <a:gd name="T99" fmla="*/ 4 h 470"/>
                <a:gd name="T100" fmla="*/ 86 w 647"/>
                <a:gd name="T101" fmla="*/ 0 h 470"/>
                <a:gd name="T102" fmla="*/ 132 w 647"/>
                <a:gd name="T103" fmla="*/ 7 h 470"/>
                <a:gd name="T104" fmla="*/ 171 w 647"/>
                <a:gd name="T105" fmla="*/ 17 h 470"/>
                <a:gd name="T106" fmla="*/ 209 w 647"/>
                <a:gd name="T107" fmla="*/ 20 h 470"/>
                <a:gd name="T108" fmla="*/ 235 w 647"/>
                <a:gd name="T109" fmla="*/ 29 h 470"/>
                <a:gd name="T110" fmla="*/ 258 w 647"/>
                <a:gd name="T111" fmla="*/ 37 h 470"/>
                <a:gd name="T112" fmla="*/ 385 w 647"/>
                <a:gd name="T113" fmla="*/ 26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" name="Freeform 24">
              <a:extLst>
                <a:ext uri="{FF2B5EF4-FFF2-40B4-BE49-F238E27FC236}">
                  <a16:creationId xmlns:a16="http://schemas.microsoft.com/office/drawing/2014/main" id="{EEA0A7F7-B507-45C7-B1F8-2827A4436F09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7951788" y="3013076"/>
              <a:ext cx="207962" cy="455613"/>
            </a:xfrm>
            <a:custGeom>
              <a:avLst/>
              <a:gdLst>
                <a:gd name="T0" fmla="*/ 379 w 479"/>
                <a:gd name="T1" fmla="*/ 357 h 868"/>
                <a:gd name="T2" fmla="*/ 333 w 479"/>
                <a:gd name="T3" fmla="*/ 370 h 868"/>
                <a:gd name="T4" fmla="*/ 314 w 479"/>
                <a:gd name="T5" fmla="*/ 390 h 868"/>
                <a:gd name="T6" fmla="*/ 316 w 479"/>
                <a:gd name="T7" fmla="*/ 428 h 868"/>
                <a:gd name="T8" fmla="*/ 352 w 479"/>
                <a:gd name="T9" fmla="*/ 492 h 868"/>
                <a:gd name="T10" fmla="*/ 359 w 479"/>
                <a:gd name="T11" fmla="*/ 530 h 868"/>
                <a:gd name="T12" fmla="*/ 366 w 479"/>
                <a:gd name="T13" fmla="*/ 555 h 868"/>
                <a:gd name="T14" fmla="*/ 323 w 479"/>
                <a:gd name="T15" fmla="*/ 526 h 868"/>
                <a:gd name="T16" fmla="*/ 309 w 479"/>
                <a:gd name="T17" fmla="*/ 492 h 868"/>
                <a:gd name="T18" fmla="*/ 269 w 479"/>
                <a:gd name="T19" fmla="*/ 467 h 868"/>
                <a:gd name="T20" fmla="*/ 210 w 479"/>
                <a:gd name="T21" fmla="*/ 439 h 868"/>
                <a:gd name="T22" fmla="*/ 193 w 479"/>
                <a:gd name="T23" fmla="*/ 406 h 868"/>
                <a:gd name="T24" fmla="*/ 156 w 479"/>
                <a:gd name="T25" fmla="*/ 477 h 868"/>
                <a:gd name="T26" fmla="*/ 156 w 479"/>
                <a:gd name="T27" fmla="*/ 524 h 868"/>
                <a:gd name="T28" fmla="*/ 132 w 479"/>
                <a:gd name="T29" fmla="*/ 575 h 868"/>
                <a:gd name="T30" fmla="*/ 128 w 479"/>
                <a:gd name="T31" fmla="*/ 621 h 868"/>
                <a:gd name="T32" fmla="*/ 154 w 479"/>
                <a:gd name="T33" fmla="*/ 650 h 868"/>
                <a:gd name="T34" fmla="*/ 175 w 479"/>
                <a:gd name="T35" fmla="*/ 685 h 868"/>
                <a:gd name="T36" fmla="*/ 185 w 479"/>
                <a:gd name="T37" fmla="*/ 730 h 868"/>
                <a:gd name="T38" fmla="*/ 226 w 479"/>
                <a:gd name="T39" fmla="*/ 780 h 868"/>
                <a:gd name="T40" fmla="*/ 281 w 479"/>
                <a:gd name="T41" fmla="*/ 825 h 868"/>
                <a:gd name="T42" fmla="*/ 340 w 479"/>
                <a:gd name="T43" fmla="*/ 850 h 868"/>
                <a:gd name="T44" fmla="*/ 298 w 479"/>
                <a:gd name="T45" fmla="*/ 867 h 868"/>
                <a:gd name="T46" fmla="*/ 269 w 479"/>
                <a:gd name="T47" fmla="*/ 864 h 868"/>
                <a:gd name="T48" fmla="*/ 229 w 479"/>
                <a:gd name="T49" fmla="*/ 841 h 868"/>
                <a:gd name="T50" fmla="*/ 200 w 479"/>
                <a:gd name="T51" fmla="*/ 823 h 868"/>
                <a:gd name="T52" fmla="*/ 137 w 479"/>
                <a:gd name="T53" fmla="*/ 759 h 868"/>
                <a:gd name="T54" fmla="*/ 83 w 479"/>
                <a:gd name="T55" fmla="*/ 730 h 868"/>
                <a:gd name="T56" fmla="*/ 74 w 479"/>
                <a:gd name="T57" fmla="*/ 688 h 868"/>
                <a:gd name="T58" fmla="*/ 80 w 479"/>
                <a:gd name="T59" fmla="*/ 653 h 868"/>
                <a:gd name="T60" fmla="*/ 88 w 479"/>
                <a:gd name="T61" fmla="*/ 617 h 868"/>
                <a:gd name="T62" fmla="*/ 120 w 479"/>
                <a:gd name="T63" fmla="*/ 498 h 868"/>
                <a:gd name="T64" fmla="*/ 108 w 479"/>
                <a:gd name="T65" fmla="*/ 404 h 868"/>
                <a:gd name="T66" fmla="*/ 62 w 479"/>
                <a:gd name="T67" fmla="*/ 319 h 868"/>
                <a:gd name="T68" fmla="*/ 64 w 479"/>
                <a:gd name="T69" fmla="*/ 285 h 868"/>
                <a:gd name="T70" fmla="*/ 74 w 479"/>
                <a:gd name="T71" fmla="*/ 265 h 868"/>
                <a:gd name="T72" fmla="*/ 56 w 479"/>
                <a:gd name="T73" fmla="*/ 202 h 868"/>
                <a:gd name="T74" fmla="*/ 23 w 479"/>
                <a:gd name="T75" fmla="*/ 158 h 868"/>
                <a:gd name="T76" fmla="*/ 1 w 479"/>
                <a:gd name="T77" fmla="*/ 102 h 868"/>
                <a:gd name="T78" fmla="*/ 11 w 479"/>
                <a:gd name="T79" fmla="*/ 44 h 868"/>
                <a:gd name="T80" fmla="*/ 49 w 479"/>
                <a:gd name="T81" fmla="*/ 16 h 868"/>
                <a:gd name="T82" fmla="*/ 120 w 479"/>
                <a:gd name="T83" fmla="*/ 0 h 868"/>
                <a:gd name="T84" fmla="*/ 156 w 479"/>
                <a:gd name="T85" fmla="*/ 28 h 868"/>
                <a:gd name="T86" fmla="*/ 179 w 479"/>
                <a:gd name="T87" fmla="*/ 36 h 868"/>
                <a:gd name="T88" fmla="*/ 197 w 479"/>
                <a:gd name="T89" fmla="*/ 136 h 868"/>
                <a:gd name="T90" fmla="*/ 213 w 479"/>
                <a:gd name="T91" fmla="*/ 166 h 868"/>
                <a:gd name="T92" fmla="*/ 231 w 479"/>
                <a:gd name="T93" fmla="*/ 155 h 868"/>
                <a:gd name="T94" fmla="*/ 258 w 479"/>
                <a:gd name="T95" fmla="*/ 126 h 868"/>
                <a:gd name="T96" fmla="*/ 281 w 479"/>
                <a:gd name="T97" fmla="*/ 141 h 868"/>
                <a:gd name="T98" fmla="*/ 298 w 479"/>
                <a:gd name="T99" fmla="*/ 136 h 868"/>
                <a:gd name="T100" fmla="*/ 316 w 479"/>
                <a:gd name="T101" fmla="*/ 108 h 868"/>
                <a:gd name="T102" fmla="*/ 346 w 479"/>
                <a:gd name="T103" fmla="*/ 108 h 868"/>
                <a:gd name="T104" fmla="*/ 387 w 479"/>
                <a:gd name="T105" fmla="*/ 157 h 868"/>
                <a:gd name="T106" fmla="*/ 454 w 479"/>
                <a:gd name="T107" fmla="*/ 246 h 868"/>
                <a:gd name="T108" fmla="*/ 478 w 479"/>
                <a:gd name="T109" fmla="*/ 307 h 868"/>
                <a:gd name="T110" fmla="*/ 468 w 479"/>
                <a:gd name="T111" fmla="*/ 338 h 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3" name="Freeform 25">
              <a:extLst>
                <a:ext uri="{FF2B5EF4-FFF2-40B4-BE49-F238E27FC236}">
                  <a16:creationId xmlns:a16="http://schemas.microsoft.com/office/drawing/2014/main" id="{4F99C620-26D7-43BD-9735-55EF1FC79775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4060826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" name="Line 26" descr="Horizontal dunkel">
              <a:extLst>
                <a:ext uri="{FF2B5EF4-FFF2-40B4-BE49-F238E27FC236}">
                  <a16:creationId xmlns:a16="http://schemas.microsoft.com/office/drawing/2014/main" id="{217E25CA-0B78-42AA-A5F3-7F06016C4EBB}"/>
                </a:ext>
              </a:extLst>
            </p:cNvPr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2522539" y="2322514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" name="Freeform 27">
              <a:extLst>
                <a:ext uri="{FF2B5EF4-FFF2-40B4-BE49-F238E27FC236}">
                  <a16:creationId xmlns:a16="http://schemas.microsoft.com/office/drawing/2014/main" id="{F416C968-22A0-4F53-9D06-7147F4F5E3AB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2525714" y="2319338"/>
              <a:ext cx="3175" cy="55562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19 h 24"/>
                <a:gd name="T4" fmla="*/ 1 w 6"/>
                <a:gd name="T5" fmla="*/ 14 h 24"/>
                <a:gd name="T6" fmla="*/ 3 w 6"/>
                <a:gd name="T7" fmla="*/ 8 h 24"/>
                <a:gd name="T8" fmla="*/ 6 w 6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6" name="Freeform 28">
              <a:extLst>
                <a:ext uri="{FF2B5EF4-FFF2-40B4-BE49-F238E27FC236}">
                  <a16:creationId xmlns:a16="http://schemas.microsoft.com/office/drawing/2014/main" id="{6955D6F5-0FB1-4563-AB7D-053224B10DB2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2501901" y="2373313"/>
              <a:ext cx="23813" cy="57150"/>
            </a:xfrm>
            <a:custGeom>
              <a:avLst/>
              <a:gdLst>
                <a:gd name="T0" fmla="*/ 0 w 47"/>
                <a:gd name="T1" fmla="*/ 24 h 67"/>
                <a:gd name="T2" fmla="*/ 0 w 47"/>
                <a:gd name="T3" fmla="*/ 30 h 67"/>
                <a:gd name="T4" fmla="*/ 2 w 47"/>
                <a:gd name="T5" fmla="*/ 36 h 67"/>
                <a:gd name="T6" fmla="*/ 3 w 47"/>
                <a:gd name="T7" fmla="*/ 42 h 67"/>
                <a:gd name="T8" fmla="*/ 5 w 47"/>
                <a:gd name="T9" fmla="*/ 47 h 67"/>
                <a:gd name="T10" fmla="*/ 9 w 47"/>
                <a:gd name="T11" fmla="*/ 58 h 67"/>
                <a:gd name="T12" fmla="*/ 14 w 47"/>
                <a:gd name="T13" fmla="*/ 67 h 67"/>
                <a:gd name="T14" fmla="*/ 47 w 47"/>
                <a:gd name="T15" fmla="*/ 67 h 67"/>
                <a:gd name="T16" fmla="*/ 47 w 47"/>
                <a:gd name="T17" fmla="*/ 0 h 67"/>
                <a:gd name="T18" fmla="*/ 36 w 47"/>
                <a:gd name="T19" fmla="*/ 2 h 67"/>
                <a:gd name="T20" fmla="*/ 26 w 47"/>
                <a:gd name="T21" fmla="*/ 4 h 67"/>
                <a:gd name="T22" fmla="*/ 18 w 47"/>
                <a:gd name="T23" fmla="*/ 7 h 67"/>
                <a:gd name="T24" fmla="*/ 11 w 47"/>
                <a:gd name="T25" fmla="*/ 9 h 67"/>
                <a:gd name="T26" fmla="*/ 6 w 47"/>
                <a:gd name="T27" fmla="*/ 12 h 67"/>
                <a:gd name="T28" fmla="*/ 3 w 47"/>
                <a:gd name="T29" fmla="*/ 16 h 67"/>
                <a:gd name="T30" fmla="*/ 0 w 47"/>
                <a:gd name="T31" fmla="*/ 20 h 67"/>
                <a:gd name="T32" fmla="*/ 0 w 47"/>
                <a:gd name="T33" fmla="*/ 2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7" name="Freeform 29">
              <a:extLst>
                <a:ext uri="{FF2B5EF4-FFF2-40B4-BE49-F238E27FC236}">
                  <a16:creationId xmlns:a16="http://schemas.microsoft.com/office/drawing/2014/main" id="{5BF88A0E-833F-40E7-A69C-A49C980AAB0A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3827463" y="2368550"/>
              <a:ext cx="49212" cy="57150"/>
            </a:xfrm>
            <a:custGeom>
              <a:avLst/>
              <a:gdLst>
                <a:gd name="T0" fmla="*/ 0 w 112"/>
                <a:gd name="T1" fmla="*/ 36 h 36"/>
                <a:gd name="T2" fmla="*/ 59 w 112"/>
                <a:gd name="T3" fmla="*/ 36 h 36"/>
                <a:gd name="T4" fmla="*/ 67 w 112"/>
                <a:gd name="T5" fmla="*/ 30 h 36"/>
                <a:gd name="T6" fmla="*/ 75 w 112"/>
                <a:gd name="T7" fmla="*/ 26 h 36"/>
                <a:gd name="T8" fmla="*/ 84 w 112"/>
                <a:gd name="T9" fmla="*/ 23 h 36"/>
                <a:gd name="T10" fmla="*/ 91 w 112"/>
                <a:gd name="T11" fmla="*/ 20 h 36"/>
                <a:gd name="T12" fmla="*/ 98 w 112"/>
                <a:gd name="T13" fmla="*/ 17 h 36"/>
                <a:gd name="T14" fmla="*/ 104 w 112"/>
                <a:gd name="T15" fmla="*/ 13 h 36"/>
                <a:gd name="T16" fmla="*/ 107 w 112"/>
                <a:gd name="T17" fmla="*/ 11 h 36"/>
                <a:gd name="T18" fmla="*/ 109 w 112"/>
                <a:gd name="T19" fmla="*/ 8 h 36"/>
                <a:gd name="T20" fmla="*/ 111 w 112"/>
                <a:gd name="T21" fmla="*/ 4 h 36"/>
                <a:gd name="T22" fmla="*/ 112 w 112"/>
                <a:gd name="T23" fmla="*/ 0 h 36"/>
                <a:gd name="T24" fmla="*/ 100 w 112"/>
                <a:gd name="T25" fmla="*/ 0 h 36"/>
                <a:gd name="T26" fmla="*/ 85 w 112"/>
                <a:gd name="T27" fmla="*/ 1 h 36"/>
                <a:gd name="T28" fmla="*/ 67 w 112"/>
                <a:gd name="T29" fmla="*/ 3 h 36"/>
                <a:gd name="T30" fmla="*/ 48 w 112"/>
                <a:gd name="T31" fmla="*/ 7 h 36"/>
                <a:gd name="T32" fmla="*/ 40 w 112"/>
                <a:gd name="T33" fmla="*/ 9 h 36"/>
                <a:gd name="T34" fmla="*/ 31 w 112"/>
                <a:gd name="T35" fmla="*/ 11 h 36"/>
                <a:gd name="T36" fmla="*/ 23 w 112"/>
                <a:gd name="T37" fmla="*/ 14 h 36"/>
                <a:gd name="T38" fmla="*/ 17 w 112"/>
                <a:gd name="T39" fmla="*/ 18 h 36"/>
                <a:gd name="T40" fmla="*/ 10 w 112"/>
                <a:gd name="T41" fmla="*/ 22 h 36"/>
                <a:gd name="T42" fmla="*/ 6 w 112"/>
                <a:gd name="T43" fmla="*/ 26 h 36"/>
                <a:gd name="T44" fmla="*/ 1 w 112"/>
                <a:gd name="T45" fmla="*/ 31 h 36"/>
                <a:gd name="T46" fmla="*/ 0 w 112"/>
                <a:gd name="T4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8" name="Freeform 30">
              <a:extLst>
                <a:ext uri="{FF2B5EF4-FFF2-40B4-BE49-F238E27FC236}">
                  <a16:creationId xmlns:a16="http://schemas.microsoft.com/office/drawing/2014/main" id="{A0DC2EF8-79AD-4AF6-A3A5-5144E696DB1B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6565901" y="1925639"/>
              <a:ext cx="874713" cy="452437"/>
            </a:xfrm>
            <a:custGeom>
              <a:avLst/>
              <a:gdLst>
                <a:gd name="T0" fmla="*/ 433 w 2006"/>
                <a:gd name="T1" fmla="*/ 765 h 863"/>
                <a:gd name="T2" fmla="*/ 412 w 2006"/>
                <a:gd name="T3" fmla="*/ 764 h 863"/>
                <a:gd name="T4" fmla="*/ 390 w 2006"/>
                <a:gd name="T5" fmla="*/ 794 h 863"/>
                <a:gd name="T6" fmla="*/ 375 w 2006"/>
                <a:gd name="T7" fmla="*/ 792 h 863"/>
                <a:gd name="T8" fmla="*/ 370 w 2006"/>
                <a:gd name="T9" fmla="*/ 751 h 863"/>
                <a:gd name="T10" fmla="*/ 324 w 2006"/>
                <a:gd name="T11" fmla="*/ 724 h 863"/>
                <a:gd name="T12" fmla="*/ 312 w 2006"/>
                <a:gd name="T13" fmla="*/ 708 h 863"/>
                <a:gd name="T14" fmla="*/ 288 w 2006"/>
                <a:gd name="T15" fmla="*/ 692 h 863"/>
                <a:gd name="T16" fmla="*/ 251 w 2006"/>
                <a:gd name="T17" fmla="*/ 641 h 863"/>
                <a:gd name="T18" fmla="*/ 232 w 2006"/>
                <a:gd name="T19" fmla="*/ 610 h 863"/>
                <a:gd name="T20" fmla="*/ 253 w 2006"/>
                <a:gd name="T21" fmla="*/ 594 h 863"/>
                <a:gd name="T22" fmla="*/ 279 w 2006"/>
                <a:gd name="T23" fmla="*/ 573 h 863"/>
                <a:gd name="T24" fmla="*/ 338 w 2006"/>
                <a:gd name="T25" fmla="*/ 544 h 863"/>
                <a:gd name="T26" fmla="*/ 319 w 2006"/>
                <a:gd name="T27" fmla="*/ 487 h 863"/>
                <a:gd name="T28" fmla="*/ 258 w 2006"/>
                <a:gd name="T29" fmla="*/ 475 h 863"/>
                <a:gd name="T30" fmla="*/ 209 w 2006"/>
                <a:gd name="T31" fmla="*/ 470 h 863"/>
                <a:gd name="T32" fmla="*/ 157 w 2006"/>
                <a:gd name="T33" fmla="*/ 495 h 863"/>
                <a:gd name="T34" fmla="*/ 106 w 2006"/>
                <a:gd name="T35" fmla="*/ 505 h 863"/>
                <a:gd name="T36" fmla="*/ 27 w 2006"/>
                <a:gd name="T37" fmla="*/ 413 h 863"/>
                <a:gd name="T38" fmla="*/ 20 w 2006"/>
                <a:gd name="T39" fmla="*/ 283 h 863"/>
                <a:gd name="T40" fmla="*/ 113 w 2006"/>
                <a:gd name="T41" fmla="*/ 259 h 863"/>
                <a:gd name="T42" fmla="*/ 292 w 2006"/>
                <a:gd name="T43" fmla="*/ 222 h 863"/>
                <a:gd name="T44" fmla="*/ 498 w 2006"/>
                <a:gd name="T45" fmla="*/ 253 h 863"/>
                <a:gd name="T46" fmla="*/ 717 w 2006"/>
                <a:gd name="T47" fmla="*/ 253 h 863"/>
                <a:gd name="T48" fmla="*/ 658 w 2006"/>
                <a:gd name="T49" fmla="*/ 185 h 863"/>
                <a:gd name="T50" fmla="*/ 830 w 2006"/>
                <a:gd name="T51" fmla="*/ 68 h 863"/>
                <a:gd name="T52" fmla="*/ 1050 w 2006"/>
                <a:gd name="T53" fmla="*/ 13 h 863"/>
                <a:gd name="T54" fmla="*/ 1176 w 2006"/>
                <a:gd name="T55" fmla="*/ 61 h 863"/>
                <a:gd name="T56" fmla="*/ 1296 w 2006"/>
                <a:gd name="T57" fmla="*/ 111 h 863"/>
                <a:gd name="T58" fmla="*/ 1442 w 2006"/>
                <a:gd name="T59" fmla="*/ 99 h 863"/>
                <a:gd name="T60" fmla="*/ 1647 w 2006"/>
                <a:gd name="T61" fmla="*/ 271 h 863"/>
                <a:gd name="T62" fmla="*/ 1793 w 2006"/>
                <a:gd name="T63" fmla="*/ 265 h 863"/>
                <a:gd name="T64" fmla="*/ 2000 w 2006"/>
                <a:gd name="T65" fmla="*/ 339 h 863"/>
                <a:gd name="T66" fmla="*/ 2002 w 2006"/>
                <a:gd name="T67" fmla="*/ 381 h 863"/>
                <a:gd name="T68" fmla="*/ 1981 w 2006"/>
                <a:gd name="T69" fmla="*/ 399 h 863"/>
                <a:gd name="T70" fmla="*/ 1960 w 2006"/>
                <a:gd name="T71" fmla="*/ 404 h 863"/>
                <a:gd name="T72" fmla="*/ 1963 w 2006"/>
                <a:gd name="T73" fmla="*/ 425 h 863"/>
                <a:gd name="T74" fmla="*/ 1985 w 2006"/>
                <a:gd name="T75" fmla="*/ 466 h 863"/>
                <a:gd name="T76" fmla="*/ 1979 w 2006"/>
                <a:gd name="T77" fmla="*/ 478 h 863"/>
                <a:gd name="T78" fmla="*/ 1939 w 2006"/>
                <a:gd name="T79" fmla="*/ 481 h 863"/>
                <a:gd name="T80" fmla="*/ 1893 w 2006"/>
                <a:gd name="T81" fmla="*/ 474 h 863"/>
                <a:gd name="T82" fmla="*/ 1864 w 2006"/>
                <a:gd name="T83" fmla="*/ 474 h 863"/>
                <a:gd name="T84" fmla="*/ 1878 w 2006"/>
                <a:gd name="T85" fmla="*/ 548 h 863"/>
                <a:gd name="T86" fmla="*/ 1880 w 2006"/>
                <a:gd name="T87" fmla="*/ 586 h 863"/>
                <a:gd name="T88" fmla="*/ 1789 w 2006"/>
                <a:gd name="T89" fmla="*/ 588 h 863"/>
                <a:gd name="T90" fmla="*/ 1768 w 2006"/>
                <a:gd name="T91" fmla="*/ 604 h 863"/>
                <a:gd name="T92" fmla="*/ 1795 w 2006"/>
                <a:gd name="T93" fmla="*/ 619 h 863"/>
                <a:gd name="T94" fmla="*/ 1814 w 2006"/>
                <a:gd name="T95" fmla="*/ 650 h 863"/>
                <a:gd name="T96" fmla="*/ 1834 w 2006"/>
                <a:gd name="T97" fmla="*/ 689 h 863"/>
                <a:gd name="T98" fmla="*/ 1837 w 2006"/>
                <a:gd name="T99" fmla="*/ 706 h 863"/>
                <a:gd name="T100" fmla="*/ 1837 w 2006"/>
                <a:gd name="T101" fmla="*/ 754 h 863"/>
                <a:gd name="T102" fmla="*/ 1741 w 2006"/>
                <a:gd name="T103" fmla="*/ 740 h 863"/>
                <a:gd name="T104" fmla="*/ 1475 w 2006"/>
                <a:gd name="T105" fmla="*/ 764 h 863"/>
                <a:gd name="T106" fmla="*/ 1316 w 2006"/>
                <a:gd name="T107" fmla="*/ 795 h 863"/>
                <a:gd name="T108" fmla="*/ 1142 w 2006"/>
                <a:gd name="T109" fmla="*/ 838 h 863"/>
                <a:gd name="T110" fmla="*/ 963 w 2006"/>
                <a:gd name="T111" fmla="*/ 697 h 863"/>
                <a:gd name="T112" fmla="*/ 684 w 2006"/>
                <a:gd name="T113" fmla="*/ 586 h 863"/>
                <a:gd name="T114" fmla="*/ 584 w 2006"/>
                <a:gd name="T115" fmla="*/ 832 h 8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9" name="Freeform 31">
              <a:extLst>
                <a:ext uri="{FF2B5EF4-FFF2-40B4-BE49-F238E27FC236}">
                  <a16:creationId xmlns:a16="http://schemas.microsoft.com/office/drawing/2014/main" id="{68176A44-02FD-4541-A638-B1D9A951D220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6796089" y="2228850"/>
              <a:ext cx="409575" cy="249238"/>
            </a:xfrm>
            <a:custGeom>
              <a:avLst/>
              <a:gdLst>
                <a:gd name="T0" fmla="*/ 638 w 950"/>
                <a:gd name="T1" fmla="*/ 443 h 468"/>
                <a:gd name="T2" fmla="*/ 558 w 950"/>
                <a:gd name="T3" fmla="*/ 418 h 468"/>
                <a:gd name="T4" fmla="*/ 471 w 950"/>
                <a:gd name="T5" fmla="*/ 376 h 468"/>
                <a:gd name="T6" fmla="*/ 392 w 950"/>
                <a:gd name="T7" fmla="*/ 307 h 468"/>
                <a:gd name="T8" fmla="*/ 305 w 950"/>
                <a:gd name="T9" fmla="*/ 258 h 468"/>
                <a:gd name="T10" fmla="*/ 253 w 950"/>
                <a:gd name="T11" fmla="*/ 209 h 468"/>
                <a:gd name="T12" fmla="*/ 186 w 950"/>
                <a:gd name="T13" fmla="*/ 172 h 468"/>
                <a:gd name="T14" fmla="*/ 133 w 950"/>
                <a:gd name="T15" fmla="*/ 190 h 468"/>
                <a:gd name="T16" fmla="*/ 99 w 950"/>
                <a:gd name="T17" fmla="*/ 240 h 468"/>
                <a:gd name="T18" fmla="*/ 40 w 950"/>
                <a:gd name="T19" fmla="*/ 246 h 468"/>
                <a:gd name="T20" fmla="*/ 0 w 950"/>
                <a:gd name="T21" fmla="*/ 24 h 468"/>
                <a:gd name="T22" fmla="*/ 79 w 950"/>
                <a:gd name="T23" fmla="*/ 6 h 468"/>
                <a:gd name="T24" fmla="*/ 133 w 950"/>
                <a:gd name="T25" fmla="*/ 55 h 468"/>
                <a:gd name="T26" fmla="*/ 157 w 950"/>
                <a:gd name="T27" fmla="*/ 15 h 468"/>
                <a:gd name="T28" fmla="*/ 332 w 950"/>
                <a:gd name="T29" fmla="*/ 117 h 468"/>
                <a:gd name="T30" fmla="*/ 438 w 950"/>
                <a:gd name="T31" fmla="*/ 117 h 468"/>
                <a:gd name="T32" fmla="*/ 525 w 950"/>
                <a:gd name="T33" fmla="*/ 135 h 468"/>
                <a:gd name="T34" fmla="*/ 597 w 950"/>
                <a:gd name="T35" fmla="*/ 228 h 468"/>
                <a:gd name="T36" fmla="*/ 671 w 950"/>
                <a:gd name="T37" fmla="*/ 252 h 468"/>
                <a:gd name="T38" fmla="*/ 730 w 950"/>
                <a:gd name="T39" fmla="*/ 258 h 468"/>
                <a:gd name="T40" fmla="*/ 791 w 950"/>
                <a:gd name="T41" fmla="*/ 215 h 468"/>
                <a:gd name="T42" fmla="*/ 843 w 950"/>
                <a:gd name="T43" fmla="*/ 196 h 468"/>
                <a:gd name="T44" fmla="*/ 824 w 950"/>
                <a:gd name="T45" fmla="*/ 252 h 468"/>
                <a:gd name="T46" fmla="*/ 870 w 950"/>
                <a:gd name="T47" fmla="*/ 240 h 468"/>
                <a:gd name="T48" fmla="*/ 950 w 950"/>
                <a:gd name="T49" fmla="*/ 283 h 468"/>
                <a:gd name="T50" fmla="*/ 883 w 950"/>
                <a:gd name="T51" fmla="*/ 320 h 468"/>
                <a:gd name="T52" fmla="*/ 824 w 950"/>
                <a:gd name="T53" fmla="*/ 283 h 468"/>
                <a:gd name="T54" fmla="*/ 764 w 950"/>
                <a:gd name="T55" fmla="*/ 277 h 468"/>
                <a:gd name="T56" fmla="*/ 737 w 950"/>
                <a:gd name="T57" fmla="*/ 320 h 468"/>
                <a:gd name="T58" fmla="*/ 684 w 950"/>
                <a:gd name="T59" fmla="*/ 357 h 468"/>
                <a:gd name="T60" fmla="*/ 710 w 950"/>
                <a:gd name="T61" fmla="*/ 388 h 468"/>
                <a:gd name="T62" fmla="*/ 743 w 950"/>
                <a:gd name="T63" fmla="*/ 437 h 468"/>
                <a:gd name="T64" fmla="*/ 717 w 950"/>
                <a:gd name="T65" fmla="*/ 468 h 468"/>
                <a:gd name="T66" fmla="*/ 703 w 950"/>
                <a:gd name="T67" fmla="*/ 465 h 468"/>
                <a:gd name="T68" fmla="*/ 684 w 950"/>
                <a:gd name="T69" fmla="*/ 461 h 468"/>
                <a:gd name="T70" fmla="*/ 658 w 950"/>
                <a:gd name="T71" fmla="*/ 46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" name="Freeform 32">
              <a:extLst>
                <a:ext uri="{FF2B5EF4-FFF2-40B4-BE49-F238E27FC236}">
                  <a16:creationId xmlns:a16="http://schemas.microsoft.com/office/drawing/2014/main" id="{E29CC0B0-C4E3-4994-A23B-04895A7A532F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5603876" y="3232151"/>
              <a:ext cx="296863" cy="288925"/>
            </a:xfrm>
            <a:custGeom>
              <a:avLst/>
              <a:gdLst>
                <a:gd name="T0" fmla="*/ 6 w 671"/>
                <a:gd name="T1" fmla="*/ 383 h 549"/>
                <a:gd name="T2" fmla="*/ 8 w 671"/>
                <a:gd name="T3" fmla="*/ 316 h 549"/>
                <a:gd name="T4" fmla="*/ 17 w 671"/>
                <a:gd name="T5" fmla="*/ 287 h 549"/>
                <a:gd name="T6" fmla="*/ 52 w 671"/>
                <a:gd name="T7" fmla="*/ 238 h 549"/>
                <a:gd name="T8" fmla="*/ 71 w 671"/>
                <a:gd name="T9" fmla="*/ 205 h 549"/>
                <a:gd name="T10" fmla="*/ 73 w 671"/>
                <a:gd name="T11" fmla="*/ 167 h 549"/>
                <a:gd name="T12" fmla="*/ 73 w 671"/>
                <a:gd name="T13" fmla="*/ 137 h 549"/>
                <a:gd name="T14" fmla="*/ 54 w 671"/>
                <a:gd name="T15" fmla="*/ 108 h 549"/>
                <a:gd name="T16" fmla="*/ 61 w 671"/>
                <a:gd name="T17" fmla="*/ 79 h 549"/>
                <a:gd name="T18" fmla="*/ 76 w 671"/>
                <a:gd name="T19" fmla="*/ 50 h 549"/>
                <a:gd name="T20" fmla="*/ 96 w 671"/>
                <a:gd name="T21" fmla="*/ 25 h 549"/>
                <a:gd name="T22" fmla="*/ 120 w 671"/>
                <a:gd name="T23" fmla="*/ 7 h 549"/>
                <a:gd name="T24" fmla="*/ 146 w 671"/>
                <a:gd name="T25" fmla="*/ 0 h 549"/>
                <a:gd name="T26" fmla="*/ 173 w 671"/>
                <a:gd name="T27" fmla="*/ 5 h 549"/>
                <a:gd name="T28" fmla="*/ 206 w 671"/>
                <a:gd name="T29" fmla="*/ 26 h 549"/>
                <a:gd name="T30" fmla="*/ 236 w 671"/>
                <a:gd name="T31" fmla="*/ 45 h 549"/>
                <a:gd name="T32" fmla="*/ 259 w 671"/>
                <a:gd name="T33" fmla="*/ 50 h 549"/>
                <a:gd name="T34" fmla="*/ 272 w 671"/>
                <a:gd name="T35" fmla="*/ 44 h 549"/>
                <a:gd name="T36" fmla="*/ 284 w 671"/>
                <a:gd name="T37" fmla="*/ 35 h 549"/>
                <a:gd name="T38" fmla="*/ 300 w 671"/>
                <a:gd name="T39" fmla="*/ 32 h 549"/>
                <a:gd name="T40" fmla="*/ 318 w 671"/>
                <a:gd name="T41" fmla="*/ 39 h 549"/>
                <a:gd name="T42" fmla="*/ 337 w 671"/>
                <a:gd name="T43" fmla="*/ 65 h 549"/>
                <a:gd name="T44" fmla="*/ 353 w 671"/>
                <a:gd name="T45" fmla="*/ 79 h 549"/>
                <a:gd name="T46" fmla="*/ 370 w 671"/>
                <a:gd name="T47" fmla="*/ 81 h 549"/>
                <a:gd name="T48" fmla="*/ 381 w 671"/>
                <a:gd name="T49" fmla="*/ 75 h 549"/>
                <a:gd name="T50" fmla="*/ 397 w 671"/>
                <a:gd name="T51" fmla="*/ 56 h 549"/>
                <a:gd name="T52" fmla="*/ 419 w 671"/>
                <a:gd name="T53" fmla="*/ 38 h 549"/>
                <a:gd name="T54" fmla="*/ 458 w 671"/>
                <a:gd name="T55" fmla="*/ 22 h 549"/>
                <a:gd name="T56" fmla="*/ 487 w 671"/>
                <a:gd name="T57" fmla="*/ 25 h 549"/>
                <a:gd name="T58" fmla="*/ 511 w 671"/>
                <a:gd name="T59" fmla="*/ 35 h 549"/>
                <a:gd name="T60" fmla="*/ 537 w 671"/>
                <a:gd name="T61" fmla="*/ 43 h 549"/>
                <a:gd name="T62" fmla="*/ 571 w 671"/>
                <a:gd name="T63" fmla="*/ 39 h 549"/>
                <a:gd name="T64" fmla="*/ 646 w 671"/>
                <a:gd name="T65" fmla="*/ 67 h 549"/>
                <a:gd name="T66" fmla="*/ 665 w 671"/>
                <a:gd name="T67" fmla="*/ 105 h 549"/>
                <a:gd name="T68" fmla="*/ 623 w 671"/>
                <a:gd name="T69" fmla="*/ 183 h 549"/>
                <a:gd name="T70" fmla="*/ 593 w 671"/>
                <a:gd name="T71" fmla="*/ 233 h 549"/>
                <a:gd name="T72" fmla="*/ 570 w 671"/>
                <a:gd name="T73" fmla="*/ 291 h 549"/>
                <a:gd name="T74" fmla="*/ 550 w 671"/>
                <a:gd name="T75" fmla="*/ 343 h 549"/>
                <a:gd name="T76" fmla="*/ 525 w 671"/>
                <a:gd name="T77" fmla="*/ 407 h 549"/>
                <a:gd name="T78" fmla="*/ 516 w 671"/>
                <a:gd name="T79" fmla="*/ 422 h 549"/>
                <a:gd name="T80" fmla="*/ 500 w 671"/>
                <a:gd name="T81" fmla="*/ 439 h 549"/>
                <a:gd name="T82" fmla="*/ 482 w 671"/>
                <a:gd name="T83" fmla="*/ 443 h 549"/>
                <a:gd name="T84" fmla="*/ 459 w 671"/>
                <a:gd name="T85" fmla="*/ 432 h 549"/>
                <a:gd name="T86" fmla="*/ 440 w 671"/>
                <a:gd name="T87" fmla="*/ 421 h 549"/>
                <a:gd name="T88" fmla="*/ 408 w 671"/>
                <a:gd name="T89" fmla="*/ 424 h 549"/>
                <a:gd name="T90" fmla="*/ 381 w 671"/>
                <a:gd name="T91" fmla="*/ 441 h 549"/>
                <a:gd name="T92" fmla="*/ 364 w 671"/>
                <a:gd name="T93" fmla="*/ 469 h 549"/>
                <a:gd name="T94" fmla="*/ 342 w 671"/>
                <a:gd name="T95" fmla="*/ 521 h 549"/>
                <a:gd name="T96" fmla="*/ 325 w 671"/>
                <a:gd name="T97" fmla="*/ 549 h 549"/>
                <a:gd name="T98" fmla="*/ 229 w 671"/>
                <a:gd name="T99" fmla="*/ 546 h 549"/>
                <a:gd name="T100" fmla="*/ 217 w 671"/>
                <a:gd name="T101" fmla="*/ 548 h 549"/>
                <a:gd name="T102" fmla="*/ 179 w 671"/>
                <a:gd name="T103" fmla="*/ 543 h 549"/>
                <a:gd name="T104" fmla="*/ 161 w 671"/>
                <a:gd name="T105" fmla="*/ 540 h 549"/>
                <a:gd name="T106" fmla="*/ 144 w 671"/>
                <a:gd name="T107" fmla="*/ 531 h 549"/>
                <a:gd name="T108" fmla="*/ 129 w 671"/>
                <a:gd name="T109" fmla="*/ 515 h 549"/>
                <a:gd name="T110" fmla="*/ 119 w 671"/>
                <a:gd name="T111" fmla="*/ 496 h 549"/>
                <a:gd name="T112" fmla="*/ 113 w 671"/>
                <a:gd name="T113" fmla="*/ 472 h 549"/>
                <a:gd name="T114" fmla="*/ 100 w 671"/>
                <a:gd name="T115" fmla="*/ 460 h 549"/>
                <a:gd name="T116" fmla="*/ 83 w 671"/>
                <a:gd name="T117" fmla="*/ 447 h 549"/>
                <a:gd name="T118" fmla="*/ 63 w 671"/>
                <a:gd name="T119" fmla="*/ 432 h 549"/>
                <a:gd name="T120" fmla="*/ 39 w 671"/>
                <a:gd name="T121" fmla="*/ 429 h 549"/>
                <a:gd name="T122" fmla="*/ 0 w 671"/>
                <a:gd name="T123" fmla="*/ 43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" name="Freeform 33">
              <a:extLst>
                <a:ext uri="{FF2B5EF4-FFF2-40B4-BE49-F238E27FC236}">
                  <a16:creationId xmlns:a16="http://schemas.microsoft.com/office/drawing/2014/main" id="{36E4D7DD-3024-44BD-ACBC-1993979D4B48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6446838" y="3097213"/>
              <a:ext cx="152400" cy="169862"/>
            </a:xfrm>
            <a:custGeom>
              <a:avLst/>
              <a:gdLst>
                <a:gd name="T0" fmla="*/ 326 w 358"/>
                <a:gd name="T1" fmla="*/ 324 h 327"/>
                <a:gd name="T2" fmla="*/ 331 w 358"/>
                <a:gd name="T3" fmla="*/ 321 h 327"/>
                <a:gd name="T4" fmla="*/ 337 w 358"/>
                <a:gd name="T5" fmla="*/ 318 h 327"/>
                <a:gd name="T6" fmla="*/ 346 w 358"/>
                <a:gd name="T7" fmla="*/ 318 h 327"/>
                <a:gd name="T8" fmla="*/ 356 w 358"/>
                <a:gd name="T9" fmla="*/ 324 h 327"/>
                <a:gd name="T10" fmla="*/ 319 w 358"/>
                <a:gd name="T11" fmla="*/ 285 h 327"/>
                <a:gd name="T12" fmla="*/ 278 w 358"/>
                <a:gd name="T13" fmla="*/ 235 h 327"/>
                <a:gd name="T14" fmla="*/ 253 w 358"/>
                <a:gd name="T15" fmla="*/ 204 h 327"/>
                <a:gd name="T16" fmla="*/ 232 w 358"/>
                <a:gd name="T17" fmla="*/ 186 h 327"/>
                <a:gd name="T18" fmla="*/ 219 w 358"/>
                <a:gd name="T19" fmla="*/ 181 h 327"/>
                <a:gd name="T20" fmla="*/ 208 w 358"/>
                <a:gd name="T21" fmla="*/ 180 h 327"/>
                <a:gd name="T22" fmla="*/ 201 w 358"/>
                <a:gd name="T23" fmla="*/ 179 h 327"/>
                <a:gd name="T24" fmla="*/ 199 w 358"/>
                <a:gd name="T25" fmla="*/ 174 h 327"/>
                <a:gd name="T26" fmla="*/ 198 w 358"/>
                <a:gd name="T27" fmla="*/ 170 h 327"/>
                <a:gd name="T28" fmla="*/ 195 w 358"/>
                <a:gd name="T29" fmla="*/ 169 h 327"/>
                <a:gd name="T30" fmla="*/ 184 w 358"/>
                <a:gd name="T31" fmla="*/ 172 h 327"/>
                <a:gd name="T32" fmla="*/ 171 w 358"/>
                <a:gd name="T33" fmla="*/ 172 h 327"/>
                <a:gd name="T34" fmla="*/ 165 w 358"/>
                <a:gd name="T35" fmla="*/ 168 h 327"/>
                <a:gd name="T36" fmla="*/ 160 w 358"/>
                <a:gd name="T37" fmla="*/ 161 h 327"/>
                <a:gd name="T38" fmla="*/ 152 w 358"/>
                <a:gd name="T39" fmla="*/ 144 h 327"/>
                <a:gd name="T40" fmla="*/ 143 w 358"/>
                <a:gd name="T41" fmla="*/ 131 h 327"/>
                <a:gd name="T42" fmla="*/ 133 w 358"/>
                <a:gd name="T43" fmla="*/ 119 h 327"/>
                <a:gd name="T44" fmla="*/ 127 w 358"/>
                <a:gd name="T45" fmla="*/ 105 h 327"/>
                <a:gd name="T46" fmla="*/ 122 w 358"/>
                <a:gd name="T47" fmla="*/ 84 h 327"/>
                <a:gd name="T48" fmla="*/ 119 w 358"/>
                <a:gd name="T49" fmla="*/ 53 h 327"/>
                <a:gd name="T50" fmla="*/ 117 w 358"/>
                <a:gd name="T51" fmla="*/ 23 h 327"/>
                <a:gd name="T52" fmla="*/ 112 w 358"/>
                <a:gd name="T53" fmla="*/ 0 h 327"/>
                <a:gd name="T54" fmla="*/ 73 w 358"/>
                <a:gd name="T55" fmla="*/ 26 h 327"/>
                <a:gd name="T56" fmla="*/ 61 w 358"/>
                <a:gd name="T57" fmla="*/ 33 h 327"/>
                <a:gd name="T58" fmla="*/ 33 w 358"/>
                <a:gd name="T59" fmla="*/ 50 h 327"/>
                <a:gd name="T60" fmla="*/ 21 w 358"/>
                <a:gd name="T61" fmla="*/ 61 h 327"/>
                <a:gd name="T62" fmla="*/ 17 w 358"/>
                <a:gd name="T63" fmla="*/ 72 h 327"/>
                <a:gd name="T64" fmla="*/ 16 w 358"/>
                <a:gd name="T65" fmla="*/ 83 h 327"/>
                <a:gd name="T66" fmla="*/ 20 w 358"/>
                <a:gd name="T67" fmla="*/ 93 h 327"/>
                <a:gd name="T68" fmla="*/ 22 w 358"/>
                <a:gd name="T69" fmla="*/ 100 h 327"/>
                <a:gd name="T70" fmla="*/ 20 w 358"/>
                <a:gd name="T71" fmla="*/ 110 h 327"/>
                <a:gd name="T72" fmla="*/ 15 w 358"/>
                <a:gd name="T73" fmla="*/ 123 h 327"/>
                <a:gd name="T74" fmla="*/ 7 w 358"/>
                <a:gd name="T75" fmla="*/ 136 h 327"/>
                <a:gd name="T76" fmla="*/ 0 w 358"/>
                <a:gd name="T77" fmla="*/ 155 h 327"/>
                <a:gd name="T78" fmla="*/ 0 w 358"/>
                <a:gd name="T79" fmla="*/ 174 h 327"/>
                <a:gd name="T80" fmla="*/ 5 w 358"/>
                <a:gd name="T81" fmla="*/ 182 h 327"/>
                <a:gd name="T82" fmla="*/ 11 w 358"/>
                <a:gd name="T83" fmla="*/ 187 h 327"/>
                <a:gd name="T84" fmla="*/ 20 w 358"/>
                <a:gd name="T85" fmla="*/ 186 h 327"/>
                <a:gd name="T86" fmla="*/ 44 w 358"/>
                <a:gd name="T87" fmla="*/ 168 h 327"/>
                <a:gd name="T88" fmla="*/ 60 w 358"/>
                <a:gd name="T89" fmla="*/ 161 h 327"/>
                <a:gd name="T90" fmla="*/ 76 w 358"/>
                <a:gd name="T91" fmla="*/ 150 h 327"/>
                <a:gd name="T92" fmla="*/ 93 w 358"/>
                <a:gd name="T93" fmla="*/ 159 h 327"/>
                <a:gd name="T94" fmla="*/ 110 w 358"/>
                <a:gd name="T95" fmla="*/ 164 h 327"/>
                <a:gd name="T96" fmla="*/ 142 w 358"/>
                <a:gd name="T97" fmla="*/ 180 h 327"/>
                <a:gd name="T98" fmla="*/ 163 w 358"/>
                <a:gd name="T99" fmla="*/ 190 h 327"/>
                <a:gd name="T100" fmla="*/ 196 w 358"/>
                <a:gd name="T101" fmla="*/ 209 h 327"/>
                <a:gd name="T102" fmla="*/ 219 w 358"/>
                <a:gd name="T103" fmla="*/ 225 h 327"/>
                <a:gd name="T104" fmla="*/ 245 w 358"/>
                <a:gd name="T105" fmla="*/ 244 h 327"/>
                <a:gd name="T106" fmla="*/ 256 w 358"/>
                <a:gd name="T107" fmla="*/ 254 h 327"/>
                <a:gd name="T108" fmla="*/ 267 w 358"/>
                <a:gd name="T109" fmla="*/ 270 h 327"/>
                <a:gd name="T110" fmla="*/ 269 w 358"/>
                <a:gd name="T111" fmla="*/ 279 h 327"/>
                <a:gd name="T112" fmla="*/ 269 w 358"/>
                <a:gd name="T113" fmla="*/ 286 h 327"/>
                <a:gd name="T114" fmla="*/ 270 w 358"/>
                <a:gd name="T115" fmla="*/ 290 h 327"/>
                <a:gd name="T116" fmla="*/ 276 w 358"/>
                <a:gd name="T117" fmla="*/ 292 h 327"/>
                <a:gd name="T118" fmla="*/ 292 w 358"/>
                <a:gd name="T119" fmla="*/ 302 h 327"/>
                <a:gd name="T120" fmla="*/ 318 w 358"/>
                <a:gd name="T121" fmla="*/ 321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" name="Freeform 34">
              <a:extLst>
                <a:ext uri="{FF2B5EF4-FFF2-40B4-BE49-F238E27FC236}">
                  <a16:creationId xmlns:a16="http://schemas.microsoft.com/office/drawing/2014/main" id="{18C30857-819A-4F3F-85F8-A06FB24F0B47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5908676" y="2101850"/>
              <a:ext cx="125413" cy="57150"/>
            </a:xfrm>
            <a:custGeom>
              <a:avLst/>
              <a:gdLst>
                <a:gd name="T0" fmla="*/ 126 w 292"/>
                <a:gd name="T1" fmla="*/ 0 h 99"/>
                <a:gd name="T2" fmla="*/ 153 w 292"/>
                <a:gd name="T3" fmla="*/ 0 h 99"/>
                <a:gd name="T4" fmla="*/ 198 w 292"/>
                <a:gd name="T5" fmla="*/ 1 h 99"/>
                <a:gd name="T6" fmla="*/ 250 w 292"/>
                <a:gd name="T7" fmla="*/ 6 h 99"/>
                <a:gd name="T8" fmla="*/ 292 w 292"/>
                <a:gd name="T9" fmla="*/ 7 h 99"/>
                <a:gd name="T10" fmla="*/ 290 w 292"/>
                <a:gd name="T11" fmla="*/ 20 h 99"/>
                <a:gd name="T12" fmla="*/ 285 w 292"/>
                <a:gd name="T13" fmla="*/ 33 h 99"/>
                <a:gd name="T14" fmla="*/ 279 w 292"/>
                <a:gd name="T15" fmla="*/ 55 h 99"/>
                <a:gd name="T16" fmla="*/ 135 w 292"/>
                <a:gd name="T17" fmla="*/ 70 h 99"/>
                <a:gd name="T18" fmla="*/ 99 w 292"/>
                <a:gd name="T19" fmla="*/ 89 h 99"/>
                <a:gd name="T20" fmla="*/ 79 w 292"/>
                <a:gd name="T21" fmla="*/ 96 h 99"/>
                <a:gd name="T22" fmla="*/ 66 w 292"/>
                <a:gd name="T23" fmla="*/ 98 h 99"/>
                <a:gd name="T24" fmla="*/ 55 w 292"/>
                <a:gd name="T25" fmla="*/ 98 h 99"/>
                <a:gd name="T26" fmla="*/ 45 w 292"/>
                <a:gd name="T27" fmla="*/ 94 h 99"/>
                <a:gd name="T28" fmla="*/ 33 w 292"/>
                <a:gd name="T29" fmla="*/ 86 h 99"/>
                <a:gd name="T30" fmla="*/ 20 w 292"/>
                <a:gd name="T31" fmla="*/ 77 h 99"/>
                <a:gd name="T32" fmla="*/ 7 w 292"/>
                <a:gd name="T33" fmla="*/ 69 h 99"/>
                <a:gd name="T34" fmla="*/ 1 w 292"/>
                <a:gd name="T35" fmla="*/ 57 h 99"/>
                <a:gd name="T36" fmla="*/ 0 w 292"/>
                <a:gd name="T37" fmla="*/ 42 h 99"/>
                <a:gd name="T38" fmla="*/ 1 w 292"/>
                <a:gd name="T39" fmla="*/ 25 h 99"/>
                <a:gd name="T40" fmla="*/ 3 w 292"/>
                <a:gd name="T41" fmla="*/ 20 h 99"/>
                <a:gd name="T42" fmla="*/ 9 w 292"/>
                <a:gd name="T43" fmla="*/ 18 h 99"/>
                <a:gd name="T44" fmla="*/ 15 w 292"/>
                <a:gd name="T45" fmla="*/ 21 h 99"/>
                <a:gd name="T46" fmla="*/ 25 w 292"/>
                <a:gd name="T47" fmla="*/ 28 h 99"/>
                <a:gd name="T48" fmla="*/ 35 w 292"/>
                <a:gd name="T49" fmla="*/ 32 h 99"/>
                <a:gd name="T50" fmla="*/ 45 w 292"/>
                <a:gd name="T51" fmla="*/ 34 h 99"/>
                <a:gd name="T52" fmla="*/ 54 w 292"/>
                <a:gd name="T53" fmla="*/ 33 h 99"/>
                <a:gd name="T54" fmla="*/ 67 w 292"/>
                <a:gd name="T55" fmla="*/ 29 h 99"/>
                <a:gd name="T56" fmla="*/ 81 w 292"/>
                <a:gd name="T57" fmla="*/ 19 h 99"/>
                <a:gd name="T58" fmla="*/ 88 w 292"/>
                <a:gd name="T59" fmla="*/ 11 h 99"/>
                <a:gd name="T60" fmla="*/ 94 w 292"/>
                <a:gd name="T61" fmla="*/ 6 h 99"/>
                <a:gd name="T62" fmla="*/ 109 w 292"/>
                <a:gd name="T63" fmla="*/ 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" name="Freeform 35">
              <a:extLst>
                <a:ext uri="{FF2B5EF4-FFF2-40B4-BE49-F238E27FC236}">
                  <a16:creationId xmlns:a16="http://schemas.microsoft.com/office/drawing/2014/main" id="{0F25A7D8-7BE7-4E6C-B4DD-2F6655BBADD5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6772275" y="2822575"/>
              <a:ext cx="19050" cy="57150"/>
            </a:xfrm>
            <a:custGeom>
              <a:avLst/>
              <a:gdLst>
                <a:gd name="T0" fmla="*/ 39 w 43"/>
                <a:gd name="T1" fmla="*/ 93 h 93"/>
                <a:gd name="T2" fmla="*/ 31 w 43"/>
                <a:gd name="T3" fmla="*/ 91 h 93"/>
                <a:gd name="T4" fmla="*/ 26 w 43"/>
                <a:gd name="T5" fmla="*/ 89 h 93"/>
                <a:gd name="T6" fmla="*/ 21 w 43"/>
                <a:gd name="T7" fmla="*/ 87 h 93"/>
                <a:gd name="T8" fmla="*/ 18 w 43"/>
                <a:gd name="T9" fmla="*/ 84 h 93"/>
                <a:gd name="T10" fmla="*/ 15 w 43"/>
                <a:gd name="T11" fmla="*/ 79 h 93"/>
                <a:gd name="T12" fmla="*/ 14 w 43"/>
                <a:gd name="T13" fmla="*/ 73 h 93"/>
                <a:gd name="T14" fmla="*/ 13 w 43"/>
                <a:gd name="T15" fmla="*/ 65 h 93"/>
                <a:gd name="T16" fmla="*/ 11 w 43"/>
                <a:gd name="T17" fmla="*/ 55 h 93"/>
                <a:gd name="T18" fmla="*/ 11 w 43"/>
                <a:gd name="T19" fmla="*/ 48 h 93"/>
                <a:gd name="T20" fmla="*/ 9 w 43"/>
                <a:gd name="T21" fmla="*/ 42 h 93"/>
                <a:gd name="T22" fmla="*/ 6 w 43"/>
                <a:gd name="T23" fmla="*/ 38 h 93"/>
                <a:gd name="T24" fmla="*/ 4 w 43"/>
                <a:gd name="T25" fmla="*/ 36 h 93"/>
                <a:gd name="T26" fmla="*/ 2 w 43"/>
                <a:gd name="T27" fmla="*/ 34 h 93"/>
                <a:gd name="T28" fmla="*/ 0 w 43"/>
                <a:gd name="T29" fmla="*/ 32 h 93"/>
                <a:gd name="T30" fmla="*/ 2 w 43"/>
                <a:gd name="T31" fmla="*/ 29 h 93"/>
                <a:gd name="T32" fmla="*/ 5 w 43"/>
                <a:gd name="T33" fmla="*/ 24 h 93"/>
                <a:gd name="T34" fmla="*/ 6 w 43"/>
                <a:gd name="T35" fmla="*/ 28 h 93"/>
                <a:gd name="T36" fmla="*/ 7 w 43"/>
                <a:gd name="T37" fmla="*/ 29 h 93"/>
                <a:gd name="T38" fmla="*/ 8 w 43"/>
                <a:gd name="T39" fmla="*/ 30 h 93"/>
                <a:gd name="T40" fmla="*/ 9 w 43"/>
                <a:gd name="T41" fmla="*/ 29 h 93"/>
                <a:gd name="T42" fmla="*/ 11 w 43"/>
                <a:gd name="T43" fmla="*/ 25 h 93"/>
                <a:gd name="T44" fmla="*/ 14 w 43"/>
                <a:gd name="T45" fmla="*/ 19 h 93"/>
                <a:gd name="T46" fmla="*/ 16 w 43"/>
                <a:gd name="T47" fmla="*/ 12 h 93"/>
                <a:gd name="T48" fmla="*/ 20 w 43"/>
                <a:gd name="T49" fmla="*/ 6 h 93"/>
                <a:gd name="T50" fmla="*/ 22 w 43"/>
                <a:gd name="T51" fmla="*/ 4 h 93"/>
                <a:gd name="T52" fmla="*/ 25 w 43"/>
                <a:gd name="T53" fmla="*/ 2 h 93"/>
                <a:gd name="T54" fmla="*/ 28 w 43"/>
                <a:gd name="T55" fmla="*/ 0 h 93"/>
                <a:gd name="T56" fmla="*/ 32 w 43"/>
                <a:gd name="T57" fmla="*/ 0 h 93"/>
                <a:gd name="T58" fmla="*/ 33 w 43"/>
                <a:gd name="T59" fmla="*/ 10 h 93"/>
                <a:gd name="T60" fmla="*/ 33 w 43"/>
                <a:gd name="T61" fmla="*/ 16 h 93"/>
                <a:gd name="T62" fmla="*/ 33 w 43"/>
                <a:gd name="T63" fmla="*/ 20 h 93"/>
                <a:gd name="T64" fmla="*/ 32 w 43"/>
                <a:gd name="T65" fmla="*/ 23 h 93"/>
                <a:gd name="T66" fmla="*/ 32 w 43"/>
                <a:gd name="T67" fmla="*/ 27 h 93"/>
                <a:gd name="T68" fmla="*/ 32 w 43"/>
                <a:gd name="T69" fmla="*/ 31 h 93"/>
                <a:gd name="T70" fmla="*/ 35 w 43"/>
                <a:gd name="T71" fmla="*/ 36 h 93"/>
                <a:gd name="T72" fmla="*/ 39 w 43"/>
                <a:gd name="T73" fmla="*/ 43 h 93"/>
                <a:gd name="T74" fmla="*/ 38 w 43"/>
                <a:gd name="T75" fmla="*/ 44 h 93"/>
                <a:gd name="T76" fmla="*/ 37 w 43"/>
                <a:gd name="T77" fmla="*/ 45 h 93"/>
                <a:gd name="T78" fmla="*/ 37 w 43"/>
                <a:gd name="T79" fmla="*/ 48 h 93"/>
                <a:gd name="T80" fmla="*/ 38 w 43"/>
                <a:gd name="T81" fmla="*/ 51 h 93"/>
                <a:gd name="T82" fmla="*/ 39 w 43"/>
                <a:gd name="T83" fmla="*/ 59 h 93"/>
                <a:gd name="T84" fmla="*/ 41 w 43"/>
                <a:gd name="T85" fmla="*/ 68 h 93"/>
                <a:gd name="T86" fmla="*/ 42 w 43"/>
                <a:gd name="T87" fmla="*/ 76 h 93"/>
                <a:gd name="T88" fmla="*/ 43 w 43"/>
                <a:gd name="T89" fmla="*/ 85 h 93"/>
                <a:gd name="T90" fmla="*/ 43 w 43"/>
                <a:gd name="T91" fmla="*/ 88 h 93"/>
                <a:gd name="T92" fmla="*/ 42 w 43"/>
                <a:gd name="T93" fmla="*/ 91 h 93"/>
                <a:gd name="T94" fmla="*/ 40 w 43"/>
                <a:gd name="T95" fmla="*/ 92 h 93"/>
                <a:gd name="T96" fmla="*/ 39 w 43"/>
                <a:gd name="T97" fmla="*/ 9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4" name="Freeform 36">
              <a:extLst>
                <a:ext uri="{FF2B5EF4-FFF2-40B4-BE49-F238E27FC236}">
                  <a16:creationId xmlns:a16="http://schemas.microsoft.com/office/drawing/2014/main" id="{68EB48AC-19E5-4B0B-80FD-34B061FFB724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6891339" y="2827338"/>
              <a:ext cx="14287" cy="57150"/>
            </a:xfrm>
            <a:custGeom>
              <a:avLst/>
              <a:gdLst>
                <a:gd name="T0" fmla="*/ 40 w 40"/>
                <a:gd name="T1" fmla="*/ 56 h 56"/>
                <a:gd name="T2" fmla="*/ 37 w 40"/>
                <a:gd name="T3" fmla="*/ 46 h 56"/>
                <a:gd name="T4" fmla="*/ 33 w 40"/>
                <a:gd name="T5" fmla="*/ 38 h 56"/>
                <a:gd name="T6" fmla="*/ 28 w 40"/>
                <a:gd name="T7" fmla="*/ 32 h 56"/>
                <a:gd name="T8" fmla="*/ 23 w 40"/>
                <a:gd name="T9" fmla="*/ 28 h 56"/>
                <a:gd name="T10" fmla="*/ 11 w 40"/>
                <a:gd name="T11" fmla="*/ 21 h 56"/>
                <a:gd name="T12" fmla="*/ 0 w 40"/>
                <a:gd name="T13" fmla="*/ 12 h 56"/>
                <a:gd name="T14" fmla="*/ 13 w 40"/>
                <a:gd name="T15" fmla="*/ 4 h 56"/>
                <a:gd name="T16" fmla="*/ 20 w 40"/>
                <a:gd name="T17" fmla="*/ 0 h 56"/>
                <a:gd name="T18" fmla="*/ 28 w 40"/>
                <a:gd name="T19" fmla="*/ 12 h 56"/>
                <a:gd name="T20" fmla="*/ 35 w 40"/>
                <a:gd name="T21" fmla="*/ 22 h 56"/>
                <a:gd name="T22" fmla="*/ 37 w 40"/>
                <a:gd name="T23" fmla="*/ 25 h 56"/>
                <a:gd name="T24" fmla="*/ 39 w 40"/>
                <a:gd name="T25" fmla="*/ 29 h 56"/>
                <a:gd name="T26" fmla="*/ 39 w 40"/>
                <a:gd name="T27" fmla="*/ 33 h 56"/>
                <a:gd name="T28" fmla="*/ 40 w 40"/>
                <a:gd name="T29" fmla="*/ 37 h 56"/>
                <a:gd name="T30" fmla="*/ 40 w 40"/>
                <a:gd name="T31" fmla="*/ 44 h 56"/>
                <a:gd name="T32" fmla="*/ 40 w 40"/>
                <a:gd name="T33" fmla="*/ 46 h 56"/>
                <a:gd name="T34" fmla="*/ 40 w 40"/>
                <a:gd name="T35" fmla="*/ 49 h 56"/>
                <a:gd name="T36" fmla="*/ 40 w 40"/>
                <a:gd name="T3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5" name="Freeform 37">
              <a:extLst>
                <a:ext uri="{FF2B5EF4-FFF2-40B4-BE49-F238E27FC236}">
                  <a16:creationId xmlns:a16="http://schemas.microsoft.com/office/drawing/2014/main" id="{F09F7387-B620-4D34-AE2F-CB36006CA41F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8378825" y="3487738"/>
              <a:ext cx="44450" cy="57150"/>
            </a:xfrm>
            <a:custGeom>
              <a:avLst/>
              <a:gdLst>
                <a:gd name="T0" fmla="*/ 0 w 106"/>
                <a:gd name="T1" fmla="*/ 7 h 71"/>
                <a:gd name="T2" fmla="*/ 12 w 106"/>
                <a:gd name="T3" fmla="*/ 10 h 71"/>
                <a:gd name="T4" fmla="*/ 24 w 106"/>
                <a:gd name="T5" fmla="*/ 12 h 71"/>
                <a:gd name="T6" fmla="*/ 35 w 106"/>
                <a:gd name="T7" fmla="*/ 13 h 71"/>
                <a:gd name="T8" fmla="*/ 45 w 106"/>
                <a:gd name="T9" fmla="*/ 13 h 71"/>
                <a:gd name="T10" fmla="*/ 54 w 106"/>
                <a:gd name="T11" fmla="*/ 11 h 71"/>
                <a:gd name="T12" fmla="*/ 61 w 106"/>
                <a:gd name="T13" fmla="*/ 8 h 71"/>
                <a:gd name="T14" fmla="*/ 68 w 106"/>
                <a:gd name="T15" fmla="*/ 5 h 71"/>
                <a:gd name="T16" fmla="*/ 74 w 106"/>
                <a:gd name="T17" fmla="*/ 0 h 71"/>
                <a:gd name="T18" fmla="*/ 84 w 106"/>
                <a:gd name="T19" fmla="*/ 16 h 71"/>
                <a:gd name="T20" fmla="*/ 94 w 106"/>
                <a:gd name="T21" fmla="*/ 30 h 71"/>
                <a:gd name="T22" fmla="*/ 101 w 106"/>
                <a:gd name="T23" fmla="*/ 44 h 71"/>
                <a:gd name="T24" fmla="*/ 105 w 106"/>
                <a:gd name="T25" fmla="*/ 55 h 71"/>
                <a:gd name="T26" fmla="*/ 106 w 106"/>
                <a:gd name="T27" fmla="*/ 60 h 71"/>
                <a:gd name="T28" fmla="*/ 106 w 106"/>
                <a:gd name="T29" fmla="*/ 63 h 71"/>
                <a:gd name="T30" fmla="*/ 105 w 106"/>
                <a:gd name="T31" fmla="*/ 67 h 71"/>
                <a:gd name="T32" fmla="*/ 103 w 106"/>
                <a:gd name="T33" fmla="*/ 69 h 71"/>
                <a:gd name="T34" fmla="*/ 101 w 106"/>
                <a:gd name="T35" fmla="*/ 70 h 71"/>
                <a:gd name="T36" fmla="*/ 98 w 106"/>
                <a:gd name="T37" fmla="*/ 70 h 71"/>
                <a:gd name="T38" fmla="*/ 92 w 106"/>
                <a:gd name="T39" fmla="*/ 70 h 71"/>
                <a:gd name="T40" fmla="*/ 87 w 106"/>
                <a:gd name="T41" fmla="*/ 68 h 71"/>
                <a:gd name="T42" fmla="*/ 74 w 106"/>
                <a:gd name="T43" fmla="*/ 70 h 71"/>
                <a:gd name="T44" fmla="*/ 63 w 106"/>
                <a:gd name="T45" fmla="*/ 71 h 71"/>
                <a:gd name="T46" fmla="*/ 53 w 106"/>
                <a:gd name="T47" fmla="*/ 69 h 71"/>
                <a:gd name="T48" fmla="*/ 45 w 106"/>
                <a:gd name="T49" fmla="*/ 66 h 71"/>
                <a:gd name="T50" fmla="*/ 37 w 106"/>
                <a:gd name="T51" fmla="*/ 62 h 71"/>
                <a:gd name="T52" fmla="*/ 32 w 106"/>
                <a:gd name="T53" fmla="*/ 57 h 71"/>
                <a:gd name="T54" fmla="*/ 27 w 106"/>
                <a:gd name="T55" fmla="*/ 51 h 71"/>
                <a:gd name="T56" fmla="*/ 24 w 106"/>
                <a:gd name="T57" fmla="*/ 45 h 71"/>
                <a:gd name="T58" fmla="*/ 21 w 106"/>
                <a:gd name="T59" fmla="*/ 38 h 71"/>
                <a:gd name="T60" fmla="*/ 20 w 106"/>
                <a:gd name="T61" fmla="*/ 30 h 71"/>
                <a:gd name="T62" fmla="*/ 19 w 106"/>
                <a:gd name="T63" fmla="*/ 24 h 71"/>
                <a:gd name="T64" fmla="*/ 18 w 106"/>
                <a:gd name="T65" fmla="*/ 19 h 71"/>
                <a:gd name="T66" fmla="*/ 18 w 106"/>
                <a:gd name="T67" fmla="*/ 14 h 71"/>
                <a:gd name="T68" fmla="*/ 19 w 106"/>
                <a:gd name="T69" fmla="*/ 10 h 71"/>
                <a:gd name="T70" fmla="*/ 20 w 106"/>
                <a:gd name="T71" fmla="*/ 7 h 71"/>
                <a:gd name="T72" fmla="*/ 21 w 106"/>
                <a:gd name="T73" fmla="*/ 7 h 71"/>
                <a:gd name="T74" fmla="*/ 20 w 106"/>
                <a:gd name="T75" fmla="*/ 10 h 71"/>
                <a:gd name="T76" fmla="*/ 19 w 106"/>
                <a:gd name="T77" fmla="*/ 16 h 71"/>
                <a:gd name="T78" fmla="*/ 19 w 106"/>
                <a:gd name="T79" fmla="*/ 17 h 71"/>
                <a:gd name="T80" fmla="*/ 19 w 106"/>
                <a:gd name="T81" fmla="*/ 17 h 71"/>
                <a:gd name="T82" fmla="*/ 20 w 106"/>
                <a:gd name="T83" fmla="*/ 17 h 71"/>
                <a:gd name="T84" fmla="*/ 21 w 106"/>
                <a:gd name="T85" fmla="*/ 17 h 71"/>
                <a:gd name="T86" fmla="*/ 23 w 106"/>
                <a:gd name="T87" fmla="*/ 13 h 71"/>
                <a:gd name="T88" fmla="*/ 27 w 106"/>
                <a:gd name="T89" fmla="*/ 7 h 71"/>
                <a:gd name="T90" fmla="*/ 0 w 106"/>
                <a:gd name="T91" fmla="*/ 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36" name="Group 38">
              <a:extLst>
                <a:ext uri="{FF2B5EF4-FFF2-40B4-BE49-F238E27FC236}">
                  <a16:creationId xmlns:a16="http://schemas.microsoft.com/office/drawing/2014/main" id="{5CA88EE4-8434-41BD-9FC3-55E521F133E7}"/>
                </a:ext>
              </a:extLst>
            </p:cNvPr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4230689" y="5295901"/>
              <a:ext cx="65087" cy="55563"/>
              <a:chOff x="1654" y="3671"/>
              <a:chExt cx="49" cy="17"/>
            </a:xfrm>
          </p:grpSpPr>
          <p:sp>
            <p:nvSpPr>
              <p:cNvPr id="547" name="Freeform 39">
                <a:extLst>
                  <a:ext uri="{FF2B5EF4-FFF2-40B4-BE49-F238E27FC236}">
                    <a16:creationId xmlns:a16="http://schemas.microsoft.com/office/drawing/2014/main" id="{E8F6EC9A-A266-4569-BF2F-E5247D7FA7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26 w 59"/>
                  <a:gd name="T1" fmla="*/ 43 h 43"/>
                  <a:gd name="T2" fmla="*/ 59 w 59"/>
                  <a:gd name="T3" fmla="*/ 18 h 43"/>
                  <a:gd name="T4" fmla="*/ 55 w 59"/>
                  <a:gd name="T5" fmla="*/ 14 h 43"/>
                  <a:gd name="T6" fmla="*/ 51 w 59"/>
                  <a:gd name="T7" fmla="*/ 9 h 43"/>
                  <a:gd name="T8" fmla="*/ 47 w 59"/>
                  <a:gd name="T9" fmla="*/ 5 h 43"/>
                  <a:gd name="T10" fmla="*/ 46 w 59"/>
                  <a:gd name="T11" fmla="*/ 0 h 43"/>
                  <a:gd name="T12" fmla="*/ 41 w 59"/>
                  <a:gd name="T13" fmla="*/ 1 h 43"/>
                  <a:gd name="T14" fmla="*/ 34 w 59"/>
                  <a:gd name="T15" fmla="*/ 4 h 43"/>
                  <a:gd name="T16" fmla="*/ 31 w 59"/>
                  <a:gd name="T17" fmla="*/ 6 h 43"/>
                  <a:gd name="T18" fmla="*/ 29 w 59"/>
                  <a:gd name="T19" fmla="*/ 8 h 43"/>
                  <a:gd name="T20" fmla="*/ 26 w 59"/>
                  <a:gd name="T21" fmla="*/ 10 h 43"/>
                  <a:gd name="T22" fmla="*/ 26 w 59"/>
                  <a:gd name="T23" fmla="*/ 12 h 43"/>
                  <a:gd name="T24" fmla="*/ 20 w 59"/>
                  <a:gd name="T25" fmla="*/ 13 h 43"/>
                  <a:gd name="T26" fmla="*/ 13 w 59"/>
                  <a:gd name="T27" fmla="*/ 16 h 43"/>
                  <a:gd name="T28" fmla="*/ 6 w 59"/>
                  <a:gd name="T29" fmla="*/ 20 h 43"/>
                  <a:gd name="T30" fmla="*/ 0 w 59"/>
                  <a:gd name="T31" fmla="*/ 24 h 43"/>
                  <a:gd name="T32" fmla="*/ 5 w 59"/>
                  <a:gd name="T33" fmla="*/ 29 h 43"/>
                  <a:gd name="T34" fmla="*/ 10 w 59"/>
                  <a:gd name="T35" fmla="*/ 34 h 43"/>
                  <a:gd name="T36" fmla="*/ 18 w 59"/>
                  <a:gd name="T37" fmla="*/ 39 h 43"/>
                  <a:gd name="T38" fmla="*/ 26 w 59"/>
                  <a:gd name="T39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8" name="Freeform 40">
                <a:extLst>
                  <a:ext uri="{FF2B5EF4-FFF2-40B4-BE49-F238E27FC236}">
                    <a16:creationId xmlns:a16="http://schemas.microsoft.com/office/drawing/2014/main" id="{50FA5761-7804-443D-B0D2-2ED8C68D24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2 h 51"/>
                  <a:gd name="T2" fmla="*/ 24 w 67"/>
                  <a:gd name="T3" fmla="*/ 1 h 51"/>
                  <a:gd name="T4" fmla="*/ 39 w 67"/>
                  <a:gd name="T5" fmla="*/ 0 h 51"/>
                  <a:gd name="T6" fmla="*/ 45 w 67"/>
                  <a:gd name="T7" fmla="*/ 1 h 51"/>
                  <a:gd name="T8" fmla="*/ 51 w 67"/>
                  <a:gd name="T9" fmla="*/ 2 h 51"/>
                  <a:gd name="T10" fmla="*/ 58 w 67"/>
                  <a:gd name="T11" fmla="*/ 4 h 51"/>
                  <a:gd name="T12" fmla="*/ 67 w 67"/>
                  <a:gd name="T13" fmla="*/ 8 h 51"/>
                  <a:gd name="T14" fmla="*/ 55 w 67"/>
                  <a:gd name="T15" fmla="*/ 13 h 51"/>
                  <a:gd name="T16" fmla="*/ 46 w 67"/>
                  <a:gd name="T17" fmla="*/ 19 h 51"/>
                  <a:gd name="T18" fmla="*/ 42 w 67"/>
                  <a:gd name="T19" fmla="*/ 22 h 51"/>
                  <a:gd name="T20" fmla="*/ 36 w 67"/>
                  <a:gd name="T21" fmla="*/ 24 h 51"/>
                  <a:gd name="T22" fmla="*/ 29 w 67"/>
                  <a:gd name="T23" fmla="*/ 26 h 51"/>
                  <a:gd name="T24" fmla="*/ 20 w 67"/>
                  <a:gd name="T25" fmla="*/ 26 h 51"/>
                  <a:gd name="T26" fmla="*/ 24 w 67"/>
                  <a:gd name="T27" fmla="*/ 26 h 51"/>
                  <a:gd name="T28" fmla="*/ 34 w 67"/>
                  <a:gd name="T29" fmla="*/ 26 h 51"/>
                  <a:gd name="T30" fmla="*/ 29 w 67"/>
                  <a:gd name="T31" fmla="*/ 34 h 51"/>
                  <a:gd name="T32" fmla="*/ 25 w 67"/>
                  <a:gd name="T33" fmla="*/ 40 h 51"/>
                  <a:gd name="T34" fmla="*/ 22 w 67"/>
                  <a:gd name="T35" fmla="*/ 44 h 51"/>
                  <a:gd name="T36" fmla="*/ 20 w 67"/>
                  <a:gd name="T37" fmla="*/ 46 h 51"/>
                  <a:gd name="T38" fmla="*/ 12 w 67"/>
                  <a:gd name="T39" fmla="*/ 48 h 51"/>
                  <a:gd name="T40" fmla="*/ 0 w 67"/>
                  <a:gd name="T41" fmla="*/ 51 h 51"/>
                  <a:gd name="T42" fmla="*/ 0 w 67"/>
                  <a:gd name="T43" fmla="*/ 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37" name="Freeform 41">
              <a:extLst>
                <a:ext uri="{FF2B5EF4-FFF2-40B4-BE49-F238E27FC236}">
                  <a16:creationId xmlns:a16="http://schemas.microsoft.com/office/drawing/2014/main" id="{F434622E-FF71-407C-8326-A5B677B55EA5}"/>
                </a:ext>
              </a:extLst>
            </p:cNvPr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3878263" y="3090864"/>
              <a:ext cx="31750" cy="58737"/>
            </a:xfrm>
            <a:custGeom>
              <a:avLst/>
              <a:gdLst>
                <a:gd name="T0" fmla="*/ 0 w 80"/>
                <a:gd name="T1" fmla="*/ 15 h 34"/>
                <a:gd name="T2" fmla="*/ 1 w 80"/>
                <a:gd name="T3" fmla="*/ 19 h 34"/>
                <a:gd name="T4" fmla="*/ 2 w 80"/>
                <a:gd name="T5" fmla="*/ 21 h 34"/>
                <a:gd name="T6" fmla="*/ 4 w 80"/>
                <a:gd name="T7" fmla="*/ 24 h 34"/>
                <a:gd name="T8" fmla="*/ 7 w 80"/>
                <a:gd name="T9" fmla="*/ 26 h 34"/>
                <a:gd name="T10" fmla="*/ 13 w 80"/>
                <a:gd name="T11" fmla="*/ 29 h 34"/>
                <a:gd name="T12" fmla="*/ 22 w 80"/>
                <a:gd name="T13" fmla="*/ 31 h 34"/>
                <a:gd name="T14" fmla="*/ 40 w 80"/>
                <a:gd name="T15" fmla="*/ 33 h 34"/>
                <a:gd name="T16" fmla="*/ 54 w 80"/>
                <a:gd name="T17" fmla="*/ 34 h 34"/>
                <a:gd name="T18" fmla="*/ 58 w 80"/>
                <a:gd name="T19" fmla="*/ 33 h 34"/>
                <a:gd name="T20" fmla="*/ 62 w 80"/>
                <a:gd name="T21" fmla="*/ 32 h 34"/>
                <a:gd name="T22" fmla="*/ 65 w 80"/>
                <a:gd name="T23" fmla="*/ 29 h 34"/>
                <a:gd name="T24" fmla="*/ 67 w 80"/>
                <a:gd name="T25" fmla="*/ 27 h 34"/>
                <a:gd name="T26" fmla="*/ 73 w 80"/>
                <a:gd name="T27" fmla="*/ 21 h 34"/>
                <a:gd name="T28" fmla="*/ 80 w 80"/>
                <a:gd name="T29" fmla="*/ 15 h 34"/>
                <a:gd name="T30" fmla="*/ 75 w 80"/>
                <a:gd name="T31" fmla="*/ 10 h 34"/>
                <a:gd name="T32" fmla="*/ 70 w 80"/>
                <a:gd name="T33" fmla="*/ 7 h 34"/>
                <a:gd name="T34" fmla="*/ 65 w 80"/>
                <a:gd name="T35" fmla="*/ 4 h 34"/>
                <a:gd name="T36" fmla="*/ 60 w 80"/>
                <a:gd name="T37" fmla="*/ 2 h 34"/>
                <a:gd name="T38" fmla="*/ 55 w 80"/>
                <a:gd name="T39" fmla="*/ 0 h 34"/>
                <a:gd name="T40" fmla="*/ 51 w 80"/>
                <a:gd name="T41" fmla="*/ 0 h 34"/>
                <a:gd name="T42" fmla="*/ 45 w 80"/>
                <a:gd name="T43" fmla="*/ 1 h 34"/>
                <a:gd name="T44" fmla="*/ 41 w 80"/>
                <a:gd name="T45" fmla="*/ 2 h 34"/>
                <a:gd name="T46" fmla="*/ 34 w 80"/>
                <a:gd name="T47" fmla="*/ 2 h 34"/>
                <a:gd name="T48" fmla="*/ 21 w 80"/>
                <a:gd name="T49" fmla="*/ 2 h 34"/>
                <a:gd name="T50" fmla="*/ 13 w 80"/>
                <a:gd name="T51" fmla="*/ 3 h 34"/>
                <a:gd name="T52" fmla="*/ 7 w 80"/>
                <a:gd name="T53" fmla="*/ 5 h 34"/>
                <a:gd name="T54" fmla="*/ 4 w 80"/>
                <a:gd name="T55" fmla="*/ 7 h 34"/>
                <a:gd name="T56" fmla="*/ 2 w 80"/>
                <a:gd name="T57" fmla="*/ 9 h 34"/>
                <a:gd name="T58" fmla="*/ 1 w 80"/>
                <a:gd name="T59" fmla="*/ 11 h 34"/>
                <a:gd name="T60" fmla="*/ 0 w 80"/>
                <a:gd name="T61" fmla="*/ 1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" name="Freeform 42">
              <a:extLst>
                <a:ext uri="{FF2B5EF4-FFF2-40B4-BE49-F238E27FC236}">
                  <a16:creationId xmlns:a16="http://schemas.microsoft.com/office/drawing/2014/main" id="{648A478F-1529-413C-B04E-4CEE85674948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3933825" y="3097214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7 w 7"/>
                <a:gd name="T3" fmla="*/ 13 h 13"/>
                <a:gd name="T4" fmla="*/ 7 w 7"/>
                <a:gd name="T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9" name="Freeform 43">
              <a:extLst>
                <a:ext uri="{FF2B5EF4-FFF2-40B4-BE49-F238E27FC236}">
                  <a16:creationId xmlns:a16="http://schemas.microsoft.com/office/drawing/2014/main" id="{5A46C562-E941-4384-8DE9-5C36E1F511E3}"/>
                </a:ext>
              </a:extLst>
            </p:cNvPr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3946525" y="3098800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7 w 20"/>
                <a:gd name="T3" fmla="*/ 3 h 6"/>
                <a:gd name="T4" fmla="*/ 20 w 20"/>
                <a:gd name="T5" fmla="*/ 6 h 6"/>
                <a:gd name="T6" fmla="*/ 0 w 20"/>
                <a:gd name="T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0" name="Freeform 44">
              <a:extLst>
                <a:ext uri="{FF2B5EF4-FFF2-40B4-BE49-F238E27FC236}">
                  <a16:creationId xmlns:a16="http://schemas.microsoft.com/office/drawing/2014/main" id="{70C2B49E-2596-4C9A-90F7-8B7474C9D234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3960814" y="3089275"/>
              <a:ext cx="7937" cy="57150"/>
            </a:xfrm>
            <a:custGeom>
              <a:avLst/>
              <a:gdLst>
                <a:gd name="T0" fmla="*/ 0 w 14"/>
                <a:gd name="T1" fmla="*/ 12 h 12"/>
                <a:gd name="T2" fmla="*/ 14 w 14"/>
                <a:gd name="T3" fmla="*/ 0 h 12"/>
                <a:gd name="T4" fmla="*/ 0 w 14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1" name="Freeform 45">
              <a:extLst>
                <a:ext uri="{FF2B5EF4-FFF2-40B4-BE49-F238E27FC236}">
                  <a16:creationId xmlns:a16="http://schemas.microsoft.com/office/drawing/2014/main" id="{A37F894C-F4F4-4B39-B4C4-6660E800850A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3940176" y="3081339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4 h 7"/>
                <a:gd name="T4" fmla="*/ 2 w 27"/>
                <a:gd name="T5" fmla="*/ 6 h 7"/>
                <a:gd name="T6" fmla="*/ 7 w 27"/>
                <a:gd name="T7" fmla="*/ 7 h 7"/>
                <a:gd name="T8" fmla="*/ 10 w 27"/>
                <a:gd name="T9" fmla="*/ 7 h 7"/>
                <a:gd name="T10" fmla="*/ 15 w 27"/>
                <a:gd name="T11" fmla="*/ 6 h 7"/>
                <a:gd name="T12" fmla="*/ 19 w 27"/>
                <a:gd name="T13" fmla="*/ 4 h 7"/>
                <a:gd name="T14" fmla="*/ 23 w 27"/>
                <a:gd name="T15" fmla="*/ 2 h 7"/>
                <a:gd name="T16" fmla="*/ 27 w 27"/>
                <a:gd name="T17" fmla="*/ 0 h 7"/>
                <a:gd name="T18" fmla="*/ 0 w 27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2" name="Freeform 46">
              <a:extLst>
                <a:ext uri="{FF2B5EF4-FFF2-40B4-BE49-F238E27FC236}">
                  <a16:creationId xmlns:a16="http://schemas.microsoft.com/office/drawing/2014/main" id="{D67A4F00-47ED-4FC8-A589-4E63F717F8B8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3989389" y="3109914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11 w 27"/>
                <a:gd name="T3" fmla="*/ 3 h 6"/>
                <a:gd name="T4" fmla="*/ 27 w 27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3" name="Line 47">
              <a:extLst>
                <a:ext uri="{FF2B5EF4-FFF2-40B4-BE49-F238E27FC236}">
                  <a16:creationId xmlns:a16="http://schemas.microsoft.com/office/drawing/2014/main" id="{4800D950-7357-4824-AEFA-F66BBA1C4FA0}"/>
                </a:ext>
              </a:extLst>
            </p:cNvPr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3997325" y="3106739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4" name="Line 48">
              <a:extLst>
                <a:ext uri="{FF2B5EF4-FFF2-40B4-BE49-F238E27FC236}">
                  <a16:creationId xmlns:a16="http://schemas.microsoft.com/office/drawing/2014/main" id="{AEE56E42-D37D-409E-864D-5A9FBB3360FE}"/>
                </a:ext>
              </a:extLst>
            </p:cNvPr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3997325" y="3132138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45" name="Freeform 49">
              <a:extLst>
                <a:ext uri="{FF2B5EF4-FFF2-40B4-BE49-F238E27FC236}">
                  <a16:creationId xmlns:a16="http://schemas.microsoft.com/office/drawing/2014/main" id="{5D4BD1E0-07AF-49BF-B601-2CB8DB67B14B}"/>
                </a:ext>
              </a:extLst>
            </p:cNvPr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3997326" y="3127375"/>
              <a:ext cx="11113" cy="58738"/>
            </a:xfrm>
            <a:custGeom>
              <a:avLst/>
              <a:gdLst>
                <a:gd name="T0" fmla="*/ 0 w 20"/>
                <a:gd name="T1" fmla="*/ 24 h 24"/>
                <a:gd name="T2" fmla="*/ 2 w 20"/>
                <a:gd name="T3" fmla="*/ 24 h 24"/>
                <a:gd name="T4" fmla="*/ 6 w 20"/>
                <a:gd name="T5" fmla="*/ 22 h 24"/>
                <a:gd name="T6" fmla="*/ 9 w 20"/>
                <a:gd name="T7" fmla="*/ 20 h 24"/>
                <a:gd name="T8" fmla="*/ 12 w 20"/>
                <a:gd name="T9" fmla="*/ 16 h 24"/>
                <a:gd name="T10" fmla="*/ 15 w 20"/>
                <a:gd name="T11" fmla="*/ 13 h 24"/>
                <a:gd name="T12" fmla="*/ 18 w 20"/>
                <a:gd name="T13" fmla="*/ 9 h 24"/>
                <a:gd name="T14" fmla="*/ 19 w 20"/>
                <a:gd name="T15" fmla="*/ 4 h 24"/>
                <a:gd name="T16" fmla="*/ 20 w 20"/>
                <a:gd name="T1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6" name="Freeform 50">
              <a:extLst>
                <a:ext uri="{FF2B5EF4-FFF2-40B4-BE49-F238E27FC236}">
                  <a16:creationId xmlns:a16="http://schemas.microsoft.com/office/drawing/2014/main" id="{64DED748-4115-4A40-9C37-DE8E32EF8D94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4003676" y="3155951"/>
              <a:ext cx="17463" cy="55563"/>
            </a:xfrm>
            <a:custGeom>
              <a:avLst/>
              <a:gdLst>
                <a:gd name="T0" fmla="*/ 13 w 33"/>
                <a:gd name="T1" fmla="*/ 7 h 25"/>
                <a:gd name="T2" fmla="*/ 0 w 33"/>
                <a:gd name="T3" fmla="*/ 19 h 25"/>
                <a:gd name="T4" fmla="*/ 10 w 33"/>
                <a:gd name="T5" fmla="*/ 20 h 25"/>
                <a:gd name="T6" fmla="*/ 19 w 33"/>
                <a:gd name="T7" fmla="*/ 22 h 25"/>
                <a:gd name="T8" fmla="*/ 27 w 33"/>
                <a:gd name="T9" fmla="*/ 25 h 25"/>
                <a:gd name="T10" fmla="*/ 33 w 33"/>
                <a:gd name="T11" fmla="*/ 25 h 25"/>
                <a:gd name="T12" fmla="*/ 33 w 33"/>
                <a:gd name="T13" fmla="*/ 0 h 25"/>
                <a:gd name="T14" fmla="*/ 27 w 33"/>
                <a:gd name="T15" fmla="*/ 0 h 25"/>
                <a:gd name="T16" fmla="*/ 13 w 33"/>
                <a:gd name="T17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7" name="Freeform 51">
              <a:extLst>
                <a:ext uri="{FF2B5EF4-FFF2-40B4-BE49-F238E27FC236}">
                  <a16:creationId xmlns:a16="http://schemas.microsoft.com/office/drawing/2014/main" id="{6BACBFC1-A04B-46AA-972A-ECE8CF9F8ECD}"/>
                </a:ext>
              </a:extLst>
            </p:cNvPr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4010026" y="3203575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3 w 40"/>
                <a:gd name="T3" fmla="*/ 6 h 18"/>
                <a:gd name="T4" fmla="*/ 6 w 40"/>
                <a:gd name="T5" fmla="*/ 11 h 18"/>
                <a:gd name="T6" fmla="*/ 10 w 40"/>
                <a:gd name="T7" fmla="*/ 14 h 18"/>
                <a:gd name="T8" fmla="*/ 15 w 40"/>
                <a:gd name="T9" fmla="*/ 16 h 18"/>
                <a:gd name="T10" fmla="*/ 27 w 40"/>
                <a:gd name="T11" fmla="*/ 18 h 18"/>
                <a:gd name="T12" fmla="*/ 40 w 40"/>
                <a:gd name="T13" fmla="*/ 18 h 18"/>
                <a:gd name="T14" fmla="*/ 40 w 40"/>
                <a:gd name="T15" fmla="*/ 0 h 18"/>
                <a:gd name="T16" fmla="*/ 30 w 40"/>
                <a:gd name="T17" fmla="*/ 0 h 18"/>
                <a:gd name="T18" fmla="*/ 20 w 40"/>
                <a:gd name="T19" fmla="*/ 0 h 18"/>
                <a:gd name="T20" fmla="*/ 10 w 40"/>
                <a:gd name="T21" fmla="*/ 0 h 18"/>
                <a:gd name="T22" fmla="*/ 0 w 4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8" name="Freeform 52">
              <a:extLst>
                <a:ext uri="{FF2B5EF4-FFF2-40B4-BE49-F238E27FC236}">
                  <a16:creationId xmlns:a16="http://schemas.microsoft.com/office/drawing/2014/main" id="{B1BF41AD-1CA8-4A07-8608-6FC96B824F0F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4019551" y="3228975"/>
              <a:ext cx="3175" cy="57150"/>
            </a:xfrm>
            <a:custGeom>
              <a:avLst/>
              <a:gdLst>
                <a:gd name="T0" fmla="*/ 4 w 11"/>
                <a:gd name="T1" fmla="*/ 32 h 32"/>
                <a:gd name="T2" fmla="*/ 6 w 11"/>
                <a:gd name="T3" fmla="*/ 28 h 32"/>
                <a:gd name="T4" fmla="*/ 8 w 11"/>
                <a:gd name="T5" fmla="*/ 25 h 32"/>
                <a:gd name="T6" fmla="*/ 9 w 11"/>
                <a:gd name="T7" fmla="*/ 22 h 32"/>
                <a:gd name="T8" fmla="*/ 10 w 11"/>
                <a:gd name="T9" fmla="*/ 18 h 32"/>
                <a:gd name="T10" fmla="*/ 11 w 11"/>
                <a:gd name="T11" fmla="*/ 9 h 32"/>
                <a:gd name="T12" fmla="*/ 11 w 11"/>
                <a:gd name="T13" fmla="*/ 0 h 32"/>
                <a:gd name="T14" fmla="*/ 6 w 11"/>
                <a:gd name="T15" fmla="*/ 3 h 32"/>
                <a:gd name="T16" fmla="*/ 3 w 11"/>
                <a:gd name="T17" fmla="*/ 7 h 32"/>
                <a:gd name="T18" fmla="*/ 1 w 11"/>
                <a:gd name="T19" fmla="*/ 11 h 32"/>
                <a:gd name="T20" fmla="*/ 0 w 11"/>
                <a:gd name="T21" fmla="*/ 16 h 32"/>
                <a:gd name="T22" fmla="*/ 0 w 11"/>
                <a:gd name="T23" fmla="*/ 20 h 32"/>
                <a:gd name="T24" fmla="*/ 1 w 11"/>
                <a:gd name="T25" fmla="*/ 24 h 32"/>
                <a:gd name="T26" fmla="*/ 2 w 11"/>
                <a:gd name="T27" fmla="*/ 28 h 32"/>
                <a:gd name="T28" fmla="*/ 4 w 11"/>
                <a:gd name="T2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49" name="Freeform 53">
              <a:extLst>
                <a:ext uri="{FF2B5EF4-FFF2-40B4-BE49-F238E27FC236}">
                  <a16:creationId xmlns:a16="http://schemas.microsoft.com/office/drawing/2014/main" id="{20955A63-EC91-4B7E-A364-B584B656D9A2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4041775" y="3259138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4 h 24"/>
                <a:gd name="T4" fmla="*/ 14 w 14"/>
                <a:gd name="T5" fmla="*/ 12 h 24"/>
                <a:gd name="T6" fmla="*/ 0 w 14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0" name="Freeform 54">
              <a:extLst>
                <a:ext uri="{FF2B5EF4-FFF2-40B4-BE49-F238E27FC236}">
                  <a16:creationId xmlns:a16="http://schemas.microsoft.com/office/drawing/2014/main" id="{27DA0FDF-7B98-4FA5-968C-0B61DB297C36}"/>
                </a:ext>
              </a:extLst>
            </p:cNvPr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4003676" y="3271839"/>
              <a:ext cx="15875" cy="58737"/>
            </a:xfrm>
            <a:custGeom>
              <a:avLst/>
              <a:gdLst>
                <a:gd name="T0" fmla="*/ 0 w 27"/>
                <a:gd name="T1" fmla="*/ 12 h 18"/>
                <a:gd name="T2" fmla="*/ 7 w 27"/>
                <a:gd name="T3" fmla="*/ 15 h 18"/>
                <a:gd name="T4" fmla="*/ 13 w 27"/>
                <a:gd name="T5" fmla="*/ 18 h 18"/>
                <a:gd name="T6" fmla="*/ 22 w 27"/>
                <a:gd name="T7" fmla="*/ 7 h 18"/>
                <a:gd name="T8" fmla="*/ 27 w 27"/>
                <a:gd name="T9" fmla="*/ 0 h 18"/>
                <a:gd name="T10" fmla="*/ 22 w 27"/>
                <a:gd name="T11" fmla="*/ 0 h 18"/>
                <a:gd name="T12" fmla="*/ 18 w 27"/>
                <a:gd name="T13" fmla="*/ 1 h 18"/>
                <a:gd name="T14" fmla="*/ 13 w 27"/>
                <a:gd name="T15" fmla="*/ 2 h 18"/>
                <a:gd name="T16" fmla="*/ 10 w 27"/>
                <a:gd name="T17" fmla="*/ 4 h 18"/>
                <a:gd name="T18" fmla="*/ 5 w 27"/>
                <a:gd name="T19" fmla="*/ 8 h 18"/>
                <a:gd name="T20" fmla="*/ 0 w 27"/>
                <a:gd name="T21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1" name="Freeform 55">
              <a:extLst>
                <a:ext uri="{FF2B5EF4-FFF2-40B4-BE49-F238E27FC236}">
                  <a16:creationId xmlns:a16="http://schemas.microsoft.com/office/drawing/2014/main" id="{FE94ACA0-907B-49B2-8781-CC0DE02A3749}"/>
                </a:ext>
              </a:extLst>
            </p:cNvPr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3989388" y="3336925"/>
              <a:ext cx="23812" cy="57150"/>
            </a:xfrm>
            <a:custGeom>
              <a:avLst/>
              <a:gdLst>
                <a:gd name="T0" fmla="*/ 0 w 47"/>
                <a:gd name="T1" fmla="*/ 36 h 49"/>
                <a:gd name="T2" fmla="*/ 1 w 47"/>
                <a:gd name="T3" fmla="*/ 39 h 49"/>
                <a:gd name="T4" fmla="*/ 2 w 47"/>
                <a:gd name="T5" fmla="*/ 41 h 49"/>
                <a:gd name="T6" fmla="*/ 4 w 47"/>
                <a:gd name="T7" fmla="*/ 43 h 49"/>
                <a:gd name="T8" fmla="*/ 6 w 47"/>
                <a:gd name="T9" fmla="*/ 45 h 49"/>
                <a:gd name="T10" fmla="*/ 12 w 47"/>
                <a:gd name="T11" fmla="*/ 48 h 49"/>
                <a:gd name="T12" fmla="*/ 14 w 47"/>
                <a:gd name="T13" fmla="*/ 49 h 49"/>
                <a:gd name="T14" fmla="*/ 18 w 47"/>
                <a:gd name="T15" fmla="*/ 49 h 49"/>
                <a:gd name="T16" fmla="*/ 24 w 47"/>
                <a:gd name="T17" fmla="*/ 46 h 49"/>
                <a:gd name="T18" fmla="*/ 29 w 47"/>
                <a:gd name="T19" fmla="*/ 42 h 49"/>
                <a:gd name="T20" fmla="*/ 35 w 47"/>
                <a:gd name="T21" fmla="*/ 39 h 49"/>
                <a:gd name="T22" fmla="*/ 39 w 47"/>
                <a:gd name="T23" fmla="*/ 35 h 49"/>
                <a:gd name="T24" fmla="*/ 44 w 47"/>
                <a:gd name="T25" fmla="*/ 31 h 49"/>
                <a:gd name="T26" fmla="*/ 46 w 47"/>
                <a:gd name="T27" fmla="*/ 27 h 49"/>
                <a:gd name="T28" fmla="*/ 47 w 47"/>
                <a:gd name="T29" fmla="*/ 24 h 49"/>
                <a:gd name="T30" fmla="*/ 47 w 47"/>
                <a:gd name="T31" fmla="*/ 12 h 49"/>
                <a:gd name="T32" fmla="*/ 47 w 47"/>
                <a:gd name="T33" fmla="*/ 0 h 49"/>
                <a:gd name="T34" fmla="*/ 27 w 47"/>
                <a:gd name="T35" fmla="*/ 0 h 49"/>
                <a:gd name="T36" fmla="*/ 17 w 47"/>
                <a:gd name="T37" fmla="*/ 8 h 49"/>
                <a:gd name="T38" fmla="*/ 9 w 47"/>
                <a:gd name="T39" fmla="*/ 16 h 49"/>
                <a:gd name="T40" fmla="*/ 5 w 47"/>
                <a:gd name="T41" fmla="*/ 20 h 49"/>
                <a:gd name="T42" fmla="*/ 2 w 47"/>
                <a:gd name="T43" fmla="*/ 25 h 49"/>
                <a:gd name="T44" fmla="*/ 1 w 47"/>
                <a:gd name="T45" fmla="*/ 30 h 49"/>
                <a:gd name="T46" fmla="*/ 0 w 47"/>
                <a:gd name="T47" fmla="*/ 3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2" name="Freeform 56">
              <a:extLst>
                <a:ext uri="{FF2B5EF4-FFF2-40B4-BE49-F238E27FC236}">
                  <a16:creationId xmlns:a16="http://schemas.microsoft.com/office/drawing/2014/main" id="{69CDCF4B-BDD1-40EE-8488-4E59BE1C67E7}"/>
                </a:ext>
              </a:extLst>
            </p:cNvPr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4008438" y="3313113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4 h 9"/>
                <a:gd name="T4" fmla="*/ 3 w 26"/>
                <a:gd name="T5" fmla="*/ 7 h 9"/>
                <a:gd name="T6" fmla="*/ 6 w 26"/>
                <a:gd name="T7" fmla="*/ 8 h 9"/>
                <a:gd name="T8" fmla="*/ 11 w 26"/>
                <a:gd name="T9" fmla="*/ 9 h 9"/>
                <a:gd name="T10" fmla="*/ 15 w 26"/>
                <a:gd name="T11" fmla="*/ 8 h 9"/>
                <a:gd name="T12" fmla="*/ 20 w 26"/>
                <a:gd name="T13" fmla="*/ 7 h 9"/>
                <a:gd name="T14" fmla="*/ 23 w 26"/>
                <a:gd name="T15" fmla="*/ 4 h 9"/>
                <a:gd name="T16" fmla="*/ 26 w 26"/>
                <a:gd name="T17" fmla="*/ 0 h 9"/>
                <a:gd name="T18" fmla="*/ 0 w 26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3" name="Freeform 57">
              <a:extLst>
                <a:ext uri="{FF2B5EF4-FFF2-40B4-BE49-F238E27FC236}">
                  <a16:creationId xmlns:a16="http://schemas.microsoft.com/office/drawing/2014/main" id="{0BAD4A6A-BC6F-45FD-BE5C-7AEF04D68635}"/>
                </a:ext>
              </a:extLst>
            </p:cNvPr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3490914" y="2984500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18 h 18"/>
                <a:gd name="T4" fmla="*/ 6 w 39"/>
                <a:gd name="T5" fmla="*/ 18 h 18"/>
                <a:gd name="T6" fmla="*/ 13 w 39"/>
                <a:gd name="T7" fmla="*/ 18 h 18"/>
                <a:gd name="T8" fmla="*/ 23 w 39"/>
                <a:gd name="T9" fmla="*/ 17 h 18"/>
                <a:gd name="T10" fmla="*/ 30 w 39"/>
                <a:gd name="T11" fmla="*/ 14 h 18"/>
                <a:gd name="T12" fmla="*/ 34 w 39"/>
                <a:gd name="T13" fmla="*/ 12 h 18"/>
                <a:gd name="T14" fmla="*/ 37 w 39"/>
                <a:gd name="T15" fmla="*/ 10 h 18"/>
                <a:gd name="T16" fmla="*/ 38 w 39"/>
                <a:gd name="T17" fmla="*/ 8 h 18"/>
                <a:gd name="T18" fmla="*/ 39 w 39"/>
                <a:gd name="T19" fmla="*/ 6 h 18"/>
                <a:gd name="T20" fmla="*/ 29 w 39"/>
                <a:gd name="T21" fmla="*/ 5 h 18"/>
                <a:gd name="T22" fmla="*/ 19 w 39"/>
                <a:gd name="T23" fmla="*/ 3 h 18"/>
                <a:gd name="T24" fmla="*/ 10 w 39"/>
                <a:gd name="T25" fmla="*/ 0 h 18"/>
                <a:gd name="T26" fmla="*/ 0 w 39"/>
                <a:gd name="T2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54" name="Group 58">
              <a:extLst>
                <a:ext uri="{FF2B5EF4-FFF2-40B4-BE49-F238E27FC236}">
                  <a16:creationId xmlns:a16="http://schemas.microsoft.com/office/drawing/2014/main" id="{4FAAB5AA-6E02-41DD-A675-32EBA070AB4F}"/>
                </a:ext>
              </a:extLst>
            </p:cNvPr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3616326" y="2817813"/>
              <a:ext cx="131763" cy="195262"/>
              <a:chOff x="1199" y="2121"/>
              <a:chExt cx="97" cy="123"/>
            </a:xfrm>
          </p:grpSpPr>
          <p:sp>
            <p:nvSpPr>
              <p:cNvPr id="537" name="Freeform 59">
                <a:extLst>
                  <a:ext uri="{FF2B5EF4-FFF2-40B4-BE49-F238E27FC236}">
                    <a16:creationId xmlns:a16="http://schemas.microsoft.com/office/drawing/2014/main" id="{AA0C2997-F41A-4B87-8D19-95956EE0AA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25 h 25"/>
                  <a:gd name="T2" fmla="*/ 7 w 52"/>
                  <a:gd name="T3" fmla="*/ 25 h 25"/>
                  <a:gd name="T4" fmla="*/ 15 w 52"/>
                  <a:gd name="T5" fmla="*/ 24 h 25"/>
                  <a:gd name="T6" fmla="*/ 23 w 52"/>
                  <a:gd name="T7" fmla="*/ 22 h 25"/>
                  <a:gd name="T8" fmla="*/ 30 w 52"/>
                  <a:gd name="T9" fmla="*/ 19 h 25"/>
                  <a:gd name="T10" fmla="*/ 38 w 52"/>
                  <a:gd name="T11" fmla="*/ 15 h 25"/>
                  <a:gd name="T12" fmla="*/ 43 w 52"/>
                  <a:gd name="T13" fmla="*/ 11 h 25"/>
                  <a:gd name="T14" fmla="*/ 49 w 52"/>
                  <a:gd name="T15" fmla="*/ 6 h 25"/>
                  <a:gd name="T16" fmla="*/ 52 w 52"/>
                  <a:gd name="T17" fmla="*/ 0 h 25"/>
                  <a:gd name="T18" fmla="*/ 40 w 52"/>
                  <a:gd name="T19" fmla="*/ 0 h 25"/>
                  <a:gd name="T20" fmla="*/ 31 w 52"/>
                  <a:gd name="T21" fmla="*/ 0 h 25"/>
                  <a:gd name="T22" fmla="*/ 23 w 52"/>
                  <a:gd name="T23" fmla="*/ 1 h 25"/>
                  <a:gd name="T24" fmla="*/ 16 w 52"/>
                  <a:gd name="T25" fmla="*/ 3 h 25"/>
                  <a:gd name="T26" fmla="*/ 11 w 52"/>
                  <a:gd name="T27" fmla="*/ 6 h 25"/>
                  <a:gd name="T28" fmla="*/ 5 w 52"/>
                  <a:gd name="T29" fmla="*/ 10 h 25"/>
                  <a:gd name="T30" fmla="*/ 2 w 52"/>
                  <a:gd name="T31" fmla="*/ 16 h 25"/>
                  <a:gd name="T32" fmla="*/ 0 w 52"/>
                  <a:gd name="T3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8" name="Freeform 60">
                <a:extLst>
                  <a:ext uri="{FF2B5EF4-FFF2-40B4-BE49-F238E27FC236}">
                    <a16:creationId xmlns:a16="http://schemas.microsoft.com/office/drawing/2014/main" id="{C8A5A55E-A654-4C58-B82C-FB3E6C4721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6 h 13"/>
                  <a:gd name="T4" fmla="*/ 0 w 33"/>
                  <a:gd name="T5" fmla="*/ 13 h 13"/>
                  <a:gd name="T6" fmla="*/ 9 w 33"/>
                  <a:gd name="T7" fmla="*/ 13 h 13"/>
                  <a:gd name="T8" fmla="*/ 16 w 33"/>
                  <a:gd name="T9" fmla="*/ 13 h 13"/>
                  <a:gd name="T10" fmla="*/ 24 w 33"/>
                  <a:gd name="T11" fmla="*/ 11 h 13"/>
                  <a:gd name="T12" fmla="*/ 33 w 33"/>
                  <a:gd name="T13" fmla="*/ 6 h 13"/>
                  <a:gd name="T14" fmla="*/ 24 w 33"/>
                  <a:gd name="T15" fmla="*/ 3 h 13"/>
                  <a:gd name="T16" fmla="*/ 16 w 33"/>
                  <a:gd name="T17" fmla="*/ 1 h 13"/>
                  <a:gd name="T18" fmla="*/ 9 w 33"/>
                  <a:gd name="T19" fmla="*/ 0 h 13"/>
                  <a:gd name="T20" fmla="*/ 0 w 33"/>
                  <a:gd name="T2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9" name="Freeform 61">
                <a:extLst>
                  <a:ext uri="{FF2B5EF4-FFF2-40B4-BE49-F238E27FC236}">
                    <a16:creationId xmlns:a16="http://schemas.microsoft.com/office/drawing/2014/main" id="{001D28C2-196F-49DF-A9E3-D58E98CBF2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26 w 67"/>
                  <a:gd name="T1" fmla="*/ 18 h 86"/>
                  <a:gd name="T2" fmla="*/ 0 w 67"/>
                  <a:gd name="T3" fmla="*/ 0 h 86"/>
                  <a:gd name="T4" fmla="*/ 26 w 67"/>
                  <a:gd name="T5" fmla="*/ 0 h 86"/>
                  <a:gd name="T6" fmla="*/ 29 w 67"/>
                  <a:gd name="T7" fmla="*/ 4 h 86"/>
                  <a:gd name="T8" fmla="*/ 33 w 67"/>
                  <a:gd name="T9" fmla="*/ 8 h 86"/>
                  <a:gd name="T10" fmla="*/ 36 w 67"/>
                  <a:gd name="T11" fmla="*/ 11 h 86"/>
                  <a:gd name="T12" fmla="*/ 39 w 67"/>
                  <a:gd name="T13" fmla="*/ 14 h 86"/>
                  <a:gd name="T14" fmla="*/ 47 w 67"/>
                  <a:gd name="T15" fmla="*/ 17 h 86"/>
                  <a:gd name="T16" fmla="*/ 54 w 67"/>
                  <a:gd name="T17" fmla="*/ 18 h 86"/>
                  <a:gd name="T18" fmla="*/ 58 w 67"/>
                  <a:gd name="T19" fmla="*/ 30 h 86"/>
                  <a:gd name="T20" fmla="*/ 62 w 67"/>
                  <a:gd name="T21" fmla="*/ 40 h 86"/>
                  <a:gd name="T22" fmla="*/ 63 w 67"/>
                  <a:gd name="T23" fmla="*/ 45 h 86"/>
                  <a:gd name="T24" fmla="*/ 66 w 67"/>
                  <a:gd name="T25" fmla="*/ 50 h 86"/>
                  <a:gd name="T26" fmla="*/ 66 w 67"/>
                  <a:gd name="T27" fmla="*/ 55 h 86"/>
                  <a:gd name="T28" fmla="*/ 67 w 67"/>
                  <a:gd name="T29" fmla="*/ 61 h 86"/>
                  <a:gd name="T30" fmla="*/ 63 w 67"/>
                  <a:gd name="T31" fmla="*/ 74 h 86"/>
                  <a:gd name="T32" fmla="*/ 60 w 67"/>
                  <a:gd name="T33" fmla="*/ 86 h 86"/>
                  <a:gd name="T34" fmla="*/ 55 w 67"/>
                  <a:gd name="T35" fmla="*/ 69 h 86"/>
                  <a:gd name="T36" fmla="*/ 51 w 67"/>
                  <a:gd name="T37" fmla="*/ 54 h 86"/>
                  <a:gd name="T38" fmla="*/ 50 w 67"/>
                  <a:gd name="T39" fmla="*/ 47 h 86"/>
                  <a:gd name="T40" fmla="*/ 50 w 67"/>
                  <a:gd name="T41" fmla="*/ 41 h 86"/>
                  <a:gd name="T42" fmla="*/ 51 w 67"/>
                  <a:gd name="T43" fmla="*/ 35 h 86"/>
                  <a:gd name="T44" fmla="*/ 54 w 67"/>
                  <a:gd name="T45" fmla="*/ 30 h 86"/>
                  <a:gd name="T46" fmla="*/ 44 w 67"/>
                  <a:gd name="T47" fmla="*/ 30 h 86"/>
                  <a:gd name="T48" fmla="*/ 35 w 67"/>
                  <a:gd name="T49" fmla="*/ 29 h 86"/>
                  <a:gd name="T50" fmla="*/ 32 w 67"/>
                  <a:gd name="T51" fmla="*/ 27 h 86"/>
                  <a:gd name="T52" fmla="*/ 28 w 67"/>
                  <a:gd name="T53" fmla="*/ 25 h 86"/>
                  <a:gd name="T54" fmla="*/ 27 w 67"/>
                  <a:gd name="T55" fmla="*/ 22 h 86"/>
                  <a:gd name="T56" fmla="*/ 26 w 67"/>
                  <a:gd name="T57" fmla="*/ 18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0" name="Freeform 62">
                <a:extLst>
                  <a:ext uri="{FF2B5EF4-FFF2-40B4-BE49-F238E27FC236}">
                    <a16:creationId xmlns:a16="http://schemas.microsoft.com/office/drawing/2014/main" id="{4BE45E69-83CD-451B-A17E-21F747801E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27 w 49"/>
                  <a:gd name="T1" fmla="*/ 12 h 86"/>
                  <a:gd name="T2" fmla="*/ 20 w 49"/>
                  <a:gd name="T3" fmla="*/ 6 h 86"/>
                  <a:gd name="T4" fmla="*/ 14 w 49"/>
                  <a:gd name="T5" fmla="*/ 0 h 86"/>
                  <a:gd name="T6" fmla="*/ 9 w 49"/>
                  <a:gd name="T7" fmla="*/ 5 h 86"/>
                  <a:gd name="T8" fmla="*/ 5 w 49"/>
                  <a:gd name="T9" fmla="*/ 13 h 86"/>
                  <a:gd name="T10" fmla="*/ 1 w 49"/>
                  <a:gd name="T11" fmla="*/ 21 h 86"/>
                  <a:gd name="T12" fmla="*/ 0 w 49"/>
                  <a:gd name="T13" fmla="*/ 30 h 86"/>
                  <a:gd name="T14" fmla="*/ 0 w 49"/>
                  <a:gd name="T15" fmla="*/ 36 h 86"/>
                  <a:gd name="T16" fmla="*/ 3 w 49"/>
                  <a:gd name="T17" fmla="*/ 43 h 86"/>
                  <a:gd name="T18" fmla="*/ 5 w 49"/>
                  <a:gd name="T19" fmla="*/ 50 h 86"/>
                  <a:gd name="T20" fmla="*/ 8 w 49"/>
                  <a:gd name="T21" fmla="*/ 58 h 86"/>
                  <a:gd name="T22" fmla="*/ 12 w 49"/>
                  <a:gd name="T23" fmla="*/ 66 h 86"/>
                  <a:gd name="T24" fmla="*/ 17 w 49"/>
                  <a:gd name="T25" fmla="*/ 74 h 86"/>
                  <a:gd name="T26" fmla="*/ 22 w 49"/>
                  <a:gd name="T27" fmla="*/ 80 h 86"/>
                  <a:gd name="T28" fmla="*/ 27 w 49"/>
                  <a:gd name="T29" fmla="*/ 86 h 86"/>
                  <a:gd name="T30" fmla="*/ 31 w 49"/>
                  <a:gd name="T31" fmla="*/ 79 h 86"/>
                  <a:gd name="T32" fmla="*/ 37 w 49"/>
                  <a:gd name="T33" fmla="*/ 69 h 86"/>
                  <a:gd name="T34" fmla="*/ 42 w 49"/>
                  <a:gd name="T35" fmla="*/ 57 h 86"/>
                  <a:gd name="T36" fmla="*/ 46 w 49"/>
                  <a:gd name="T37" fmla="*/ 45 h 86"/>
                  <a:gd name="T38" fmla="*/ 49 w 49"/>
                  <a:gd name="T39" fmla="*/ 39 h 86"/>
                  <a:gd name="T40" fmla="*/ 49 w 49"/>
                  <a:gd name="T41" fmla="*/ 33 h 86"/>
                  <a:gd name="T42" fmla="*/ 49 w 49"/>
                  <a:gd name="T43" fmla="*/ 26 h 86"/>
                  <a:gd name="T44" fmla="*/ 48 w 49"/>
                  <a:gd name="T45" fmla="*/ 22 h 86"/>
                  <a:gd name="T46" fmla="*/ 44 w 49"/>
                  <a:gd name="T47" fmla="*/ 18 h 86"/>
                  <a:gd name="T48" fmla="*/ 40 w 49"/>
                  <a:gd name="T49" fmla="*/ 15 h 86"/>
                  <a:gd name="T50" fmla="*/ 34 w 49"/>
                  <a:gd name="T51" fmla="*/ 13 h 86"/>
                  <a:gd name="T52" fmla="*/ 27 w 49"/>
                  <a:gd name="T53" fmla="*/ 1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1" name="Freeform 63">
                <a:extLst>
                  <a:ext uri="{FF2B5EF4-FFF2-40B4-BE49-F238E27FC236}">
                    <a16:creationId xmlns:a16="http://schemas.microsoft.com/office/drawing/2014/main" id="{C9617C57-A9EE-4141-87CA-8F811FBDA0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12 h 12"/>
                  <a:gd name="T2" fmla="*/ 6 w 6"/>
                  <a:gd name="T3" fmla="*/ 0 h 12"/>
                  <a:gd name="T4" fmla="*/ 4 w 6"/>
                  <a:gd name="T5" fmla="*/ 0 h 12"/>
                  <a:gd name="T6" fmla="*/ 2 w 6"/>
                  <a:gd name="T7" fmla="*/ 2 h 12"/>
                  <a:gd name="T8" fmla="*/ 1 w 6"/>
                  <a:gd name="T9" fmla="*/ 4 h 12"/>
                  <a:gd name="T10" fmla="*/ 0 w 6"/>
                  <a:gd name="T11" fmla="*/ 6 h 12"/>
                  <a:gd name="T12" fmla="*/ 0 w 6"/>
                  <a:gd name="T13" fmla="*/ 10 h 12"/>
                  <a:gd name="T14" fmla="*/ 0 w 6"/>
                  <a:gd name="T1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2" name="Freeform 64">
                <a:extLst>
                  <a:ext uri="{FF2B5EF4-FFF2-40B4-BE49-F238E27FC236}">
                    <a16:creationId xmlns:a16="http://schemas.microsoft.com/office/drawing/2014/main" id="{D4BAB17F-0D6C-4A8A-80C2-3891018892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11 w 39"/>
                  <a:gd name="T3" fmla="*/ 9 h 48"/>
                  <a:gd name="T4" fmla="*/ 22 w 39"/>
                  <a:gd name="T5" fmla="*/ 17 h 48"/>
                  <a:gd name="T6" fmla="*/ 32 w 39"/>
                  <a:gd name="T7" fmla="*/ 24 h 48"/>
                  <a:gd name="T8" fmla="*/ 39 w 39"/>
                  <a:gd name="T9" fmla="*/ 30 h 48"/>
                  <a:gd name="T10" fmla="*/ 36 w 39"/>
                  <a:gd name="T11" fmla="*/ 39 h 48"/>
                  <a:gd name="T12" fmla="*/ 33 w 39"/>
                  <a:gd name="T13" fmla="*/ 48 h 48"/>
                  <a:gd name="T14" fmla="*/ 18 w 39"/>
                  <a:gd name="T15" fmla="*/ 36 h 48"/>
                  <a:gd name="T16" fmla="*/ 8 w 39"/>
                  <a:gd name="T17" fmla="*/ 26 h 48"/>
                  <a:gd name="T18" fmla="*/ 4 w 39"/>
                  <a:gd name="T19" fmla="*/ 21 h 48"/>
                  <a:gd name="T20" fmla="*/ 2 w 39"/>
                  <a:gd name="T21" fmla="*/ 15 h 48"/>
                  <a:gd name="T22" fmla="*/ 0 w 39"/>
                  <a:gd name="T23" fmla="*/ 8 h 48"/>
                  <a:gd name="T24" fmla="*/ 0 w 39"/>
                  <a:gd name="T25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3" name="Freeform 65">
                <a:extLst>
                  <a:ext uri="{FF2B5EF4-FFF2-40B4-BE49-F238E27FC236}">
                    <a16:creationId xmlns:a16="http://schemas.microsoft.com/office/drawing/2014/main" id="{44AF8E4F-00B0-4EA2-90EE-EE49465568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7 w 16"/>
                  <a:gd name="T1" fmla="*/ 0 h 43"/>
                  <a:gd name="T2" fmla="*/ 11 w 16"/>
                  <a:gd name="T3" fmla="*/ 9 h 43"/>
                  <a:gd name="T4" fmla="*/ 15 w 16"/>
                  <a:gd name="T5" fmla="*/ 16 h 43"/>
                  <a:gd name="T6" fmla="*/ 16 w 16"/>
                  <a:gd name="T7" fmla="*/ 22 h 43"/>
                  <a:gd name="T8" fmla="*/ 16 w 16"/>
                  <a:gd name="T9" fmla="*/ 27 h 43"/>
                  <a:gd name="T10" fmla="*/ 15 w 16"/>
                  <a:gd name="T11" fmla="*/ 31 h 43"/>
                  <a:gd name="T12" fmla="*/ 11 w 16"/>
                  <a:gd name="T13" fmla="*/ 35 h 43"/>
                  <a:gd name="T14" fmla="*/ 7 w 16"/>
                  <a:gd name="T15" fmla="*/ 39 h 43"/>
                  <a:gd name="T16" fmla="*/ 0 w 16"/>
                  <a:gd name="T17" fmla="*/ 43 h 43"/>
                  <a:gd name="T18" fmla="*/ 2 w 16"/>
                  <a:gd name="T19" fmla="*/ 28 h 43"/>
                  <a:gd name="T20" fmla="*/ 4 w 16"/>
                  <a:gd name="T21" fmla="*/ 18 h 43"/>
                  <a:gd name="T22" fmla="*/ 6 w 16"/>
                  <a:gd name="T23" fmla="*/ 9 h 43"/>
                  <a:gd name="T24" fmla="*/ 7 w 16"/>
                  <a:gd name="T25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4" name="Freeform 66">
                <a:extLst>
                  <a:ext uri="{FF2B5EF4-FFF2-40B4-BE49-F238E27FC236}">
                    <a16:creationId xmlns:a16="http://schemas.microsoft.com/office/drawing/2014/main" id="{3846DF22-D8F9-4A20-9BE0-08BD17B8BB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24 w 24"/>
                  <a:gd name="T1" fmla="*/ 36 h 37"/>
                  <a:gd name="T2" fmla="*/ 19 w 24"/>
                  <a:gd name="T3" fmla="*/ 27 h 37"/>
                  <a:gd name="T4" fmla="*/ 15 w 24"/>
                  <a:gd name="T5" fmla="*/ 18 h 37"/>
                  <a:gd name="T6" fmla="*/ 12 w 24"/>
                  <a:gd name="T7" fmla="*/ 9 h 37"/>
                  <a:gd name="T8" fmla="*/ 11 w 24"/>
                  <a:gd name="T9" fmla="*/ 0 h 37"/>
                  <a:gd name="T10" fmla="*/ 6 w 24"/>
                  <a:gd name="T11" fmla="*/ 10 h 37"/>
                  <a:gd name="T12" fmla="*/ 3 w 24"/>
                  <a:gd name="T13" fmla="*/ 19 h 37"/>
                  <a:gd name="T14" fmla="*/ 1 w 24"/>
                  <a:gd name="T15" fmla="*/ 26 h 37"/>
                  <a:gd name="T16" fmla="*/ 0 w 24"/>
                  <a:gd name="T17" fmla="*/ 31 h 37"/>
                  <a:gd name="T18" fmla="*/ 1 w 24"/>
                  <a:gd name="T19" fmla="*/ 33 h 37"/>
                  <a:gd name="T20" fmla="*/ 2 w 24"/>
                  <a:gd name="T21" fmla="*/ 35 h 37"/>
                  <a:gd name="T22" fmla="*/ 4 w 24"/>
                  <a:gd name="T23" fmla="*/ 36 h 37"/>
                  <a:gd name="T24" fmla="*/ 6 w 24"/>
                  <a:gd name="T25" fmla="*/ 37 h 37"/>
                  <a:gd name="T26" fmla="*/ 14 w 24"/>
                  <a:gd name="T27" fmla="*/ 37 h 37"/>
                  <a:gd name="T28" fmla="*/ 24 w 24"/>
                  <a:gd name="T29" fmla="*/ 3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5" name="Freeform 67">
                <a:extLst>
                  <a:ext uri="{FF2B5EF4-FFF2-40B4-BE49-F238E27FC236}">
                    <a16:creationId xmlns:a16="http://schemas.microsoft.com/office/drawing/2014/main" id="{2A395641-33E4-44F1-81BB-22C0065EDD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34 w 34"/>
                  <a:gd name="T1" fmla="*/ 0 h 55"/>
                  <a:gd name="T2" fmla="*/ 34 w 34"/>
                  <a:gd name="T3" fmla="*/ 13 h 55"/>
                  <a:gd name="T4" fmla="*/ 34 w 34"/>
                  <a:gd name="T5" fmla="*/ 25 h 55"/>
                  <a:gd name="T6" fmla="*/ 33 w 34"/>
                  <a:gd name="T7" fmla="*/ 32 h 55"/>
                  <a:gd name="T8" fmla="*/ 31 w 34"/>
                  <a:gd name="T9" fmla="*/ 38 h 55"/>
                  <a:gd name="T10" fmla="*/ 29 w 34"/>
                  <a:gd name="T11" fmla="*/ 43 h 55"/>
                  <a:gd name="T12" fmla="*/ 24 w 34"/>
                  <a:gd name="T13" fmla="*/ 47 h 55"/>
                  <a:gd name="T14" fmla="*/ 20 w 34"/>
                  <a:gd name="T15" fmla="*/ 51 h 55"/>
                  <a:gd name="T16" fmla="*/ 14 w 34"/>
                  <a:gd name="T17" fmla="*/ 53 h 55"/>
                  <a:gd name="T18" fmla="*/ 8 w 34"/>
                  <a:gd name="T19" fmla="*/ 55 h 55"/>
                  <a:gd name="T20" fmla="*/ 0 w 34"/>
                  <a:gd name="T21" fmla="*/ 55 h 55"/>
                  <a:gd name="T22" fmla="*/ 9 w 34"/>
                  <a:gd name="T23" fmla="*/ 36 h 55"/>
                  <a:gd name="T24" fmla="*/ 14 w 34"/>
                  <a:gd name="T25" fmla="*/ 21 h 55"/>
                  <a:gd name="T26" fmla="*/ 18 w 34"/>
                  <a:gd name="T27" fmla="*/ 16 h 55"/>
                  <a:gd name="T28" fmla="*/ 22 w 34"/>
                  <a:gd name="T29" fmla="*/ 10 h 55"/>
                  <a:gd name="T30" fmla="*/ 28 w 34"/>
                  <a:gd name="T31" fmla="*/ 5 h 55"/>
                  <a:gd name="T32" fmla="*/ 34 w 34"/>
                  <a:gd name="T33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46" name="Freeform 68">
                <a:extLst>
                  <a:ext uri="{FF2B5EF4-FFF2-40B4-BE49-F238E27FC236}">
                    <a16:creationId xmlns:a16="http://schemas.microsoft.com/office/drawing/2014/main" id="{0B8141C3-1CF5-4AEF-A708-D30DE5BEFC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2 w 33"/>
                  <a:gd name="T3" fmla="*/ 4 h 12"/>
                  <a:gd name="T4" fmla="*/ 6 w 33"/>
                  <a:gd name="T5" fmla="*/ 7 h 12"/>
                  <a:gd name="T6" fmla="*/ 10 w 33"/>
                  <a:gd name="T7" fmla="*/ 9 h 12"/>
                  <a:gd name="T8" fmla="*/ 14 w 33"/>
                  <a:gd name="T9" fmla="*/ 11 h 12"/>
                  <a:gd name="T10" fmla="*/ 23 w 33"/>
                  <a:gd name="T11" fmla="*/ 12 h 12"/>
                  <a:gd name="T12" fmla="*/ 33 w 33"/>
                  <a:gd name="T13" fmla="*/ 12 h 12"/>
                  <a:gd name="T14" fmla="*/ 28 w 33"/>
                  <a:gd name="T15" fmla="*/ 8 h 12"/>
                  <a:gd name="T16" fmla="*/ 19 w 33"/>
                  <a:gd name="T17" fmla="*/ 4 h 12"/>
                  <a:gd name="T18" fmla="*/ 10 w 33"/>
                  <a:gd name="T19" fmla="*/ 1 h 12"/>
                  <a:gd name="T20" fmla="*/ 0 w 33"/>
                  <a:gd name="T2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55" name="Freeform 69">
              <a:extLst>
                <a:ext uri="{FF2B5EF4-FFF2-40B4-BE49-F238E27FC236}">
                  <a16:creationId xmlns:a16="http://schemas.microsoft.com/office/drawing/2014/main" id="{F0D37A4E-07B1-4456-AF4C-7B26879CFB83}"/>
                </a:ext>
              </a:extLst>
            </p:cNvPr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9429750" y="4244975"/>
              <a:ext cx="12700" cy="57150"/>
            </a:xfrm>
            <a:custGeom>
              <a:avLst/>
              <a:gdLst>
                <a:gd name="T0" fmla="*/ 0 w 33"/>
                <a:gd name="T1" fmla="*/ 62 h 62"/>
                <a:gd name="T2" fmla="*/ 0 w 33"/>
                <a:gd name="T3" fmla="*/ 53 h 62"/>
                <a:gd name="T4" fmla="*/ 0 w 33"/>
                <a:gd name="T5" fmla="*/ 45 h 62"/>
                <a:gd name="T6" fmla="*/ 0 w 33"/>
                <a:gd name="T7" fmla="*/ 37 h 62"/>
                <a:gd name="T8" fmla="*/ 0 w 33"/>
                <a:gd name="T9" fmla="*/ 31 h 62"/>
                <a:gd name="T10" fmla="*/ 0 w 33"/>
                <a:gd name="T11" fmla="*/ 26 h 62"/>
                <a:gd name="T12" fmla="*/ 2 w 33"/>
                <a:gd name="T13" fmla="*/ 22 h 62"/>
                <a:gd name="T14" fmla="*/ 4 w 33"/>
                <a:gd name="T15" fmla="*/ 17 h 62"/>
                <a:gd name="T16" fmla="*/ 8 w 33"/>
                <a:gd name="T17" fmla="*/ 13 h 62"/>
                <a:gd name="T18" fmla="*/ 14 w 33"/>
                <a:gd name="T19" fmla="*/ 6 h 62"/>
                <a:gd name="T20" fmla="*/ 20 w 33"/>
                <a:gd name="T21" fmla="*/ 0 h 62"/>
                <a:gd name="T22" fmla="*/ 26 w 33"/>
                <a:gd name="T23" fmla="*/ 6 h 62"/>
                <a:gd name="T24" fmla="*/ 33 w 33"/>
                <a:gd name="T25" fmla="*/ 1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6" name="Freeform 70">
              <a:extLst>
                <a:ext uri="{FF2B5EF4-FFF2-40B4-BE49-F238E27FC236}">
                  <a16:creationId xmlns:a16="http://schemas.microsoft.com/office/drawing/2014/main" id="{F42ED483-BD26-45C6-B071-6D9382F270E5}"/>
                </a:ext>
              </a:extLst>
            </p:cNvPr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9439276" y="4335464"/>
              <a:ext cx="9525" cy="58737"/>
            </a:xfrm>
            <a:custGeom>
              <a:avLst/>
              <a:gdLst>
                <a:gd name="T0" fmla="*/ 0 w 26"/>
                <a:gd name="T1" fmla="*/ 18 h 18"/>
                <a:gd name="T2" fmla="*/ 0 w 26"/>
                <a:gd name="T3" fmla="*/ 0 h 18"/>
                <a:gd name="T4" fmla="*/ 26 w 26"/>
                <a:gd name="T5" fmla="*/ 0 h 18"/>
                <a:gd name="T6" fmla="*/ 6 w 26"/>
                <a:gd name="T7" fmla="*/ 12 h 18"/>
                <a:gd name="T8" fmla="*/ 6 w 26"/>
                <a:gd name="T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7" name="Freeform 71">
              <a:extLst>
                <a:ext uri="{FF2B5EF4-FFF2-40B4-BE49-F238E27FC236}">
                  <a16:creationId xmlns:a16="http://schemas.microsoft.com/office/drawing/2014/main" id="{52B6FACF-8F72-41A1-A1A3-D3C1D0E12F00}"/>
                </a:ext>
              </a:extLst>
            </p:cNvPr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9553575" y="4244976"/>
              <a:ext cx="77788" cy="130175"/>
            </a:xfrm>
            <a:custGeom>
              <a:avLst/>
              <a:gdLst>
                <a:gd name="T0" fmla="*/ 180 w 180"/>
                <a:gd name="T1" fmla="*/ 222 h 240"/>
                <a:gd name="T2" fmla="*/ 175 w 180"/>
                <a:gd name="T3" fmla="*/ 223 h 240"/>
                <a:gd name="T4" fmla="*/ 171 w 180"/>
                <a:gd name="T5" fmla="*/ 223 h 240"/>
                <a:gd name="T6" fmla="*/ 167 w 180"/>
                <a:gd name="T7" fmla="*/ 225 h 240"/>
                <a:gd name="T8" fmla="*/ 164 w 180"/>
                <a:gd name="T9" fmla="*/ 227 h 240"/>
                <a:gd name="T10" fmla="*/ 158 w 180"/>
                <a:gd name="T11" fmla="*/ 232 h 240"/>
                <a:gd name="T12" fmla="*/ 153 w 180"/>
                <a:gd name="T13" fmla="*/ 240 h 240"/>
                <a:gd name="T14" fmla="*/ 140 w 180"/>
                <a:gd name="T15" fmla="*/ 232 h 240"/>
                <a:gd name="T16" fmla="*/ 131 w 180"/>
                <a:gd name="T17" fmla="*/ 223 h 240"/>
                <a:gd name="T18" fmla="*/ 123 w 180"/>
                <a:gd name="T19" fmla="*/ 214 h 240"/>
                <a:gd name="T20" fmla="*/ 118 w 180"/>
                <a:gd name="T21" fmla="*/ 206 h 240"/>
                <a:gd name="T22" fmla="*/ 112 w 180"/>
                <a:gd name="T23" fmla="*/ 195 h 240"/>
                <a:gd name="T24" fmla="*/ 106 w 180"/>
                <a:gd name="T25" fmla="*/ 185 h 240"/>
                <a:gd name="T26" fmla="*/ 98 w 180"/>
                <a:gd name="T27" fmla="*/ 174 h 240"/>
                <a:gd name="T28" fmla="*/ 87 w 180"/>
                <a:gd name="T29" fmla="*/ 161 h 240"/>
                <a:gd name="T30" fmla="*/ 82 w 180"/>
                <a:gd name="T31" fmla="*/ 153 h 240"/>
                <a:gd name="T32" fmla="*/ 75 w 180"/>
                <a:gd name="T33" fmla="*/ 146 h 240"/>
                <a:gd name="T34" fmla="*/ 70 w 180"/>
                <a:gd name="T35" fmla="*/ 139 h 240"/>
                <a:gd name="T36" fmla="*/ 62 w 180"/>
                <a:gd name="T37" fmla="*/ 133 h 240"/>
                <a:gd name="T38" fmla="*/ 48 w 180"/>
                <a:gd name="T39" fmla="*/ 121 h 240"/>
                <a:gd name="T40" fmla="*/ 33 w 180"/>
                <a:gd name="T41" fmla="*/ 110 h 240"/>
                <a:gd name="T42" fmla="*/ 27 w 180"/>
                <a:gd name="T43" fmla="*/ 104 h 240"/>
                <a:gd name="T44" fmla="*/ 21 w 180"/>
                <a:gd name="T45" fmla="*/ 98 h 240"/>
                <a:gd name="T46" fmla="*/ 15 w 180"/>
                <a:gd name="T47" fmla="*/ 92 h 240"/>
                <a:gd name="T48" fmla="*/ 10 w 180"/>
                <a:gd name="T49" fmla="*/ 84 h 240"/>
                <a:gd name="T50" fmla="*/ 6 w 180"/>
                <a:gd name="T51" fmla="*/ 77 h 240"/>
                <a:gd name="T52" fmla="*/ 4 w 180"/>
                <a:gd name="T53" fmla="*/ 68 h 240"/>
                <a:gd name="T54" fmla="*/ 1 w 180"/>
                <a:gd name="T55" fmla="*/ 60 h 240"/>
                <a:gd name="T56" fmla="*/ 0 w 180"/>
                <a:gd name="T57" fmla="*/ 50 h 240"/>
                <a:gd name="T58" fmla="*/ 0 w 180"/>
                <a:gd name="T59" fmla="*/ 35 h 240"/>
                <a:gd name="T60" fmla="*/ 0 w 180"/>
                <a:gd name="T61" fmla="*/ 25 h 240"/>
                <a:gd name="T62" fmla="*/ 0 w 180"/>
                <a:gd name="T63" fmla="*/ 15 h 240"/>
                <a:gd name="T64" fmla="*/ 0 w 180"/>
                <a:gd name="T65" fmla="*/ 0 h 240"/>
                <a:gd name="T66" fmla="*/ 10 w 180"/>
                <a:gd name="T67" fmla="*/ 8 h 240"/>
                <a:gd name="T68" fmla="*/ 19 w 180"/>
                <a:gd name="T69" fmla="*/ 17 h 240"/>
                <a:gd name="T70" fmla="*/ 27 w 180"/>
                <a:gd name="T71" fmla="*/ 27 h 240"/>
                <a:gd name="T72" fmla="*/ 34 w 180"/>
                <a:gd name="T73" fmla="*/ 38 h 240"/>
                <a:gd name="T74" fmla="*/ 41 w 180"/>
                <a:gd name="T75" fmla="*/ 48 h 240"/>
                <a:gd name="T76" fmla="*/ 46 w 180"/>
                <a:gd name="T77" fmla="*/ 58 h 240"/>
                <a:gd name="T78" fmla="*/ 51 w 180"/>
                <a:gd name="T79" fmla="*/ 66 h 240"/>
                <a:gd name="T80" fmla="*/ 54 w 180"/>
                <a:gd name="T81" fmla="*/ 74 h 240"/>
                <a:gd name="T82" fmla="*/ 60 w 180"/>
                <a:gd name="T83" fmla="*/ 86 h 240"/>
                <a:gd name="T84" fmla="*/ 66 w 180"/>
                <a:gd name="T85" fmla="*/ 98 h 240"/>
                <a:gd name="T86" fmla="*/ 74 w 180"/>
                <a:gd name="T87" fmla="*/ 107 h 240"/>
                <a:gd name="T88" fmla="*/ 82 w 180"/>
                <a:gd name="T89" fmla="*/ 116 h 240"/>
                <a:gd name="T90" fmla="*/ 100 w 180"/>
                <a:gd name="T91" fmla="*/ 133 h 240"/>
                <a:gd name="T92" fmla="*/ 119 w 180"/>
                <a:gd name="T93" fmla="*/ 149 h 240"/>
                <a:gd name="T94" fmla="*/ 139 w 180"/>
                <a:gd name="T95" fmla="*/ 164 h 240"/>
                <a:gd name="T96" fmla="*/ 155 w 180"/>
                <a:gd name="T97" fmla="*/ 180 h 240"/>
                <a:gd name="T98" fmla="*/ 163 w 180"/>
                <a:gd name="T99" fmla="*/ 189 h 240"/>
                <a:gd name="T100" fmla="*/ 169 w 180"/>
                <a:gd name="T101" fmla="*/ 199 h 240"/>
                <a:gd name="T102" fmla="*/ 175 w 180"/>
                <a:gd name="T103" fmla="*/ 210 h 240"/>
                <a:gd name="T104" fmla="*/ 180 w 180"/>
                <a:gd name="T105" fmla="*/ 22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58" name="Freeform 72">
              <a:extLst>
                <a:ext uri="{FF2B5EF4-FFF2-40B4-BE49-F238E27FC236}">
                  <a16:creationId xmlns:a16="http://schemas.microsoft.com/office/drawing/2014/main" id="{2466110B-CEDB-4C1D-BE76-677217B06E46}"/>
                </a:ext>
              </a:extLst>
            </p:cNvPr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9553575" y="4217988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1 w 27"/>
                <a:gd name="T3" fmla="*/ 5 h 30"/>
                <a:gd name="T4" fmla="*/ 3 w 27"/>
                <a:gd name="T5" fmla="*/ 11 h 30"/>
                <a:gd name="T6" fmla="*/ 4 w 27"/>
                <a:gd name="T7" fmla="*/ 14 h 30"/>
                <a:gd name="T8" fmla="*/ 4 w 27"/>
                <a:gd name="T9" fmla="*/ 19 h 30"/>
                <a:gd name="T10" fmla="*/ 3 w 27"/>
                <a:gd name="T11" fmla="*/ 24 h 30"/>
                <a:gd name="T12" fmla="*/ 0 w 27"/>
                <a:gd name="T13" fmla="*/ 30 h 30"/>
                <a:gd name="T14" fmla="*/ 17 w 27"/>
                <a:gd name="T15" fmla="*/ 27 h 30"/>
                <a:gd name="T16" fmla="*/ 27 w 27"/>
                <a:gd name="T17" fmla="*/ 24 h 30"/>
                <a:gd name="T18" fmla="*/ 23 w 27"/>
                <a:gd name="T19" fmla="*/ 20 h 30"/>
                <a:gd name="T20" fmla="*/ 17 w 27"/>
                <a:gd name="T21" fmla="*/ 12 h 30"/>
                <a:gd name="T22" fmla="*/ 11 w 27"/>
                <a:gd name="T23" fmla="*/ 8 h 30"/>
                <a:gd name="T24" fmla="*/ 7 w 27"/>
                <a:gd name="T25" fmla="*/ 4 h 30"/>
                <a:gd name="T26" fmla="*/ 4 w 27"/>
                <a:gd name="T27" fmla="*/ 1 h 30"/>
                <a:gd name="T28" fmla="*/ 0 w 27"/>
                <a:gd name="T2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59" name="Group 73">
              <a:extLst>
                <a:ext uri="{FF2B5EF4-FFF2-40B4-BE49-F238E27FC236}">
                  <a16:creationId xmlns:a16="http://schemas.microsoft.com/office/drawing/2014/main" id="{FDF4E8EA-812A-4607-99C9-078059A0D79B}"/>
                </a:ext>
              </a:extLst>
            </p:cNvPr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9244014" y="4738688"/>
              <a:ext cx="458787" cy="404812"/>
              <a:chOff x="5372" y="3323"/>
              <a:chExt cx="341" cy="253"/>
            </a:xfrm>
          </p:grpSpPr>
          <p:sp>
            <p:nvSpPr>
              <p:cNvPr id="534" name="Freeform 74">
                <a:extLst>
                  <a:ext uri="{FF2B5EF4-FFF2-40B4-BE49-F238E27FC236}">
                    <a16:creationId xmlns:a16="http://schemas.microsoft.com/office/drawing/2014/main" id="{2092809A-1EBD-4947-915F-A735371B10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31 h 33"/>
                  <a:gd name="T2" fmla="*/ 4 w 53"/>
                  <a:gd name="T3" fmla="*/ 26 h 33"/>
                  <a:gd name="T4" fmla="*/ 8 w 53"/>
                  <a:gd name="T5" fmla="*/ 21 h 33"/>
                  <a:gd name="T6" fmla="*/ 15 w 53"/>
                  <a:gd name="T7" fmla="*/ 16 h 33"/>
                  <a:gd name="T8" fmla="*/ 21 w 53"/>
                  <a:gd name="T9" fmla="*/ 11 h 33"/>
                  <a:gd name="T10" fmla="*/ 29 w 53"/>
                  <a:gd name="T11" fmla="*/ 7 h 33"/>
                  <a:gd name="T12" fmla="*/ 38 w 53"/>
                  <a:gd name="T13" fmla="*/ 3 h 33"/>
                  <a:gd name="T14" fmla="*/ 45 w 53"/>
                  <a:gd name="T15" fmla="*/ 1 h 33"/>
                  <a:gd name="T16" fmla="*/ 53 w 53"/>
                  <a:gd name="T17" fmla="*/ 0 h 33"/>
                  <a:gd name="T18" fmla="*/ 53 w 53"/>
                  <a:gd name="T19" fmla="*/ 18 h 33"/>
                  <a:gd name="T20" fmla="*/ 38 w 53"/>
                  <a:gd name="T21" fmla="*/ 24 h 33"/>
                  <a:gd name="T22" fmla="*/ 27 w 53"/>
                  <a:gd name="T23" fmla="*/ 30 h 33"/>
                  <a:gd name="T24" fmla="*/ 21 w 53"/>
                  <a:gd name="T25" fmla="*/ 32 h 33"/>
                  <a:gd name="T26" fmla="*/ 16 w 53"/>
                  <a:gd name="T27" fmla="*/ 33 h 33"/>
                  <a:gd name="T28" fmla="*/ 9 w 53"/>
                  <a:gd name="T29" fmla="*/ 33 h 33"/>
                  <a:gd name="T30" fmla="*/ 0 w 53"/>
                  <a:gd name="T31" fmla="*/ 3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5" name="Freeform 75">
                <a:extLst>
                  <a:ext uri="{FF2B5EF4-FFF2-40B4-BE49-F238E27FC236}">
                    <a16:creationId xmlns:a16="http://schemas.microsoft.com/office/drawing/2014/main" id="{19786B73-7693-4EFE-91F5-EF94621DF0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24 w 631"/>
                  <a:gd name="T1" fmla="*/ 296 h 358"/>
                  <a:gd name="T2" fmla="*/ 50 w 631"/>
                  <a:gd name="T3" fmla="*/ 290 h 358"/>
                  <a:gd name="T4" fmla="*/ 65 w 631"/>
                  <a:gd name="T5" fmla="*/ 277 h 358"/>
                  <a:gd name="T6" fmla="*/ 79 w 631"/>
                  <a:gd name="T7" fmla="*/ 253 h 358"/>
                  <a:gd name="T8" fmla="*/ 100 w 631"/>
                  <a:gd name="T9" fmla="*/ 256 h 358"/>
                  <a:gd name="T10" fmla="*/ 126 w 631"/>
                  <a:gd name="T11" fmla="*/ 253 h 358"/>
                  <a:gd name="T12" fmla="*/ 141 w 631"/>
                  <a:gd name="T13" fmla="*/ 247 h 358"/>
                  <a:gd name="T14" fmla="*/ 162 w 631"/>
                  <a:gd name="T15" fmla="*/ 229 h 358"/>
                  <a:gd name="T16" fmla="*/ 180 w 631"/>
                  <a:gd name="T17" fmla="*/ 208 h 358"/>
                  <a:gd name="T18" fmla="*/ 211 w 631"/>
                  <a:gd name="T19" fmla="*/ 192 h 358"/>
                  <a:gd name="T20" fmla="*/ 260 w 631"/>
                  <a:gd name="T21" fmla="*/ 175 h 358"/>
                  <a:gd name="T22" fmla="*/ 329 w 631"/>
                  <a:gd name="T23" fmla="*/ 152 h 358"/>
                  <a:gd name="T24" fmla="*/ 361 w 631"/>
                  <a:gd name="T25" fmla="*/ 137 h 358"/>
                  <a:gd name="T26" fmla="*/ 392 w 631"/>
                  <a:gd name="T27" fmla="*/ 130 h 358"/>
                  <a:gd name="T28" fmla="*/ 406 w 631"/>
                  <a:gd name="T29" fmla="*/ 127 h 358"/>
                  <a:gd name="T30" fmla="*/ 440 w 631"/>
                  <a:gd name="T31" fmla="*/ 107 h 358"/>
                  <a:gd name="T32" fmla="*/ 469 w 631"/>
                  <a:gd name="T33" fmla="*/ 80 h 358"/>
                  <a:gd name="T34" fmla="*/ 478 w 631"/>
                  <a:gd name="T35" fmla="*/ 63 h 358"/>
                  <a:gd name="T36" fmla="*/ 504 w 631"/>
                  <a:gd name="T37" fmla="*/ 58 h 358"/>
                  <a:gd name="T38" fmla="*/ 537 w 631"/>
                  <a:gd name="T39" fmla="*/ 36 h 358"/>
                  <a:gd name="T40" fmla="*/ 568 w 631"/>
                  <a:gd name="T41" fmla="*/ 11 h 358"/>
                  <a:gd name="T42" fmla="*/ 591 w 631"/>
                  <a:gd name="T43" fmla="*/ 0 h 358"/>
                  <a:gd name="T44" fmla="*/ 602 w 631"/>
                  <a:gd name="T45" fmla="*/ 22 h 358"/>
                  <a:gd name="T46" fmla="*/ 617 w 631"/>
                  <a:gd name="T47" fmla="*/ 30 h 358"/>
                  <a:gd name="T48" fmla="*/ 625 w 631"/>
                  <a:gd name="T49" fmla="*/ 46 h 358"/>
                  <a:gd name="T50" fmla="*/ 601 w 631"/>
                  <a:gd name="T51" fmla="*/ 88 h 358"/>
                  <a:gd name="T52" fmla="*/ 568 w 631"/>
                  <a:gd name="T53" fmla="*/ 125 h 358"/>
                  <a:gd name="T54" fmla="*/ 529 w 631"/>
                  <a:gd name="T55" fmla="*/ 154 h 358"/>
                  <a:gd name="T56" fmla="*/ 487 w 631"/>
                  <a:gd name="T57" fmla="*/ 173 h 358"/>
                  <a:gd name="T58" fmla="*/ 445 w 631"/>
                  <a:gd name="T59" fmla="*/ 180 h 358"/>
                  <a:gd name="T60" fmla="*/ 438 w 631"/>
                  <a:gd name="T61" fmla="*/ 197 h 358"/>
                  <a:gd name="T62" fmla="*/ 433 w 631"/>
                  <a:gd name="T63" fmla="*/ 200 h 358"/>
                  <a:gd name="T64" fmla="*/ 395 w 631"/>
                  <a:gd name="T65" fmla="*/ 199 h 358"/>
                  <a:gd name="T66" fmla="*/ 367 w 631"/>
                  <a:gd name="T67" fmla="*/ 210 h 358"/>
                  <a:gd name="T68" fmla="*/ 347 w 631"/>
                  <a:gd name="T69" fmla="*/ 212 h 358"/>
                  <a:gd name="T70" fmla="*/ 338 w 631"/>
                  <a:gd name="T71" fmla="*/ 204 h 358"/>
                  <a:gd name="T72" fmla="*/ 313 w 631"/>
                  <a:gd name="T73" fmla="*/ 241 h 358"/>
                  <a:gd name="T74" fmla="*/ 272 w 631"/>
                  <a:gd name="T75" fmla="*/ 280 h 358"/>
                  <a:gd name="T76" fmla="*/ 220 w 631"/>
                  <a:gd name="T77" fmla="*/ 315 h 358"/>
                  <a:gd name="T78" fmla="*/ 164 w 631"/>
                  <a:gd name="T79" fmla="*/ 343 h 358"/>
                  <a:gd name="T80" fmla="*/ 110 w 631"/>
                  <a:gd name="T81" fmla="*/ 357 h 358"/>
                  <a:gd name="T82" fmla="*/ 71 w 631"/>
                  <a:gd name="T83" fmla="*/ 356 h 358"/>
                  <a:gd name="T84" fmla="*/ 56 w 631"/>
                  <a:gd name="T85" fmla="*/ 348 h 358"/>
                  <a:gd name="T86" fmla="*/ 33 w 631"/>
                  <a:gd name="T87" fmla="*/ 340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6" name="Freeform 76">
                <a:extLst>
                  <a:ext uri="{FF2B5EF4-FFF2-40B4-BE49-F238E27FC236}">
                    <a16:creationId xmlns:a16="http://schemas.microsoft.com/office/drawing/2014/main" id="{842C1258-FE88-49EB-A8AC-926FEAA5CC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60 w 359"/>
                  <a:gd name="T1" fmla="*/ 288 h 431"/>
                  <a:gd name="T2" fmla="*/ 95 w 359"/>
                  <a:gd name="T3" fmla="*/ 269 h 431"/>
                  <a:gd name="T4" fmla="*/ 165 w 359"/>
                  <a:gd name="T5" fmla="*/ 209 h 431"/>
                  <a:gd name="T6" fmla="*/ 172 w 359"/>
                  <a:gd name="T7" fmla="*/ 168 h 431"/>
                  <a:gd name="T8" fmla="*/ 180 w 359"/>
                  <a:gd name="T9" fmla="*/ 149 h 431"/>
                  <a:gd name="T10" fmla="*/ 193 w 359"/>
                  <a:gd name="T11" fmla="*/ 137 h 431"/>
                  <a:gd name="T12" fmla="*/ 190 w 359"/>
                  <a:gd name="T13" fmla="*/ 126 h 431"/>
                  <a:gd name="T14" fmla="*/ 179 w 359"/>
                  <a:gd name="T15" fmla="*/ 94 h 431"/>
                  <a:gd name="T16" fmla="*/ 173 w 359"/>
                  <a:gd name="T17" fmla="*/ 34 h 431"/>
                  <a:gd name="T18" fmla="*/ 182 w 359"/>
                  <a:gd name="T19" fmla="*/ 0 h 431"/>
                  <a:gd name="T20" fmla="*/ 194 w 359"/>
                  <a:gd name="T21" fmla="*/ 11 h 431"/>
                  <a:gd name="T22" fmla="*/ 207 w 359"/>
                  <a:gd name="T23" fmla="*/ 29 h 431"/>
                  <a:gd name="T24" fmla="*/ 231 w 359"/>
                  <a:gd name="T25" fmla="*/ 56 h 431"/>
                  <a:gd name="T26" fmla="*/ 238 w 359"/>
                  <a:gd name="T27" fmla="*/ 73 h 431"/>
                  <a:gd name="T28" fmla="*/ 237 w 359"/>
                  <a:gd name="T29" fmla="*/ 88 h 431"/>
                  <a:gd name="T30" fmla="*/ 226 w 359"/>
                  <a:gd name="T31" fmla="*/ 102 h 431"/>
                  <a:gd name="T32" fmla="*/ 205 w 359"/>
                  <a:gd name="T33" fmla="*/ 120 h 431"/>
                  <a:gd name="T34" fmla="*/ 199 w 359"/>
                  <a:gd name="T35" fmla="*/ 131 h 431"/>
                  <a:gd name="T36" fmla="*/ 199 w 359"/>
                  <a:gd name="T37" fmla="*/ 149 h 431"/>
                  <a:gd name="T38" fmla="*/ 205 w 359"/>
                  <a:gd name="T39" fmla="*/ 159 h 431"/>
                  <a:gd name="T40" fmla="*/ 226 w 359"/>
                  <a:gd name="T41" fmla="*/ 160 h 431"/>
                  <a:gd name="T42" fmla="*/ 233 w 359"/>
                  <a:gd name="T43" fmla="*/ 153 h 431"/>
                  <a:gd name="T44" fmla="*/ 232 w 359"/>
                  <a:gd name="T45" fmla="*/ 135 h 431"/>
                  <a:gd name="T46" fmla="*/ 259 w 359"/>
                  <a:gd name="T47" fmla="*/ 193 h 431"/>
                  <a:gd name="T48" fmla="*/ 271 w 359"/>
                  <a:gd name="T49" fmla="*/ 208 h 431"/>
                  <a:gd name="T50" fmla="*/ 291 w 359"/>
                  <a:gd name="T51" fmla="*/ 219 h 431"/>
                  <a:gd name="T52" fmla="*/ 300 w 359"/>
                  <a:gd name="T53" fmla="*/ 217 h 431"/>
                  <a:gd name="T54" fmla="*/ 312 w 359"/>
                  <a:gd name="T55" fmla="*/ 206 h 431"/>
                  <a:gd name="T56" fmla="*/ 341 w 359"/>
                  <a:gd name="T57" fmla="*/ 194 h 431"/>
                  <a:gd name="T58" fmla="*/ 355 w 359"/>
                  <a:gd name="T59" fmla="*/ 206 h 431"/>
                  <a:gd name="T60" fmla="*/ 342 w 359"/>
                  <a:gd name="T61" fmla="*/ 240 h 431"/>
                  <a:gd name="T62" fmla="*/ 321 w 359"/>
                  <a:gd name="T63" fmla="*/ 261 h 431"/>
                  <a:gd name="T64" fmla="*/ 295 w 359"/>
                  <a:gd name="T65" fmla="*/ 275 h 431"/>
                  <a:gd name="T66" fmla="*/ 247 w 359"/>
                  <a:gd name="T67" fmla="*/ 288 h 431"/>
                  <a:gd name="T68" fmla="*/ 208 w 359"/>
                  <a:gd name="T69" fmla="*/ 299 h 431"/>
                  <a:gd name="T70" fmla="*/ 193 w 359"/>
                  <a:gd name="T71" fmla="*/ 308 h 431"/>
                  <a:gd name="T72" fmla="*/ 179 w 359"/>
                  <a:gd name="T73" fmla="*/ 339 h 431"/>
                  <a:gd name="T74" fmla="*/ 163 w 359"/>
                  <a:gd name="T75" fmla="*/ 356 h 431"/>
                  <a:gd name="T76" fmla="*/ 109 w 359"/>
                  <a:gd name="T77" fmla="*/ 394 h 431"/>
                  <a:gd name="T78" fmla="*/ 48 w 359"/>
                  <a:gd name="T79" fmla="*/ 424 h 431"/>
                  <a:gd name="T80" fmla="*/ 19 w 359"/>
                  <a:gd name="T81" fmla="*/ 431 h 431"/>
                  <a:gd name="T82" fmla="*/ 7 w 359"/>
                  <a:gd name="T83" fmla="*/ 426 h 431"/>
                  <a:gd name="T84" fmla="*/ 1 w 359"/>
                  <a:gd name="T85" fmla="*/ 415 h 431"/>
                  <a:gd name="T86" fmla="*/ 1 w 359"/>
                  <a:gd name="T87" fmla="*/ 402 h 431"/>
                  <a:gd name="T88" fmla="*/ 9 w 359"/>
                  <a:gd name="T89" fmla="*/ 391 h 431"/>
                  <a:gd name="T90" fmla="*/ 56 w 359"/>
                  <a:gd name="T91" fmla="*/ 374 h 431"/>
                  <a:gd name="T92" fmla="*/ 73 w 359"/>
                  <a:gd name="T93" fmla="*/ 351 h 431"/>
                  <a:gd name="T94" fmla="*/ 71 w 359"/>
                  <a:gd name="T95" fmla="*/ 335 h 431"/>
                  <a:gd name="T96" fmla="*/ 64 w 359"/>
                  <a:gd name="T97" fmla="*/ 326 h 431"/>
                  <a:gd name="T98" fmla="*/ 51 w 359"/>
                  <a:gd name="T99" fmla="*/ 320 h 431"/>
                  <a:gd name="T100" fmla="*/ 19 w 359"/>
                  <a:gd name="T101" fmla="*/ 320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60" name="Freeform 77">
              <a:extLst>
                <a:ext uri="{FF2B5EF4-FFF2-40B4-BE49-F238E27FC236}">
                  <a16:creationId xmlns:a16="http://schemas.microsoft.com/office/drawing/2014/main" id="{806DCC1A-3280-4B92-A0CB-E4177BEE3113}"/>
                </a:ext>
              </a:extLst>
            </p:cNvPr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8886826" y="3395663"/>
              <a:ext cx="9525" cy="57150"/>
            </a:xfrm>
            <a:custGeom>
              <a:avLst/>
              <a:gdLst>
                <a:gd name="T0" fmla="*/ 0 w 21"/>
                <a:gd name="T1" fmla="*/ 43 h 62"/>
                <a:gd name="T2" fmla="*/ 1 w 21"/>
                <a:gd name="T3" fmla="*/ 29 h 62"/>
                <a:gd name="T4" fmla="*/ 3 w 21"/>
                <a:gd name="T5" fmla="*/ 17 h 62"/>
                <a:gd name="T6" fmla="*/ 4 w 21"/>
                <a:gd name="T7" fmla="*/ 11 h 62"/>
                <a:gd name="T8" fmla="*/ 6 w 21"/>
                <a:gd name="T9" fmla="*/ 7 h 62"/>
                <a:gd name="T10" fmla="*/ 9 w 21"/>
                <a:gd name="T11" fmla="*/ 3 h 62"/>
                <a:gd name="T12" fmla="*/ 15 w 21"/>
                <a:gd name="T13" fmla="*/ 0 h 62"/>
                <a:gd name="T14" fmla="*/ 15 w 21"/>
                <a:gd name="T15" fmla="*/ 15 h 62"/>
                <a:gd name="T16" fmla="*/ 18 w 21"/>
                <a:gd name="T17" fmla="*/ 31 h 62"/>
                <a:gd name="T18" fmla="*/ 20 w 21"/>
                <a:gd name="T19" fmla="*/ 44 h 62"/>
                <a:gd name="T20" fmla="*/ 21 w 21"/>
                <a:gd name="T21" fmla="*/ 49 h 62"/>
                <a:gd name="T22" fmla="*/ 10 w 21"/>
                <a:gd name="T23" fmla="*/ 55 h 62"/>
                <a:gd name="T24" fmla="*/ 0 w 21"/>
                <a:gd name="T25" fmla="*/ 62 h 62"/>
                <a:gd name="T26" fmla="*/ 0 w 21"/>
                <a:gd name="T27" fmla="*/ 4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1" name="Freeform 78">
              <a:extLst>
                <a:ext uri="{FF2B5EF4-FFF2-40B4-BE49-F238E27FC236}">
                  <a16:creationId xmlns:a16="http://schemas.microsoft.com/office/drawing/2014/main" id="{F58CA54A-8B63-4A14-B609-16E51F655047}"/>
                </a:ext>
              </a:extLst>
            </p:cNvPr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9613900" y="4297363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5 w 33"/>
                <a:gd name="T3" fmla="*/ 5 h 24"/>
                <a:gd name="T4" fmla="*/ 10 w 33"/>
                <a:gd name="T5" fmla="*/ 10 h 24"/>
                <a:gd name="T6" fmla="*/ 11 w 33"/>
                <a:gd name="T7" fmla="*/ 13 h 24"/>
                <a:gd name="T8" fmla="*/ 12 w 33"/>
                <a:gd name="T9" fmla="*/ 16 h 24"/>
                <a:gd name="T10" fmla="*/ 13 w 33"/>
                <a:gd name="T11" fmla="*/ 20 h 24"/>
                <a:gd name="T12" fmla="*/ 13 w 33"/>
                <a:gd name="T13" fmla="*/ 24 h 24"/>
                <a:gd name="T14" fmla="*/ 33 w 33"/>
                <a:gd name="T15" fmla="*/ 0 h 24"/>
                <a:gd name="T16" fmla="*/ 24 w 33"/>
                <a:gd name="T17" fmla="*/ 0 h 24"/>
                <a:gd name="T18" fmla="*/ 16 w 33"/>
                <a:gd name="T19" fmla="*/ 0 h 24"/>
                <a:gd name="T20" fmla="*/ 9 w 33"/>
                <a:gd name="T21" fmla="*/ 0 h 24"/>
                <a:gd name="T22" fmla="*/ 0 w 33"/>
                <a:gd name="T2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2" name="Freeform 79">
              <a:extLst>
                <a:ext uri="{FF2B5EF4-FFF2-40B4-BE49-F238E27FC236}">
                  <a16:creationId xmlns:a16="http://schemas.microsoft.com/office/drawing/2014/main" id="{3D8663E6-C3A0-44FB-A39C-66E0E44E5379}"/>
                </a:ext>
              </a:extLst>
            </p:cNvPr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9636126" y="4306889"/>
              <a:ext cx="17463" cy="58737"/>
            </a:xfrm>
            <a:custGeom>
              <a:avLst/>
              <a:gdLst>
                <a:gd name="T0" fmla="*/ 26 w 33"/>
                <a:gd name="T1" fmla="*/ 25 h 25"/>
                <a:gd name="T2" fmla="*/ 29 w 33"/>
                <a:gd name="T3" fmla="*/ 22 h 25"/>
                <a:gd name="T4" fmla="*/ 33 w 33"/>
                <a:gd name="T5" fmla="*/ 18 h 25"/>
                <a:gd name="T6" fmla="*/ 33 w 33"/>
                <a:gd name="T7" fmla="*/ 0 h 25"/>
                <a:gd name="T8" fmla="*/ 25 w 33"/>
                <a:gd name="T9" fmla="*/ 0 h 25"/>
                <a:gd name="T10" fmla="*/ 16 w 33"/>
                <a:gd name="T11" fmla="*/ 0 h 25"/>
                <a:gd name="T12" fmla="*/ 6 w 33"/>
                <a:gd name="T13" fmla="*/ 0 h 25"/>
                <a:gd name="T14" fmla="*/ 0 w 33"/>
                <a:gd name="T15" fmla="*/ 0 h 25"/>
                <a:gd name="T16" fmla="*/ 26 w 33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3" name="Freeform 80">
              <a:extLst>
                <a:ext uri="{FF2B5EF4-FFF2-40B4-BE49-F238E27FC236}">
                  <a16:creationId xmlns:a16="http://schemas.microsoft.com/office/drawing/2014/main" id="{263C5B59-B9B0-40CC-8059-3D16FFD7BEF8}"/>
                </a:ext>
              </a:extLst>
            </p:cNvPr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8950325" y="3384551"/>
              <a:ext cx="1588" cy="55563"/>
            </a:xfrm>
            <a:custGeom>
              <a:avLst/>
              <a:gdLst>
                <a:gd name="T0" fmla="*/ 0 w 7"/>
                <a:gd name="T1" fmla="*/ 7 w 7"/>
                <a:gd name="T2" fmla="*/ 0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7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4" name="Freeform 81">
              <a:extLst>
                <a:ext uri="{FF2B5EF4-FFF2-40B4-BE49-F238E27FC236}">
                  <a16:creationId xmlns:a16="http://schemas.microsoft.com/office/drawing/2014/main" id="{F8FAB9B6-8681-4DD5-B168-C8759D034092}"/>
                </a:ext>
              </a:extLst>
            </p:cNvPr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9009063" y="3328988"/>
              <a:ext cx="6350" cy="57150"/>
            </a:xfrm>
            <a:custGeom>
              <a:avLst/>
              <a:gdLst>
                <a:gd name="T0" fmla="*/ 16 w 16"/>
                <a:gd name="T1" fmla="*/ 0 h 25"/>
                <a:gd name="T2" fmla="*/ 16 w 16"/>
                <a:gd name="T3" fmla="*/ 6 h 25"/>
                <a:gd name="T4" fmla="*/ 14 w 16"/>
                <a:gd name="T5" fmla="*/ 13 h 25"/>
                <a:gd name="T6" fmla="*/ 13 w 16"/>
                <a:gd name="T7" fmla="*/ 16 h 25"/>
                <a:gd name="T8" fmla="*/ 11 w 16"/>
                <a:gd name="T9" fmla="*/ 20 h 25"/>
                <a:gd name="T10" fmla="*/ 7 w 16"/>
                <a:gd name="T11" fmla="*/ 23 h 25"/>
                <a:gd name="T12" fmla="*/ 3 w 16"/>
                <a:gd name="T13" fmla="*/ 25 h 25"/>
                <a:gd name="T14" fmla="*/ 1 w 16"/>
                <a:gd name="T15" fmla="*/ 24 h 25"/>
                <a:gd name="T16" fmla="*/ 0 w 16"/>
                <a:gd name="T17" fmla="*/ 21 h 25"/>
                <a:gd name="T18" fmla="*/ 1 w 16"/>
                <a:gd name="T19" fmla="*/ 18 h 25"/>
                <a:gd name="T20" fmla="*/ 2 w 16"/>
                <a:gd name="T21" fmla="*/ 13 h 25"/>
                <a:gd name="T22" fmla="*/ 4 w 16"/>
                <a:gd name="T23" fmla="*/ 9 h 25"/>
                <a:gd name="T24" fmla="*/ 7 w 16"/>
                <a:gd name="T25" fmla="*/ 4 h 25"/>
                <a:gd name="T26" fmla="*/ 11 w 16"/>
                <a:gd name="T27" fmla="*/ 1 h 25"/>
                <a:gd name="T28" fmla="*/ 16 w 16"/>
                <a:gd name="T2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5" name="Freeform 82">
              <a:extLst>
                <a:ext uri="{FF2B5EF4-FFF2-40B4-BE49-F238E27FC236}">
                  <a16:creationId xmlns:a16="http://schemas.microsoft.com/office/drawing/2014/main" id="{2580BF2E-5219-4282-A4B6-E9AC88E0B82E}"/>
                </a:ext>
              </a:extLst>
            </p:cNvPr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9121776" y="3217863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3 w 14"/>
                <a:gd name="T3" fmla="*/ 1 h 18"/>
                <a:gd name="T4" fmla="*/ 5 w 14"/>
                <a:gd name="T5" fmla="*/ 2 h 18"/>
                <a:gd name="T6" fmla="*/ 7 w 14"/>
                <a:gd name="T7" fmla="*/ 4 h 18"/>
                <a:gd name="T8" fmla="*/ 9 w 14"/>
                <a:gd name="T9" fmla="*/ 7 h 18"/>
                <a:gd name="T10" fmla="*/ 13 w 14"/>
                <a:gd name="T11" fmla="*/ 13 h 18"/>
                <a:gd name="T12" fmla="*/ 14 w 14"/>
                <a:gd name="T13" fmla="*/ 18 h 18"/>
                <a:gd name="T14" fmla="*/ 0 w 14"/>
                <a:gd name="T15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Freeform 83">
              <a:extLst>
                <a:ext uri="{FF2B5EF4-FFF2-40B4-BE49-F238E27FC236}">
                  <a16:creationId xmlns:a16="http://schemas.microsoft.com/office/drawing/2014/main" id="{0A11E3C2-4785-4B17-BBF4-32C7939EDB1F}"/>
                </a:ext>
              </a:extLst>
            </p:cNvPr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9274175" y="3916364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1 w 67"/>
                <a:gd name="T3" fmla="*/ 17 h 74"/>
                <a:gd name="T4" fmla="*/ 3 w 67"/>
                <a:gd name="T5" fmla="*/ 30 h 74"/>
                <a:gd name="T6" fmla="*/ 7 w 67"/>
                <a:gd name="T7" fmla="*/ 41 h 74"/>
                <a:gd name="T8" fmla="*/ 12 w 67"/>
                <a:gd name="T9" fmla="*/ 50 h 74"/>
                <a:gd name="T10" fmla="*/ 17 w 67"/>
                <a:gd name="T11" fmla="*/ 58 h 74"/>
                <a:gd name="T12" fmla="*/ 23 w 67"/>
                <a:gd name="T13" fmla="*/ 64 h 74"/>
                <a:gd name="T14" fmla="*/ 28 w 67"/>
                <a:gd name="T15" fmla="*/ 69 h 74"/>
                <a:gd name="T16" fmla="*/ 33 w 67"/>
                <a:gd name="T17" fmla="*/ 74 h 74"/>
                <a:gd name="T18" fmla="*/ 44 w 67"/>
                <a:gd name="T19" fmla="*/ 65 h 74"/>
                <a:gd name="T20" fmla="*/ 55 w 67"/>
                <a:gd name="T21" fmla="*/ 55 h 74"/>
                <a:gd name="T22" fmla="*/ 59 w 67"/>
                <a:gd name="T23" fmla="*/ 49 h 74"/>
                <a:gd name="T24" fmla="*/ 63 w 67"/>
                <a:gd name="T25" fmla="*/ 43 h 74"/>
                <a:gd name="T26" fmla="*/ 66 w 67"/>
                <a:gd name="T27" fmla="*/ 37 h 74"/>
                <a:gd name="T28" fmla="*/ 67 w 67"/>
                <a:gd name="T29" fmla="*/ 30 h 74"/>
                <a:gd name="T30" fmla="*/ 67 w 67"/>
                <a:gd name="T31" fmla="*/ 25 h 74"/>
                <a:gd name="T32" fmla="*/ 67 w 67"/>
                <a:gd name="T33" fmla="*/ 18 h 74"/>
                <a:gd name="T34" fmla="*/ 67 w 67"/>
                <a:gd name="T35" fmla="*/ 9 h 74"/>
                <a:gd name="T36" fmla="*/ 67 w 67"/>
                <a:gd name="T37" fmla="*/ 0 h 74"/>
                <a:gd name="T38" fmla="*/ 48 w 67"/>
                <a:gd name="T39" fmla="*/ 0 h 74"/>
                <a:gd name="T40" fmla="*/ 33 w 67"/>
                <a:gd name="T41" fmla="*/ 0 h 74"/>
                <a:gd name="T42" fmla="*/ 17 w 67"/>
                <a:gd name="T43" fmla="*/ 0 h 74"/>
                <a:gd name="T44" fmla="*/ 0 w 67"/>
                <a:gd name="T4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7" name="Freeform 84">
              <a:extLst>
                <a:ext uri="{FF2B5EF4-FFF2-40B4-BE49-F238E27FC236}">
                  <a16:creationId xmlns:a16="http://schemas.microsoft.com/office/drawing/2014/main" id="{B7B83417-9C38-4575-8BEB-C98F04D2CB86}"/>
                </a:ext>
              </a:extLst>
            </p:cNvPr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9337675" y="3930650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2 w 34"/>
                <a:gd name="T3" fmla="*/ 3 h 38"/>
                <a:gd name="T4" fmla="*/ 4 w 34"/>
                <a:gd name="T5" fmla="*/ 7 h 38"/>
                <a:gd name="T6" fmla="*/ 5 w 34"/>
                <a:gd name="T7" fmla="*/ 11 h 38"/>
                <a:gd name="T8" fmla="*/ 6 w 34"/>
                <a:gd name="T9" fmla="*/ 16 h 38"/>
                <a:gd name="T10" fmla="*/ 10 w 34"/>
                <a:gd name="T11" fmla="*/ 28 h 38"/>
                <a:gd name="T12" fmla="*/ 13 w 34"/>
                <a:gd name="T13" fmla="*/ 38 h 38"/>
                <a:gd name="T14" fmla="*/ 16 w 34"/>
                <a:gd name="T15" fmla="*/ 37 h 38"/>
                <a:gd name="T16" fmla="*/ 20 w 34"/>
                <a:gd name="T17" fmla="*/ 36 h 38"/>
                <a:gd name="T18" fmla="*/ 23 w 34"/>
                <a:gd name="T19" fmla="*/ 34 h 38"/>
                <a:gd name="T20" fmla="*/ 26 w 34"/>
                <a:gd name="T21" fmla="*/ 31 h 38"/>
                <a:gd name="T22" fmla="*/ 28 w 34"/>
                <a:gd name="T23" fmla="*/ 28 h 38"/>
                <a:gd name="T24" fmla="*/ 32 w 34"/>
                <a:gd name="T25" fmla="*/ 24 h 38"/>
                <a:gd name="T26" fmla="*/ 33 w 34"/>
                <a:gd name="T27" fmla="*/ 21 h 38"/>
                <a:gd name="T28" fmla="*/ 34 w 34"/>
                <a:gd name="T29" fmla="*/ 19 h 38"/>
                <a:gd name="T30" fmla="*/ 31 w 34"/>
                <a:gd name="T31" fmla="*/ 18 h 38"/>
                <a:gd name="T32" fmla="*/ 28 w 34"/>
                <a:gd name="T33" fmla="*/ 17 h 38"/>
                <a:gd name="T34" fmla="*/ 26 w 34"/>
                <a:gd name="T35" fmla="*/ 14 h 38"/>
                <a:gd name="T36" fmla="*/ 24 w 34"/>
                <a:gd name="T37" fmla="*/ 12 h 38"/>
                <a:gd name="T38" fmla="*/ 19 w 34"/>
                <a:gd name="T39" fmla="*/ 6 h 38"/>
                <a:gd name="T40" fmla="*/ 13 w 34"/>
                <a:gd name="T41" fmla="*/ 0 h 38"/>
                <a:gd name="T42" fmla="*/ 6 w 34"/>
                <a:gd name="T43" fmla="*/ 0 h 38"/>
                <a:gd name="T44" fmla="*/ 0 w 34"/>
                <a:gd name="T45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8" name="Freeform 85">
              <a:extLst>
                <a:ext uri="{FF2B5EF4-FFF2-40B4-BE49-F238E27FC236}">
                  <a16:creationId xmlns:a16="http://schemas.microsoft.com/office/drawing/2014/main" id="{A8538A66-0102-4DAB-AAD6-7974A1D323CA}"/>
                </a:ext>
              </a:extLst>
            </p:cNvPr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9194800" y="3706813"/>
              <a:ext cx="25400" cy="55562"/>
            </a:xfrm>
            <a:custGeom>
              <a:avLst/>
              <a:gdLst>
                <a:gd name="T0" fmla="*/ 53 w 53"/>
                <a:gd name="T1" fmla="*/ 23 h 23"/>
                <a:gd name="T2" fmla="*/ 53 w 53"/>
                <a:gd name="T3" fmla="*/ 4 h 23"/>
                <a:gd name="T4" fmla="*/ 49 w 53"/>
                <a:gd name="T5" fmla="*/ 2 h 23"/>
                <a:gd name="T6" fmla="*/ 45 w 53"/>
                <a:gd name="T7" fmla="*/ 1 h 23"/>
                <a:gd name="T8" fmla="*/ 42 w 53"/>
                <a:gd name="T9" fmla="*/ 0 h 23"/>
                <a:gd name="T10" fmla="*/ 38 w 53"/>
                <a:gd name="T11" fmla="*/ 0 h 23"/>
                <a:gd name="T12" fmla="*/ 31 w 53"/>
                <a:gd name="T13" fmla="*/ 1 h 23"/>
                <a:gd name="T14" fmla="*/ 24 w 53"/>
                <a:gd name="T15" fmla="*/ 4 h 23"/>
                <a:gd name="T16" fmla="*/ 11 w 53"/>
                <a:gd name="T17" fmla="*/ 13 h 23"/>
                <a:gd name="T18" fmla="*/ 0 w 53"/>
                <a:gd name="T19" fmla="*/ 23 h 23"/>
                <a:gd name="T20" fmla="*/ 53 w 53"/>
                <a:gd name="T21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Freeform 86">
              <a:extLst>
                <a:ext uri="{FF2B5EF4-FFF2-40B4-BE49-F238E27FC236}">
                  <a16:creationId xmlns:a16="http://schemas.microsoft.com/office/drawing/2014/main" id="{2515224F-DBB9-4F2A-85AE-93B2EEECACB5}"/>
                </a:ext>
              </a:extLst>
            </p:cNvPr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9137651" y="3681413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4 w 26"/>
                <a:gd name="T3" fmla="*/ 4 h 12"/>
                <a:gd name="T4" fmla="*/ 11 w 26"/>
                <a:gd name="T5" fmla="*/ 8 h 12"/>
                <a:gd name="T6" fmla="*/ 14 w 26"/>
                <a:gd name="T7" fmla="*/ 9 h 12"/>
                <a:gd name="T8" fmla="*/ 18 w 26"/>
                <a:gd name="T9" fmla="*/ 11 h 12"/>
                <a:gd name="T10" fmla="*/ 22 w 26"/>
                <a:gd name="T11" fmla="*/ 11 h 12"/>
                <a:gd name="T12" fmla="*/ 26 w 26"/>
                <a:gd name="T13" fmla="*/ 12 h 12"/>
                <a:gd name="T14" fmla="*/ 21 w 26"/>
                <a:gd name="T15" fmla="*/ 7 h 12"/>
                <a:gd name="T16" fmla="*/ 13 w 26"/>
                <a:gd name="T17" fmla="*/ 3 h 12"/>
                <a:gd name="T18" fmla="*/ 5 w 26"/>
                <a:gd name="T19" fmla="*/ 1 h 12"/>
                <a:gd name="T20" fmla="*/ 0 w 26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0" name="Freeform 87">
              <a:extLst>
                <a:ext uri="{FF2B5EF4-FFF2-40B4-BE49-F238E27FC236}">
                  <a16:creationId xmlns:a16="http://schemas.microsoft.com/office/drawing/2014/main" id="{90536993-34C9-461E-99EA-2067B91704EF}"/>
                </a:ext>
              </a:extLst>
            </p:cNvPr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9337675" y="4013200"/>
              <a:ext cx="31750" cy="57150"/>
            </a:xfrm>
            <a:custGeom>
              <a:avLst/>
              <a:gdLst>
                <a:gd name="T0" fmla="*/ 0 w 73"/>
                <a:gd name="T1" fmla="*/ 20 w 73"/>
                <a:gd name="T2" fmla="*/ 37 w 73"/>
                <a:gd name="T3" fmla="*/ 55 w 73"/>
                <a:gd name="T4" fmla="*/ 73 w 7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73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1" name="Freeform 88">
              <a:extLst>
                <a:ext uri="{FF2B5EF4-FFF2-40B4-BE49-F238E27FC236}">
                  <a16:creationId xmlns:a16="http://schemas.microsoft.com/office/drawing/2014/main" id="{F466AA0B-CB85-4D9C-B21F-56876566B014}"/>
                </a:ext>
              </a:extLst>
            </p:cNvPr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9293226" y="4002088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14 w 53"/>
                <a:gd name="T3" fmla="*/ 0 h 3"/>
                <a:gd name="T4" fmla="*/ 27 w 53"/>
                <a:gd name="T5" fmla="*/ 3 h 3"/>
                <a:gd name="T6" fmla="*/ 32 w 53"/>
                <a:gd name="T7" fmla="*/ 3 h 3"/>
                <a:gd name="T8" fmla="*/ 39 w 53"/>
                <a:gd name="T9" fmla="*/ 3 h 3"/>
                <a:gd name="T10" fmla="*/ 45 w 53"/>
                <a:gd name="T11" fmla="*/ 1 h 3"/>
                <a:gd name="T12" fmla="*/ 53 w 5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2" name="Line 89">
              <a:extLst>
                <a:ext uri="{FF2B5EF4-FFF2-40B4-BE49-F238E27FC236}">
                  <a16:creationId xmlns:a16="http://schemas.microsoft.com/office/drawing/2014/main" id="{2240FBE3-7423-4918-94F5-52B8EBB318CA}"/>
                </a:ext>
              </a:extLst>
            </p:cNvPr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9326564" y="3987800"/>
              <a:ext cx="20637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Freeform 90">
              <a:extLst>
                <a:ext uri="{FF2B5EF4-FFF2-40B4-BE49-F238E27FC236}">
                  <a16:creationId xmlns:a16="http://schemas.microsoft.com/office/drawing/2014/main" id="{4406AAB4-022A-4A80-AE56-5E2D4EFB6049}"/>
                </a:ext>
              </a:extLst>
            </p:cNvPr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9347200" y="3994150"/>
              <a:ext cx="1588" cy="57150"/>
            </a:xfrm>
            <a:custGeom>
              <a:avLst/>
              <a:gdLst>
                <a:gd name="T0" fmla="*/ 0 h 13"/>
                <a:gd name="T1" fmla="*/ 6 h 13"/>
                <a:gd name="T2" fmla="*/ 13 h 1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Freeform 91">
              <a:extLst>
                <a:ext uri="{FF2B5EF4-FFF2-40B4-BE49-F238E27FC236}">
                  <a16:creationId xmlns:a16="http://schemas.microsoft.com/office/drawing/2014/main" id="{B1D46A9A-FAEB-43EE-B448-2E1F30412DC5}"/>
                </a:ext>
              </a:extLst>
            </p:cNvPr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9301164" y="3987800"/>
              <a:ext cx="14287" cy="58738"/>
            </a:xfrm>
            <a:custGeom>
              <a:avLst/>
              <a:gdLst>
                <a:gd name="T0" fmla="*/ 0 w 26"/>
                <a:gd name="T1" fmla="*/ 15 w 26"/>
                <a:gd name="T2" fmla="*/ 26 w 2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6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5" name="Freeform 92">
              <a:extLst>
                <a:ext uri="{FF2B5EF4-FFF2-40B4-BE49-F238E27FC236}">
                  <a16:creationId xmlns:a16="http://schemas.microsoft.com/office/drawing/2014/main" id="{67F36388-F045-4BC7-93C2-7A63BACF86B5}"/>
                </a:ext>
              </a:extLst>
            </p:cNvPr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9294813" y="3968751"/>
              <a:ext cx="6350" cy="60325"/>
            </a:xfrm>
            <a:custGeom>
              <a:avLst/>
              <a:gdLst>
                <a:gd name="T0" fmla="*/ 20 w 20"/>
                <a:gd name="T1" fmla="*/ 0 h 25"/>
                <a:gd name="T2" fmla="*/ 0 w 20"/>
                <a:gd name="T3" fmla="*/ 13 h 25"/>
                <a:gd name="T4" fmla="*/ 4 w 20"/>
                <a:gd name="T5" fmla="*/ 18 h 25"/>
                <a:gd name="T6" fmla="*/ 10 w 20"/>
                <a:gd name="T7" fmla="*/ 21 h 25"/>
                <a:gd name="T8" fmla="*/ 14 w 20"/>
                <a:gd name="T9" fmla="*/ 24 h 25"/>
                <a:gd name="T10" fmla="*/ 20 w 20"/>
                <a:gd name="T11" fmla="*/ 25 h 25"/>
                <a:gd name="T12" fmla="*/ 20 w 20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Freeform 93">
              <a:extLst>
                <a:ext uri="{FF2B5EF4-FFF2-40B4-BE49-F238E27FC236}">
                  <a16:creationId xmlns:a16="http://schemas.microsoft.com/office/drawing/2014/main" id="{E12C3789-3034-4919-82C4-CC24129D23D4}"/>
                </a:ext>
              </a:extLst>
            </p:cNvPr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9375775" y="3695700"/>
              <a:ext cx="1588" cy="57150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0 h 24"/>
                <a:gd name="T4" fmla="*/ 6 w 6"/>
                <a:gd name="T5" fmla="*/ 12 h 24"/>
                <a:gd name="T6" fmla="*/ 0 w 6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77" name="Group 94">
              <a:extLst>
                <a:ext uri="{FF2B5EF4-FFF2-40B4-BE49-F238E27FC236}">
                  <a16:creationId xmlns:a16="http://schemas.microsoft.com/office/drawing/2014/main" id="{4361F6C1-8F50-499B-958A-13A347B48F47}"/>
                </a:ext>
              </a:extLst>
            </p:cNvPr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9250363" y="3367088"/>
              <a:ext cx="163512" cy="114300"/>
              <a:chOff x="5379" y="2466"/>
              <a:chExt cx="122" cy="71"/>
            </a:xfrm>
          </p:grpSpPr>
          <p:sp>
            <p:nvSpPr>
              <p:cNvPr id="525" name="Freeform 95">
                <a:extLst>
                  <a:ext uri="{FF2B5EF4-FFF2-40B4-BE49-F238E27FC236}">
                    <a16:creationId xmlns:a16="http://schemas.microsoft.com/office/drawing/2014/main" id="{EAE081F4-B06C-4F46-8065-3E68CB1266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19 w 19"/>
                  <a:gd name="T1" fmla="*/ 25 h 25"/>
                  <a:gd name="T2" fmla="*/ 18 w 19"/>
                  <a:gd name="T3" fmla="*/ 20 h 25"/>
                  <a:gd name="T4" fmla="*/ 17 w 19"/>
                  <a:gd name="T5" fmla="*/ 12 h 25"/>
                  <a:gd name="T6" fmla="*/ 16 w 19"/>
                  <a:gd name="T7" fmla="*/ 9 h 25"/>
                  <a:gd name="T8" fmla="*/ 17 w 19"/>
                  <a:gd name="T9" fmla="*/ 6 h 25"/>
                  <a:gd name="T10" fmla="*/ 17 w 19"/>
                  <a:gd name="T11" fmla="*/ 3 h 25"/>
                  <a:gd name="T12" fmla="*/ 19 w 19"/>
                  <a:gd name="T13" fmla="*/ 0 h 25"/>
                  <a:gd name="T14" fmla="*/ 0 w 19"/>
                  <a:gd name="T15" fmla="*/ 0 h 25"/>
                  <a:gd name="T16" fmla="*/ 1 w 19"/>
                  <a:gd name="T17" fmla="*/ 7 h 25"/>
                  <a:gd name="T18" fmla="*/ 5 w 19"/>
                  <a:gd name="T19" fmla="*/ 15 h 25"/>
                  <a:gd name="T20" fmla="*/ 7 w 19"/>
                  <a:gd name="T21" fmla="*/ 19 h 25"/>
                  <a:gd name="T22" fmla="*/ 11 w 19"/>
                  <a:gd name="T23" fmla="*/ 23 h 25"/>
                  <a:gd name="T24" fmla="*/ 15 w 19"/>
                  <a:gd name="T25" fmla="*/ 25 h 25"/>
                  <a:gd name="T26" fmla="*/ 19 w 19"/>
                  <a:gd name="T2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6" name="Freeform 96">
                <a:extLst>
                  <a:ext uri="{FF2B5EF4-FFF2-40B4-BE49-F238E27FC236}">
                    <a16:creationId xmlns:a16="http://schemas.microsoft.com/office/drawing/2014/main" id="{E663A091-6F57-461C-BCC8-A9EA7E6FA2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26 w 26"/>
                  <a:gd name="T1" fmla="*/ 18 h 18"/>
                  <a:gd name="T2" fmla="*/ 7 w 26"/>
                  <a:gd name="T3" fmla="*/ 18 h 18"/>
                  <a:gd name="T4" fmla="*/ 3 w 26"/>
                  <a:gd name="T5" fmla="*/ 9 h 18"/>
                  <a:gd name="T6" fmla="*/ 0 w 26"/>
                  <a:gd name="T7" fmla="*/ 0 h 18"/>
                  <a:gd name="T8" fmla="*/ 6 w 26"/>
                  <a:gd name="T9" fmla="*/ 2 h 18"/>
                  <a:gd name="T10" fmla="*/ 13 w 26"/>
                  <a:gd name="T11" fmla="*/ 6 h 18"/>
                  <a:gd name="T12" fmla="*/ 20 w 26"/>
                  <a:gd name="T13" fmla="*/ 12 h 18"/>
                  <a:gd name="T14" fmla="*/ 26 w 26"/>
                  <a:gd name="T1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7" name="Freeform 97">
                <a:extLst>
                  <a:ext uri="{FF2B5EF4-FFF2-40B4-BE49-F238E27FC236}">
                    <a16:creationId xmlns:a16="http://schemas.microsoft.com/office/drawing/2014/main" id="{3168BE79-F78D-4BFC-B179-82EBD8FA13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18 h 18"/>
                  <a:gd name="T2" fmla="*/ 13 w 13"/>
                  <a:gd name="T3" fmla="*/ 0 h 18"/>
                  <a:gd name="T4" fmla="*/ 0 w 13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8" name="Freeform 98">
                <a:extLst>
                  <a:ext uri="{FF2B5EF4-FFF2-40B4-BE49-F238E27FC236}">
                    <a16:creationId xmlns:a16="http://schemas.microsoft.com/office/drawing/2014/main" id="{FDBCBF8F-5096-402F-A130-A1175A8526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24 h 24"/>
                  <a:gd name="T2" fmla="*/ 3 w 26"/>
                  <a:gd name="T3" fmla="*/ 23 h 24"/>
                  <a:gd name="T4" fmla="*/ 7 w 26"/>
                  <a:gd name="T5" fmla="*/ 22 h 24"/>
                  <a:gd name="T6" fmla="*/ 11 w 26"/>
                  <a:gd name="T7" fmla="*/ 19 h 24"/>
                  <a:gd name="T8" fmla="*/ 16 w 26"/>
                  <a:gd name="T9" fmla="*/ 16 h 24"/>
                  <a:gd name="T10" fmla="*/ 20 w 26"/>
                  <a:gd name="T11" fmla="*/ 13 h 24"/>
                  <a:gd name="T12" fmla="*/ 23 w 26"/>
                  <a:gd name="T13" fmla="*/ 9 h 24"/>
                  <a:gd name="T14" fmla="*/ 25 w 26"/>
                  <a:gd name="T15" fmla="*/ 4 h 24"/>
                  <a:gd name="T16" fmla="*/ 26 w 26"/>
                  <a:gd name="T17" fmla="*/ 0 h 24"/>
                  <a:gd name="T18" fmla="*/ 0 w 2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9" name="Freeform 99">
                <a:extLst>
                  <a:ext uri="{FF2B5EF4-FFF2-40B4-BE49-F238E27FC236}">
                    <a16:creationId xmlns:a16="http://schemas.microsoft.com/office/drawing/2014/main" id="{F4A19098-7A51-48CC-B476-5EC2260A37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6 h 6"/>
                  <a:gd name="T2" fmla="*/ 10 w 34"/>
                  <a:gd name="T3" fmla="*/ 6 h 6"/>
                  <a:gd name="T4" fmla="*/ 17 w 34"/>
                  <a:gd name="T5" fmla="*/ 5 h 6"/>
                  <a:gd name="T6" fmla="*/ 25 w 34"/>
                  <a:gd name="T7" fmla="*/ 4 h 6"/>
                  <a:gd name="T8" fmla="*/ 34 w 3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0" name="Line 100">
                <a:extLst>
                  <a:ext uri="{FF2B5EF4-FFF2-40B4-BE49-F238E27FC236}">
                    <a16:creationId xmlns:a16="http://schemas.microsoft.com/office/drawing/2014/main" id="{075BC135-B8C7-473D-A96C-6DB57525EAA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1" name="Freeform 101">
                <a:extLst>
                  <a:ext uri="{FF2B5EF4-FFF2-40B4-BE49-F238E27FC236}">
                    <a16:creationId xmlns:a16="http://schemas.microsoft.com/office/drawing/2014/main" id="{80929C22-1753-47D5-B696-1A1C94615B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19 h 19"/>
                  <a:gd name="T1" fmla="*/ 9 h 19"/>
                  <a:gd name="T2" fmla="*/ 0 h 19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2" name="Line 102">
                <a:extLst>
                  <a:ext uri="{FF2B5EF4-FFF2-40B4-BE49-F238E27FC236}">
                    <a16:creationId xmlns:a16="http://schemas.microsoft.com/office/drawing/2014/main" id="{62256454-0E20-44B6-A627-692A8944C5A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33" name="Freeform 103">
                <a:extLst>
                  <a:ext uri="{FF2B5EF4-FFF2-40B4-BE49-F238E27FC236}">
                    <a16:creationId xmlns:a16="http://schemas.microsoft.com/office/drawing/2014/main" id="{244FC073-DA06-4408-BDE6-6CDC008D95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14 w 14"/>
                  <a:gd name="T1" fmla="*/ 0 h 6"/>
                  <a:gd name="T2" fmla="*/ 7 w 14"/>
                  <a:gd name="T3" fmla="*/ 3 h 6"/>
                  <a:gd name="T4" fmla="*/ 0 w 14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78" name="Freeform 104">
              <a:extLst>
                <a:ext uri="{FF2B5EF4-FFF2-40B4-BE49-F238E27FC236}">
                  <a16:creationId xmlns:a16="http://schemas.microsoft.com/office/drawing/2014/main" id="{9C0D8177-B166-4CB7-BBBC-FB0071245971}"/>
                </a:ext>
              </a:extLst>
            </p:cNvPr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7834313" y="3228975"/>
              <a:ext cx="6350" cy="57150"/>
            </a:xfrm>
            <a:custGeom>
              <a:avLst/>
              <a:gdLst>
                <a:gd name="T0" fmla="*/ 13 w 26"/>
                <a:gd name="T1" fmla="*/ 111 h 111"/>
                <a:gd name="T2" fmla="*/ 9 w 26"/>
                <a:gd name="T3" fmla="*/ 103 h 111"/>
                <a:gd name="T4" fmla="*/ 4 w 26"/>
                <a:gd name="T5" fmla="*/ 95 h 111"/>
                <a:gd name="T6" fmla="*/ 2 w 26"/>
                <a:gd name="T7" fmla="*/ 91 h 111"/>
                <a:gd name="T8" fmla="*/ 1 w 26"/>
                <a:gd name="T9" fmla="*/ 87 h 111"/>
                <a:gd name="T10" fmla="*/ 0 w 26"/>
                <a:gd name="T11" fmla="*/ 80 h 111"/>
                <a:gd name="T12" fmla="*/ 0 w 26"/>
                <a:gd name="T13" fmla="*/ 74 h 111"/>
                <a:gd name="T14" fmla="*/ 0 w 26"/>
                <a:gd name="T15" fmla="*/ 61 h 111"/>
                <a:gd name="T16" fmla="*/ 1 w 26"/>
                <a:gd name="T17" fmla="*/ 51 h 111"/>
                <a:gd name="T18" fmla="*/ 3 w 26"/>
                <a:gd name="T19" fmla="*/ 41 h 111"/>
                <a:gd name="T20" fmla="*/ 5 w 26"/>
                <a:gd name="T21" fmla="*/ 33 h 111"/>
                <a:gd name="T22" fmla="*/ 9 w 26"/>
                <a:gd name="T23" fmla="*/ 24 h 111"/>
                <a:gd name="T24" fmla="*/ 14 w 26"/>
                <a:gd name="T25" fmla="*/ 17 h 111"/>
                <a:gd name="T26" fmla="*/ 20 w 26"/>
                <a:gd name="T27" fmla="*/ 9 h 111"/>
                <a:gd name="T28" fmla="*/ 26 w 26"/>
                <a:gd name="T29" fmla="*/ 0 h 111"/>
                <a:gd name="T30" fmla="*/ 26 w 26"/>
                <a:gd name="T31" fmla="*/ 6 h 111"/>
                <a:gd name="T32" fmla="*/ 26 w 26"/>
                <a:gd name="T33" fmla="*/ 13 h 111"/>
                <a:gd name="T34" fmla="*/ 26 w 26"/>
                <a:gd name="T35" fmla="*/ 22 h 111"/>
                <a:gd name="T36" fmla="*/ 26 w 26"/>
                <a:gd name="T37" fmla="*/ 32 h 111"/>
                <a:gd name="T38" fmla="*/ 25 w 26"/>
                <a:gd name="T39" fmla="*/ 44 h 111"/>
                <a:gd name="T40" fmla="*/ 22 w 26"/>
                <a:gd name="T41" fmla="*/ 56 h 111"/>
                <a:gd name="T42" fmla="*/ 18 w 26"/>
                <a:gd name="T43" fmla="*/ 67 h 111"/>
                <a:gd name="T44" fmla="*/ 13 w 26"/>
                <a:gd name="T45" fmla="*/ 80 h 111"/>
                <a:gd name="T46" fmla="*/ 13 w 26"/>
                <a:gd name="T4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79" name="Freeform 105">
              <a:extLst>
                <a:ext uri="{FF2B5EF4-FFF2-40B4-BE49-F238E27FC236}">
                  <a16:creationId xmlns:a16="http://schemas.microsoft.com/office/drawing/2014/main" id="{81308266-FF9D-4E36-A0D4-76232E01DD70}"/>
                </a:ext>
              </a:extLst>
            </p:cNvPr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4733926" y="5368925"/>
              <a:ext cx="53975" cy="58738"/>
            </a:xfrm>
            <a:custGeom>
              <a:avLst/>
              <a:gdLst>
                <a:gd name="T0" fmla="*/ 0 w 126"/>
                <a:gd name="T1" fmla="*/ 19 h 62"/>
                <a:gd name="T2" fmla="*/ 11 w 126"/>
                <a:gd name="T3" fmla="*/ 20 h 62"/>
                <a:gd name="T4" fmla="*/ 21 w 126"/>
                <a:gd name="T5" fmla="*/ 21 h 62"/>
                <a:gd name="T6" fmla="*/ 29 w 126"/>
                <a:gd name="T7" fmla="*/ 23 h 62"/>
                <a:gd name="T8" fmla="*/ 36 w 126"/>
                <a:gd name="T9" fmla="*/ 26 h 62"/>
                <a:gd name="T10" fmla="*/ 50 w 126"/>
                <a:gd name="T11" fmla="*/ 33 h 62"/>
                <a:gd name="T12" fmla="*/ 61 w 126"/>
                <a:gd name="T13" fmla="*/ 40 h 62"/>
                <a:gd name="T14" fmla="*/ 70 w 126"/>
                <a:gd name="T15" fmla="*/ 48 h 62"/>
                <a:gd name="T16" fmla="*/ 79 w 126"/>
                <a:gd name="T17" fmla="*/ 55 h 62"/>
                <a:gd name="T18" fmla="*/ 84 w 126"/>
                <a:gd name="T19" fmla="*/ 58 h 62"/>
                <a:gd name="T20" fmla="*/ 89 w 126"/>
                <a:gd name="T21" fmla="*/ 60 h 62"/>
                <a:gd name="T22" fmla="*/ 95 w 126"/>
                <a:gd name="T23" fmla="*/ 61 h 62"/>
                <a:gd name="T24" fmla="*/ 100 w 126"/>
                <a:gd name="T25" fmla="*/ 62 h 62"/>
                <a:gd name="T26" fmla="*/ 105 w 126"/>
                <a:gd name="T27" fmla="*/ 61 h 62"/>
                <a:gd name="T28" fmla="*/ 109 w 126"/>
                <a:gd name="T29" fmla="*/ 60 h 62"/>
                <a:gd name="T30" fmla="*/ 113 w 126"/>
                <a:gd name="T31" fmla="*/ 58 h 62"/>
                <a:gd name="T32" fmla="*/ 117 w 126"/>
                <a:gd name="T33" fmla="*/ 56 h 62"/>
                <a:gd name="T34" fmla="*/ 122 w 126"/>
                <a:gd name="T35" fmla="*/ 51 h 62"/>
                <a:gd name="T36" fmla="*/ 126 w 126"/>
                <a:gd name="T37" fmla="*/ 49 h 62"/>
                <a:gd name="T38" fmla="*/ 110 w 126"/>
                <a:gd name="T39" fmla="*/ 33 h 62"/>
                <a:gd name="T40" fmla="*/ 96 w 126"/>
                <a:gd name="T41" fmla="*/ 21 h 62"/>
                <a:gd name="T42" fmla="*/ 89 w 126"/>
                <a:gd name="T43" fmla="*/ 15 h 62"/>
                <a:gd name="T44" fmla="*/ 81 w 126"/>
                <a:gd name="T45" fmla="*/ 9 h 62"/>
                <a:gd name="T46" fmla="*/ 72 w 126"/>
                <a:gd name="T47" fmla="*/ 5 h 62"/>
                <a:gd name="T48" fmla="*/ 61 w 126"/>
                <a:gd name="T49" fmla="*/ 0 h 62"/>
                <a:gd name="T50" fmla="*/ 0 w 126"/>
                <a:gd name="T51" fmla="*/ 0 h 62"/>
                <a:gd name="T52" fmla="*/ 0 w 126"/>
                <a:gd name="T53" fmla="*/ 9 h 62"/>
                <a:gd name="T54" fmla="*/ 0 w 126"/>
                <a:gd name="T55" fmla="*/ 1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0" name="Freeform 106">
              <a:extLst>
                <a:ext uri="{FF2B5EF4-FFF2-40B4-BE49-F238E27FC236}">
                  <a16:creationId xmlns:a16="http://schemas.microsoft.com/office/drawing/2014/main" id="{D7AC42C8-0BC9-4500-A52D-D30A8338C05C}"/>
                </a:ext>
              </a:extLst>
            </p:cNvPr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7035801" y="5207001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13 w 66"/>
                <a:gd name="T3" fmla="*/ 1 h 44"/>
                <a:gd name="T4" fmla="*/ 23 w 66"/>
                <a:gd name="T5" fmla="*/ 2 h 44"/>
                <a:gd name="T6" fmla="*/ 32 w 66"/>
                <a:gd name="T7" fmla="*/ 4 h 44"/>
                <a:gd name="T8" fmla="*/ 38 w 66"/>
                <a:gd name="T9" fmla="*/ 7 h 44"/>
                <a:gd name="T10" fmla="*/ 44 w 66"/>
                <a:gd name="T11" fmla="*/ 9 h 44"/>
                <a:gd name="T12" fmla="*/ 50 w 66"/>
                <a:gd name="T13" fmla="*/ 11 h 44"/>
                <a:gd name="T14" fmla="*/ 57 w 66"/>
                <a:gd name="T15" fmla="*/ 12 h 44"/>
                <a:gd name="T16" fmla="*/ 66 w 66"/>
                <a:gd name="T17" fmla="*/ 13 h 44"/>
                <a:gd name="T18" fmla="*/ 65 w 66"/>
                <a:gd name="T19" fmla="*/ 17 h 44"/>
                <a:gd name="T20" fmla="*/ 62 w 66"/>
                <a:gd name="T21" fmla="*/ 21 h 44"/>
                <a:gd name="T22" fmla="*/ 60 w 66"/>
                <a:gd name="T23" fmla="*/ 25 h 44"/>
                <a:gd name="T24" fmla="*/ 57 w 66"/>
                <a:gd name="T25" fmla="*/ 28 h 44"/>
                <a:gd name="T26" fmla="*/ 49 w 66"/>
                <a:gd name="T27" fmla="*/ 34 h 44"/>
                <a:gd name="T28" fmla="*/ 40 w 66"/>
                <a:gd name="T29" fmla="*/ 39 h 44"/>
                <a:gd name="T30" fmla="*/ 31 w 66"/>
                <a:gd name="T31" fmla="*/ 42 h 44"/>
                <a:gd name="T32" fmla="*/ 21 w 66"/>
                <a:gd name="T33" fmla="*/ 44 h 44"/>
                <a:gd name="T34" fmla="*/ 10 w 66"/>
                <a:gd name="T35" fmla="*/ 44 h 44"/>
                <a:gd name="T36" fmla="*/ 0 w 66"/>
                <a:gd name="T37" fmla="*/ 43 h 44"/>
                <a:gd name="T38" fmla="*/ 0 w 66"/>
                <a:gd name="T39" fmla="*/ 31 h 44"/>
                <a:gd name="T40" fmla="*/ 0 w 66"/>
                <a:gd name="T41" fmla="*/ 22 h 44"/>
                <a:gd name="T42" fmla="*/ 0 w 66"/>
                <a:gd name="T43" fmla="*/ 12 h 44"/>
                <a:gd name="T44" fmla="*/ 0 w 66"/>
                <a:gd name="T4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1" name="Freeform 107">
              <a:extLst>
                <a:ext uri="{FF2B5EF4-FFF2-40B4-BE49-F238E27FC236}">
                  <a16:creationId xmlns:a16="http://schemas.microsoft.com/office/drawing/2014/main" id="{5DD54600-FAD7-4D12-9DFF-AAA4F483750C}"/>
                </a:ext>
              </a:extLst>
            </p:cNvPr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9190039" y="1978025"/>
              <a:ext cx="20637" cy="57150"/>
            </a:xfrm>
            <a:custGeom>
              <a:avLst/>
              <a:gdLst>
                <a:gd name="T0" fmla="*/ 46 w 46"/>
                <a:gd name="T1" fmla="*/ 0 h 16"/>
                <a:gd name="T2" fmla="*/ 40 w 46"/>
                <a:gd name="T3" fmla="*/ 7 h 16"/>
                <a:gd name="T4" fmla="*/ 35 w 46"/>
                <a:gd name="T5" fmla="*/ 13 h 16"/>
                <a:gd name="T6" fmla="*/ 31 w 46"/>
                <a:gd name="T7" fmla="*/ 14 h 16"/>
                <a:gd name="T8" fmla="*/ 29 w 46"/>
                <a:gd name="T9" fmla="*/ 15 h 16"/>
                <a:gd name="T10" fmla="*/ 26 w 46"/>
                <a:gd name="T11" fmla="*/ 16 h 16"/>
                <a:gd name="T12" fmla="*/ 23 w 46"/>
                <a:gd name="T13" fmla="*/ 16 h 16"/>
                <a:gd name="T14" fmla="*/ 16 w 46"/>
                <a:gd name="T15" fmla="*/ 14 h 16"/>
                <a:gd name="T16" fmla="*/ 11 w 46"/>
                <a:gd name="T17" fmla="*/ 11 h 16"/>
                <a:gd name="T18" fmla="*/ 5 w 46"/>
                <a:gd name="T19" fmla="*/ 6 h 16"/>
                <a:gd name="T20" fmla="*/ 0 w 46"/>
                <a:gd name="T21" fmla="*/ 0 h 16"/>
                <a:gd name="T22" fmla="*/ 46 w 46"/>
                <a:gd name="T2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2" name="Freeform 108">
              <a:extLst>
                <a:ext uri="{FF2B5EF4-FFF2-40B4-BE49-F238E27FC236}">
                  <a16:creationId xmlns:a16="http://schemas.microsoft.com/office/drawing/2014/main" id="{9D647E50-3B8D-4942-AFA2-DB1136B1A3BA}"/>
                </a:ext>
              </a:extLst>
            </p:cNvPr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9366251" y="2011363"/>
              <a:ext cx="15875" cy="57150"/>
            </a:xfrm>
            <a:custGeom>
              <a:avLst/>
              <a:gdLst>
                <a:gd name="T0" fmla="*/ 39 w 39"/>
                <a:gd name="T1" fmla="*/ 25 h 26"/>
                <a:gd name="T2" fmla="*/ 36 w 39"/>
                <a:gd name="T3" fmla="*/ 26 h 26"/>
                <a:gd name="T4" fmla="*/ 32 w 39"/>
                <a:gd name="T5" fmla="*/ 26 h 26"/>
                <a:gd name="T6" fmla="*/ 28 w 39"/>
                <a:gd name="T7" fmla="*/ 26 h 26"/>
                <a:gd name="T8" fmla="*/ 25 w 39"/>
                <a:gd name="T9" fmla="*/ 25 h 26"/>
                <a:gd name="T10" fmla="*/ 18 w 39"/>
                <a:gd name="T11" fmla="*/ 22 h 26"/>
                <a:gd name="T12" fmla="*/ 12 w 39"/>
                <a:gd name="T13" fmla="*/ 18 h 26"/>
                <a:gd name="T14" fmla="*/ 7 w 39"/>
                <a:gd name="T15" fmla="*/ 13 h 26"/>
                <a:gd name="T16" fmla="*/ 3 w 39"/>
                <a:gd name="T17" fmla="*/ 7 h 26"/>
                <a:gd name="T18" fmla="*/ 1 w 39"/>
                <a:gd name="T19" fmla="*/ 3 h 26"/>
                <a:gd name="T20" fmla="*/ 0 w 39"/>
                <a:gd name="T21" fmla="*/ 0 h 26"/>
                <a:gd name="T22" fmla="*/ 11 w 39"/>
                <a:gd name="T23" fmla="*/ 6 h 26"/>
                <a:gd name="T24" fmla="*/ 22 w 39"/>
                <a:gd name="T25" fmla="*/ 13 h 26"/>
                <a:gd name="T26" fmla="*/ 33 w 39"/>
                <a:gd name="T27" fmla="*/ 20 h 26"/>
                <a:gd name="T28" fmla="*/ 39 w 39"/>
                <a:gd name="T29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3" name="Freeform 109">
              <a:extLst>
                <a:ext uri="{FF2B5EF4-FFF2-40B4-BE49-F238E27FC236}">
                  <a16:creationId xmlns:a16="http://schemas.microsoft.com/office/drawing/2014/main" id="{E06099D9-1D9D-423D-8A41-A48E0852E759}"/>
                </a:ext>
              </a:extLst>
            </p:cNvPr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8815388" y="2241550"/>
              <a:ext cx="4762" cy="58738"/>
            </a:xfrm>
            <a:custGeom>
              <a:avLst/>
              <a:gdLst>
                <a:gd name="T0" fmla="*/ 11 w 11"/>
                <a:gd name="T1" fmla="*/ 0 h 25"/>
                <a:gd name="T2" fmla="*/ 11 w 11"/>
                <a:gd name="T3" fmla="*/ 5 h 25"/>
                <a:gd name="T4" fmla="*/ 10 w 11"/>
                <a:gd name="T5" fmla="*/ 12 h 25"/>
                <a:gd name="T6" fmla="*/ 9 w 11"/>
                <a:gd name="T7" fmla="*/ 20 h 25"/>
                <a:gd name="T8" fmla="*/ 4 w 11"/>
                <a:gd name="T9" fmla="*/ 25 h 25"/>
                <a:gd name="T10" fmla="*/ 2 w 11"/>
                <a:gd name="T11" fmla="*/ 23 h 25"/>
                <a:gd name="T12" fmla="*/ 1 w 11"/>
                <a:gd name="T13" fmla="*/ 20 h 25"/>
                <a:gd name="T14" fmla="*/ 0 w 11"/>
                <a:gd name="T15" fmla="*/ 15 h 25"/>
                <a:gd name="T16" fmla="*/ 0 w 11"/>
                <a:gd name="T17" fmla="*/ 12 h 25"/>
                <a:gd name="T18" fmla="*/ 1 w 11"/>
                <a:gd name="T19" fmla="*/ 9 h 25"/>
                <a:gd name="T20" fmla="*/ 3 w 11"/>
                <a:gd name="T21" fmla="*/ 5 h 25"/>
                <a:gd name="T22" fmla="*/ 6 w 11"/>
                <a:gd name="T23" fmla="*/ 2 h 25"/>
                <a:gd name="T24" fmla="*/ 11 w 11"/>
                <a:gd name="T25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4" name="Freeform 110">
              <a:extLst>
                <a:ext uri="{FF2B5EF4-FFF2-40B4-BE49-F238E27FC236}">
                  <a16:creationId xmlns:a16="http://schemas.microsoft.com/office/drawing/2014/main" id="{D6DD506D-7CB9-4289-953A-E606A3A82BE0}"/>
                </a:ext>
              </a:extLst>
            </p:cNvPr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8629650" y="2803525"/>
              <a:ext cx="14288" cy="58738"/>
            </a:xfrm>
            <a:custGeom>
              <a:avLst/>
              <a:gdLst>
                <a:gd name="T0" fmla="*/ 20 w 20"/>
                <a:gd name="T1" fmla="*/ 0 h 31"/>
                <a:gd name="T2" fmla="*/ 16 w 20"/>
                <a:gd name="T3" fmla="*/ 12 h 31"/>
                <a:gd name="T4" fmla="*/ 10 w 20"/>
                <a:gd name="T5" fmla="*/ 20 h 31"/>
                <a:gd name="T6" fmla="*/ 5 w 20"/>
                <a:gd name="T7" fmla="*/ 26 h 31"/>
                <a:gd name="T8" fmla="*/ 0 w 20"/>
                <a:gd name="T9" fmla="*/ 31 h 31"/>
                <a:gd name="T10" fmla="*/ 0 w 20"/>
                <a:gd name="T11" fmla="*/ 25 h 31"/>
                <a:gd name="T12" fmla="*/ 1 w 20"/>
                <a:gd name="T13" fmla="*/ 19 h 31"/>
                <a:gd name="T14" fmla="*/ 2 w 20"/>
                <a:gd name="T15" fmla="*/ 13 h 31"/>
                <a:gd name="T16" fmla="*/ 5 w 20"/>
                <a:gd name="T17" fmla="*/ 9 h 31"/>
                <a:gd name="T18" fmla="*/ 8 w 20"/>
                <a:gd name="T19" fmla="*/ 6 h 31"/>
                <a:gd name="T20" fmla="*/ 11 w 20"/>
                <a:gd name="T21" fmla="*/ 3 h 31"/>
                <a:gd name="T22" fmla="*/ 16 w 20"/>
                <a:gd name="T23" fmla="*/ 0 h 31"/>
                <a:gd name="T24" fmla="*/ 20 w 20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5" name="Freeform 111">
              <a:extLst>
                <a:ext uri="{FF2B5EF4-FFF2-40B4-BE49-F238E27FC236}">
                  <a16:creationId xmlns:a16="http://schemas.microsoft.com/office/drawing/2014/main" id="{D89566E7-DD83-4619-B09B-258B8F85E19E}"/>
                </a:ext>
              </a:extLst>
            </p:cNvPr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8647114" y="2738438"/>
              <a:ext cx="15875" cy="57150"/>
            </a:xfrm>
            <a:custGeom>
              <a:avLst/>
              <a:gdLst>
                <a:gd name="T0" fmla="*/ 13 w 26"/>
                <a:gd name="T1" fmla="*/ 37 h 37"/>
                <a:gd name="T2" fmla="*/ 0 w 26"/>
                <a:gd name="T3" fmla="*/ 12 h 37"/>
                <a:gd name="T4" fmla="*/ 6 w 26"/>
                <a:gd name="T5" fmla="*/ 7 h 37"/>
                <a:gd name="T6" fmla="*/ 13 w 26"/>
                <a:gd name="T7" fmla="*/ 4 h 37"/>
                <a:gd name="T8" fmla="*/ 21 w 26"/>
                <a:gd name="T9" fmla="*/ 1 h 37"/>
                <a:gd name="T10" fmla="*/ 26 w 26"/>
                <a:gd name="T11" fmla="*/ 0 h 37"/>
                <a:gd name="T12" fmla="*/ 26 w 26"/>
                <a:gd name="T13" fmla="*/ 6 h 37"/>
                <a:gd name="T14" fmla="*/ 25 w 26"/>
                <a:gd name="T15" fmla="*/ 11 h 37"/>
                <a:gd name="T16" fmla="*/ 24 w 26"/>
                <a:gd name="T17" fmla="*/ 17 h 37"/>
                <a:gd name="T18" fmla="*/ 23 w 26"/>
                <a:gd name="T19" fmla="*/ 21 h 37"/>
                <a:gd name="T20" fmla="*/ 18 w 26"/>
                <a:gd name="T21" fmla="*/ 29 h 37"/>
                <a:gd name="T22" fmla="*/ 13 w 26"/>
                <a:gd name="T23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6" name="Freeform 112">
              <a:extLst>
                <a:ext uri="{FF2B5EF4-FFF2-40B4-BE49-F238E27FC236}">
                  <a16:creationId xmlns:a16="http://schemas.microsoft.com/office/drawing/2014/main" id="{4500F5D1-4DF2-4EC9-9CBA-4B6E21D57ECC}"/>
                </a:ext>
              </a:extLst>
            </p:cNvPr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8535989" y="2587626"/>
              <a:ext cx="1587" cy="60325"/>
            </a:xfrm>
            <a:custGeom>
              <a:avLst/>
              <a:gdLst>
                <a:gd name="T0" fmla="*/ 0 w 7"/>
                <a:gd name="T1" fmla="*/ 18 h 18"/>
                <a:gd name="T2" fmla="*/ 0 w 7"/>
                <a:gd name="T3" fmla="*/ 0 h 18"/>
                <a:gd name="T4" fmla="*/ 7 w 7"/>
                <a:gd name="T5" fmla="*/ 12 h 18"/>
                <a:gd name="T6" fmla="*/ 0 w 7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7" name="Freeform 113">
              <a:extLst>
                <a:ext uri="{FF2B5EF4-FFF2-40B4-BE49-F238E27FC236}">
                  <a16:creationId xmlns:a16="http://schemas.microsoft.com/office/drawing/2014/main" id="{8D9470A8-1FE4-4255-A49E-564350D94E91}"/>
                </a:ext>
              </a:extLst>
            </p:cNvPr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5387976" y="1714500"/>
              <a:ext cx="9525" cy="57150"/>
            </a:xfrm>
            <a:custGeom>
              <a:avLst/>
              <a:gdLst>
                <a:gd name="T0" fmla="*/ 0 w 33"/>
                <a:gd name="T1" fmla="*/ 12 h 31"/>
                <a:gd name="T2" fmla="*/ 19 w 33"/>
                <a:gd name="T3" fmla="*/ 0 h 31"/>
                <a:gd name="T4" fmla="*/ 24 w 33"/>
                <a:gd name="T5" fmla="*/ 5 h 31"/>
                <a:gd name="T6" fmla="*/ 28 w 33"/>
                <a:gd name="T7" fmla="*/ 12 h 31"/>
                <a:gd name="T8" fmla="*/ 32 w 33"/>
                <a:gd name="T9" fmla="*/ 22 h 31"/>
                <a:gd name="T10" fmla="*/ 33 w 33"/>
                <a:gd name="T11" fmla="*/ 31 h 31"/>
                <a:gd name="T12" fmla="*/ 27 w 33"/>
                <a:gd name="T13" fmla="*/ 30 h 31"/>
                <a:gd name="T14" fmla="*/ 22 w 33"/>
                <a:gd name="T15" fmla="*/ 28 h 31"/>
                <a:gd name="T16" fmla="*/ 16 w 33"/>
                <a:gd name="T17" fmla="*/ 25 h 31"/>
                <a:gd name="T18" fmla="*/ 11 w 33"/>
                <a:gd name="T19" fmla="*/ 22 h 31"/>
                <a:gd name="T20" fmla="*/ 3 w 33"/>
                <a:gd name="T21" fmla="*/ 15 h 31"/>
                <a:gd name="T22" fmla="*/ 0 w 33"/>
                <a:gd name="T23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8" name="Freeform 114">
              <a:extLst>
                <a:ext uri="{FF2B5EF4-FFF2-40B4-BE49-F238E27FC236}">
                  <a16:creationId xmlns:a16="http://schemas.microsoft.com/office/drawing/2014/main" id="{47D28EF6-7984-44B5-9A64-A1962502800B}"/>
                </a:ext>
              </a:extLst>
            </p:cNvPr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5373689" y="1482725"/>
              <a:ext cx="3175" cy="57150"/>
            </a:xfrm>
            <a:custGeom>
              <a:avLst/>
              <a:gdLst>
                <a:gd name="T0" fmla="*/ 14 w 14"/>
                <a:gd name="T1" fmla="*/ 0 h 6"/>
                <a:gd name="T2" fmla="*/ 0 w 14"/>
                <a:gd name="T3" fmla="*/ 6 h 6"/>
                <a:gd name="T4" fmla="*/ 14 w 14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89" name="Freeform 115">
              <a:extLst>
                <a:ext uri="{FF2B5EF4-FFF2-40B4-BE49-F238E27FC236}">
                  <a16:creationId xmlns:a16="http://schemas.microsoft.com/office/drawing/2014/main" id="{4DA2D6EA-5FC7-40A7-A16B-A15F6DC52D90}"/>
                </a:ext>
              </a:extLst>
            </p:cNvPr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6854825" y="3260726"/>
              <a:ext cx="25400" cy="55563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0" name="Freeform 116">
              <a:extLst>
                <a:ext uri="{FF2B5EF4-FFF2-40B4-BE49-F238E27FC236}">
                  <a16:creationId xmlns:a16="http://schemas.microsoft.com/office/drawing/2014/main" id="{EF2D82DD-D6BA-4D1F-91BA-0BDD1BD167C9}"/>
                </a:ext>
              </a:extLst>
            </p:cNvPr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6557963" y="3122614"/>
              <a:ext cx="19050" cy="58737"/>
            </a:xfrm>
            <a:custGeom>
              <a:avLst/>
              <a:gdLst>
                <a:gd name="T0" fmla="*/ 14 w 47"/>
                <a:gd name="T1" fmla="*/ 0 h 68"/>
                <a:gd name="T2" fmla="*/ 8 w 47"/>
                <a:gd name="T3" fmla="*/ 10 h 68"/>
                <a:gd name="T4" fmla="*/ 4 w 47"/>
                <a:gd name="T5" fmla="*/ 19 h 68"/>
                <a:gd name="T6" fmla="*/ 2 w 47"/>
                <a:gd name="T7" fmla="*/ 28 h 68"/>
                <a:gd name="T8" fmla="*/ 0 w 47"/>
                <a:gd name="T9" fmla="*/ 37 h 68"/>
                <a:gd name="T10" fmla="*/ 0 w 47"/>
                <a:gd name="T11" fmla="*/ 42 h 68"/>
                <a:gd name="T12" fmla="*/ 2 w 47"/>
                <a:gd name="T13" fmla="*/ 47 h 68"/>
                <a:gd name="T14" fmla="*/ 3 w 47"/>
                <a:gd name="T15" fmla="*/ 51 h 68"/>
                <a:gd name="T16" fmla="*/ 5 w 47"/>
                <a:gd name="T17" fmla="*/ 55 h 68"/>
                <a:gd name="T18" fmla="*/ 7 w 47"/>
                <a:gd name="T19" fmla="*/ 58 h 68"/>
                <a:gd name="T20" fmla="*/ 9 w 47"/>
                <a:gd name="T21" fmla="*/ 60 h 68"/>
                <a:gd name="T22" fmla="*/ 13 w 47"/>
                <a:gd name="T23" fmla="*/ 62 h 68"/>
                <a:gd name="T24" fmla="*/ 16 w 47"/>
                <a:gd name="T25" fmla="*/ 64 h 68"/>
                <a:gd name="T26" fmla="*/ 22 w 47"/>
                <a:gd name="T27" fmla="*/ 67 h 68"/>
                <a:gd name="T28" fmla="*/ 31 w 47"/>
                <a:gd name="T29" fmla="*/ 68 h 68"/>
                <a:gd name="T30" fmla="*/ 39 w 47"/>
                <a:gd name="T31" fmla="*/ 68 h 68"/>
                <a:gd name="T32" fmla="*/ 47 w 47"/>
                <a:gd name="T33" fmla="*/ 68 h 68"/>
                <a:gd name="T34" fmla="*/ 41 w 47"/>
                <a:gd name="T35" fmla="*/ 58 h 68"/>
                <a:gd name="T36" fmla="*/ 38 w 47"/>
                <a:gd name="T37" fmla="*/ 48 h 68"/>
                <a:gd name="T38" fmla="*/ 36 w 47"/>
                <a:gd name="T39" fmla="*/ 43 h 68"/>
                <a:gd name="T40" fmla="*/ 35 w 47"/>
                <a:gd name="T41" fmla="*/ 38 h 68"/>
                <a:gd name="T42" fmla="*/ 33 w 47"/>
                <a:gd name="T43" fmla="*/ 31 h 68"/>
                <a:gd name="T44" fmla="*/ 33 w 47"/>
                <a:gd name="T45" fmla="*/ 25 h 68"/>
                <a:gd name="T46" fmla="*/ 24 w 47"/>
                <a:gd name="T47" fmla="*/ 13 h 68"/>
                <a:gd name="T48" fmla="*/ 14 w 47"/>
                <a:gd name="T4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91" name="Group 117">
              <a:extLst>
                <a:ext uri="{FF2B5EF4-FFF2-40B4-BE49-F238E27FC236}">
                  <a16:creationId xmlns:a16="http://schemas.microsoft.com/office/drawing/2014/main" id="{E1B669C3-6F27-4B7F-BFC8-5721A73C1075}"/>
                </a:ext>
              </a:extLst>
            </p:cNvPr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7329489" y="3309938"/>
              <a:ext cx="46037" cy="374650"/>
              <a:chOff x="3950" y="2430"/>
              <a:chExt cx="36" cy="234"/>
            </a:xfrm>
          </p:grpSpPr>
          <p:sp>
            <p:nvSpPr>
              <p:cNvPr id="494" name="Freeform 118">
                <a:extLst>
                  <a:ext uri="{FF2B5EF4-FFF2-40B4-BE49-F238E27FC236}">
                    <a16:creationId xmlns:a16="http://schemas.microsoft.com/office/drawing/2014/main" id="{0C48D71F-FA97-4224-A68B-4919B3093A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5" name="Freeform 119">
                <a:extLst>
                  <a:ext uri="{FF2B5EF4-FFF2-40B4-BE49-F238E27FC236}">
                    <a16:creationId xmlns:a16="http://schemas.microsoft.com/office/drawing/2014/main" id="{32F81BEB-0663-46E9-81CA-A6EBB9B737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6" name="Freeform 120">
                <a:extLst>
                  <a:ext uri="{FF2B5EF4-FFF2-40B4-BE49-F238E27FC236}">
                    <a16:creationId xmlns:a16="http://schemas.microsoft.com/office/drawing/2014/main" id="{5E0B8308-EC1F-480D-AECA-D4D1085F86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7" name="Rectangle 121">
                <a:extLst>
                  <a:ext uri="{FF2B5EF4-FFF2-40B4-BE49-F238E27FC236}">
                    <a16:creationId xmlns:a16="http://schemas.microsoft.com/office/drawing/2014/main" id="{A5E31BB9-FE8D-48F5-A886-62682639A7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8" name="Line 122">
                <a:extLst>
                  <a:ext uri="{FF2B5EF4-FFF2-40B4-BE49-F238E27FC236}">
                    <a16:creationId xmlns:a16="http://schemas.microsoft.com/office/drawing/2014/main" id="{79E814CA-AA2A-4BA1-9E04-B0248AEAFE9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9" name="Freeform 123">
                <a:extLst>
                  <a:ext uri="{FF2B5EF4-FFF2-40B4-BE49-F238E27FC236}">
                    <a16:creationId xmlns:a16="http://schemas.microsoft.com/office/drawing/2014/main" id="{C26864A7-A512-4B19-B5E0-FD3332241F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0" name="Freeform 124">
                <a:extLst>
                  <a:ext uri="{FF2B5EF4-FFF2-40B4-BE49-F238E27FC236}">
                    <a16:creationId xmlns:a16="http://schemas.microsoft.com/office/drawing/2014/main" id="{8C26B48A-D5A3-493C-AEC2-32114C82E6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1" name="Line 125">
                <a:extLst>
                  <a:ext uri="{FF2B5EF4-FFF2-40B4-BE49-F238E27FC236}">
                    <a16:creationId xmlns:a16="http://schemas.microsoft.com/office/drawing/2014/main" id="{6EC7FED7-42F2-4270-B804-B50DC6B4D56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2" name="Freeform 126">
                <a:extLst>
                  <a:ext uri="{FF2B5EF4-FFF2-40B4-BE49-F238E27FC236}">
                    <a16:creationId xmlns:a16="http://schemas.microsoft.com/office/drawing/2014/main" id="{56C128F0-40BA-4453-97DB-30CDE9537F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3" name="Freeform 127">
                <a:extLst>
                  <a:ext uri="{FF2B5EF4-FFF2-40B4-BE49-F238E27FC236}">
                    <a16:creationId xmlns:a16="http://schemas.microsoft.com/office/drawing/2014/main" id="{4DAC2FB2-9C92-4F5A-B3C1-4866A2034A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4" name="Line 128">
                <a:extLst>
                  <a:ext uri="{FF2B5EF4-FFF2-40B4-BE49-F238E27FC236}">
                    <a16:creationId xmlns:a16="http://schemas.microsoft.com/office/drawing/2014/main" id="{692B16F1-8B37-439F-A7C7-0C1037500D3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5" name="Freeform 129">
                <a:extLst>
                  <a:ext uri="{FF2B5EF4-FFF2-40B4-BE49-F238E27FC236}">
                    <a16:creationId xmlns:a16="http://schemas.microsoft.com/office/drawing/2014/main" id="{FEB5FC49-1858-48EA-89A1-BCCA85DA19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6" name="Freeform 130">
                <a:extLst>
                  <a:ext uri="{FF2B5EF4-FFF2-40B4-BE49-F238E27FC236}">
                    <a16:creationId xmlns:a16="http://schemas.microsoft.com/office/drawing/2014/main" id="{D5AF8E05-A2C4-4845-9B88-8BA0388920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7" name="Freeform 131">
                <a:extLst>
                  <a:ext uri="{FF2B5EF4-FFF2-40B4-BE49-F238E27FC236}">
                    <a16:creationId xmlns:a16="http://schemas.microsoft.com/office/drawing/2014/main" id="{975F28D6-5A30-407F-9670-DB0A44D2C3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8" name="Freeform 132">
                <a:extLst>
                  <a:ext uri="{FF2B5EF4-FFF2-40B4-BE49-F238E27FC236}">
                    <a16:creationId xmlns:a16="http://schemas.microsoft.com/office/drawing/2014/main" id="{0E702C21-86D6-4C52-8E45-B8F16FBC24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09" name="Freeform 133">
                <a:extLst>
                  <a:ext uri="{FF2B5EF4-FFF2-40B4-BE49-F238E27FC236}">
                    <a16:creationId xmlns:a16="http://schemas.microsoft.com/office/drawing/2014/main" id="{A995DADD-7126-4AC2-9ABF-59AB02FB80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10" name="Freeform 134">
                <a:extLst>
                  <a:ext uri="{FF2B5EF4-FFF2-40B4-BE49-F238E27FC236}">
                    <a16:creationId xmlns:a16="http://schemas.microsoft.com/office/drawing/2014/main" id="{15F95DA0-D238-4A8F-935C-E23E1C71CA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11" name="Freeform 135">
                <a:extLst>
                  <a:ext uri="{FF2B5EF4-FFF2-40B4-BE49-F238E27FC236}">
                    <a16:creationId xmlns:a16="http://schemas.microsoft.com/office/drawing/2014/main" id="{7C8F52C2-3919-4AC2-8D3B-8EAB8E9F89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10 w 19"/>
                  <a:gd name="T2" fmla="*/ 19 w 19"/>
                  <a:gd name="T3" fmla="*/ 10 w 19"/>
                  <a:gd name="T4" fmla="*/ 0 w 1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9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12" name="Rectangle 136">
                <a:extLst>
                  <a:ext uri="{FF2B5EF4-FFF2-40B4-BE49-F238E27FC236}">
                    <a16:creationId xmlns:a16="http://schemas.microsoft.com/office/drawing/2014/main" id="{F3B45F1C-A2F5-4BB6-B4F0-B1306BB9F6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13" name="Line 137">
                <a:extLst>
                  <a:ext uri="{FF2B5EF4-FFF2-40B4-BE49-F238E27FC236}">
                    <a16:creationId xmlns:a16="http://schemas.microsoft.com/office/drawing/2014/main" id="{C95232F3-1A45-456D-9C8F-13ACB6BD92D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14" name="Freeform 138">
                <a:extLst>
                  <a:ext uri="{FF2B5EF4-FFF2-40B4-BE49-F238E27FC236}">
                    <a16:creationId xmlns:a16="http://schemas.microsoft.com/office/drawing/2014/main" id="{B634A0D4-D89C-4DC6-A654-89DDC70A22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15" name="Freeform 139">
                <a:extLst>
                  <a:ext uri="{FF2B5EF4-FFF2-40B4-BE49-F238E27FC236}">
                    <a16:creationId xmlns:a16="http://schemas.microsoft.com/office/drawing/2014/main" id="{D37C52FA-6E42-4149-9AC6-34832F0408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16" name="Line 140">
                <a:extLst>
                  <a:ext uri="{FF2B5EF4-FFF2-40B4-BE49-F238E27FC236}">
                    <a16:creationId xmlns:a16="http://schemas.microsoft.com/office/drawing/2014/main" id="{26558BF4-6E08-4A6E-ABB0-56952F1E37F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17" name="Freeform 141">
                <a:extLst>
                  <a:ext uri="{FF2B5EF4-FFF2-40B4-BE49-F238E27FC236}">
                    <a16:creationId xmlns:a16="http://schemas.microsoft.com/office/drawing/2014/main" id="{60F0112A-EE09-42F0-9CA6-24783B4BDD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18" name="Freeform 142">
                <a:extLst>
                  <a:ext uri="{FF2B5EF4-FFF2-40B4-BE49-F238E27FC236}">
                    <a16:creationId xmlns:a16="http://schemas.microsoft.com/office/drawing/2014/main" id="{E8C001FA-7B75-4DE4-9EAA-4D00D15374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19" name="Line 143">
                <a:extLst>
                  <a:ext uri="{FF2B5EF4-FFF2-40B4-BE49-F238E27FC236}">
                    <a16:creationId xmlns:a16="http://schemas.microsoft.com/office/drawing/2014/main" id="{E3E24946-8D34-4326-A6E3-FD89FC3CFE5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0" name="Freeform 144">
                <a:extLst>
                  <a:ext uri="{FF2B5EF4-FFF2-40B4-BE49-F238E27FC236}">
                    <a16:creationId xmlns:a16="http://schemas.microsoft.com/office/drawing/2014/main" id="{3323024B-C331-4EC6-B28F-5A86635E5B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1" name="Freeform 145">
                <a:extLst>
                  <a:ext uri="{FF2B5EF4-FFF2-40B4-BE49-F238E27FC236}">
                    <a16:creationId xmlns:a16="http://schemas.microsoft.com/office/drawing/2014/main" id="{CA083187-DCF7-4282-BE0D-C05D142839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2" name="Freeform 146">
                <a:extLst>
                  <a:ext uri="{FF2B5EF4-FFF2-40B4-BE49-F238E27FC236}">
                    <a16:creationId xmlns:a16="http://schemas.microsoft.com/office/drawing/2014/main" id="{8C44EED3-791F-4A6F-AB28-54552D1FF6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3" name="Freeform 147">
                <a:extLst>
                  <a:ext uri="{FF2B5EF4-FFF2-40B4-BE49-F238E27FC236}">
                    <a16:creationId xmlns:a16="http://schemas.microsoft.com/office/drawing/2014/main" id="{B072283B-49B6-47A1-9475-475565BE57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524" name="Freeform 148">
                <a:extLst>
                  <a:ext uri="{FF2B5EF4-FFF2-40B4-BE49-F238E27FC236}">
                    <a16:creationId xmlns:a16="http://schemas.microsoft.com/office/drawing/2014/main" id="{3A707EB5-D51A-4A1B-9C9C-64CAD77DCA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13 w 20"/>
                  <a:gd name="T1" fmla="*/ 18 h 18"/>
                  <a:gd name="T2" fmla="*/ 20 w 20"/>
                  <a:gd name="T3" fmla="*/ 0 h 18"/>
                  <a:gd name="T4" fmla="*/ 0 w 20"/>
                  <a:gd name="T5" fmla="*/ 0 h 18"/>
                  <a:gd name="T6" fmla="*/ 13 w 20"/>
                  <a:gd name="T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92" name="Group 149">
              <a:extLst>
                <a:ext uri="{FF2B5EF4-FFF2-40B4-BE49-F238E27FC236}">
                  <a16:creationId xmlns:a16="http://schemas.microsoft.com/office/drawing/2014/main" id="{3C99030D-ED2D-4879-B3D5-EE55DE980CD3}"/>
                </a:ext>
              </a:extLst>
            </p:cNvPr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9394825" y="3810001"/>
              <a:ext cx="185738" cy="214313"/>
              <a:chOff x="5486" y="2743"/>
              <a:chExt cx="137" cy="132"/>
            </a:xfrm>
          </p:grpSpPr>
          <p:sp>
            <p:nvSpPr>
              <p:cNvPr id="485" name="Freeform 150">
                <a:extLst>
                  <a:ext uri="{FF2B5EF4-FFF2-40B4-BE49-F238E27FC236}">
                    <a16:creationId xmlns:a16="http://schemas.microsoft.com/office/drawing/2014/main" id="{8C448E4C-51DE-439E-A0D6-712A43056A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31 h 87"/>
                  <a:gd name="T2" fmla="*/ 0 w 40"/>
                  <a:gd name="T3" fmla="*/ 42 h 87"/>
                  <a:gd name="T4" fmla="*/ 2 w 40"/>
                  <a:gd name="T5" fmla="*/ 51 h 87"/>
                  <a:gd name="T6" fmla="*/ 5 w 40"/>
                  <a:gd name="T7" fmla="*/ 59 h 87"/>
                  <a:gd name="T8" fmla="*/ 10 w 40"/>
                  <a:gd name="T9" fmla="*/ 66 h 87"/>
                  <a:gd name="T10" fmla="*/ 15 w 40"/>
                  <a:gd name="T11" fmla="*/ 72 h 87"/>
                  <a:gd name="T12" fmla="*/ 22 w 40"/>
                  <a:gd name="T13" fmla="*/ 77 h 87"/>
                  <a:gd name="T14" fmla="*/ 31 w 40"/>
                  <a:gd name="T15" fmla="*/ 82 h 87"/>
                  <a:gd name="T16" fmla="*/ 40 w 40"/>
                  <a:gd name="T17" fmla="*/ 87 h 87"/>
                  <a:gd name="T18" fmla="*/ 35 w 40"/>
                  <a:gd name="T19" fmla="*/ 82 h 87"/>
                  <a:gd name="T20" fmla="*/ 32 w 40"/>
                  <a:gd name="T21" fmla="*/ 77 h 87"/>
                  <a:gd name="T22" fmla="*/ 29 w 40"/>
                  <a:gd name="T23" fmla="*/ 71 h 87"/>
                  <a:gd name="T24" fmla="*/ 26 w 40"/>
                  <a:gd name="T25" fmla="*/ 65 h 87"/>
                  <a:gd name="T26" fmla="*/ 22 w 40"/>
                  <a:gd name="T27" fmla="*/ 52 h 87"/>
                  <a:gd name="T28" fmla="*/ 20 w 40"/>
                  <a:gd name="T29" fmla="*/ 39 h 87"/>
                  <a:gd name="T30" fmla="*/ 18 w 40"/>
                  <a:gd name="T31" fmla="*/ 27 h 87"/>
                  <a:gd name="T32" fmla="*/ 13 w 40"/>
                  <a:gd name="T33" fmla="*/ 16 h 87"/>
                  <a:gd name="T34" fmla="*/ 11 w 40"/>
                  <a:gd name="T35" fmla="*/ 11 h 87"/>
                  <a:gd name="T36" fmla="*/ 8 w 40"/>
                  <a:gd name="T37" fmla="*/ 6 h 87"/>
                  <a:gd name="T38" fmla="*/ 4 w 40"/>
                  <a:gd name="T39" fmla="*/ 3 h 87"/>
                  <a:gd name="T40" fmla="*/ 0 w 40"/>
                  <a:gd name="T41" fmla="*/ 0 h 87"/>
                  <a:gd name="T42" fmla="*/ 0 w 40"/>
                  <a:gd name="T43" fmla="*/ 9 h 87"/>
                  <a:gd name="T44" fmla="*/ 0 w 40"/>
                  <a:gd name="T45" fmla="*/ 16 h 87"/>
                  <a:gd name="T46" fmla="*/ 0 w 40"/>
                  <a:gd name="T47" fmla="*/ 23 h 87"/>
                  <a:gd name="T48" fmla="*/ 0 w 40"/>
                  <a:gd name="T49" fmla="*/ 3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6" name="Freeform 151">
                <a:extLst>
                  <a:ext uri="{FF2B5EF4-FFF2-40B4-BE49-F238E27FC236}">
                    <a16:creationId xmlns:a16="http://schemas.microsoft.com/office/drawing/2014/main" id="{F389E5A0-59F8-41D3-99D1-F066EE7D12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31 h 37"/>
                  <a:gd name="T2" fmla="*/ 19 w 61"/>
                  <a:gd name="T3" fmla="*/ 32 h 37"/>
                  <a:gd name="T4" fmla="*/ 35 w 61"/>
                  <a:gd name="T5" fmla="*/ 34 h 37"/>
                  <a:gd name="T6" fmla="*/ 49 w 61"/>
                  <a:gd name="T7" fmla="*/ 36 h 37"/>
                  <a:gd name="T8" fmla="*/ 61 w 61"/>
                  <a:gd name="T9" fmla="*/ 37 h 37"/>
                  <a:gd name="T10" fmla="*/ 55 w 61"/>
                  <a:gd name="T11" fmla="*/ 29 h 37"/>
                  <a:gd name="T12" fmla="*/ 49 w 61"/>
                  <a:gd name="T13" fmla="*/ 22 h 37"/>
                  <a:gd name="T14" fmla="*/ 42 w 61"/>
                  <a:gd name="T15" fmla="*/ 17 h 37"/>
                  <a:gd name="T16" fmla="*/ 35 w 61"/>
                  <a:gd name="T17" fmla="*/ 12 h 37"/>
                  <a:gd name="T18" fmla="*/ 28 w 61"/>
                  <a:gd name="T19" fmla="*/ 9 h 37"/>
                  <a:gd name="T20" fmla="*/ 19 w 61"/>
                  <a:gd name="T21" fmla="*/ 5 h 37"/>
                  <a:gd name="T22" fmla="*/ 10 w 61"/>
                  <a:gd name="T23" fmla="*/ 2 h 37"/>
                  <a:gd name="T24" fmla="*/ 0 w 61"/>
                  <a:gd name="T25" fmla="*/ 0 h 37"/>
                  <a:gd name="T26" fmla="*/ 0 w 61"/>
                  <a:gd name="T27" fmla="*/ 3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7" name="Freeform 152">
                <a:extLst>
                  <a:ext uri="{FF2B5EF4-FFF2-40B4-BE49-F238E27FC236}">
                    <a16:creationId xmlns:a16="http://schemas.microsoft.com/office/drawing/2014/main" id="{118183B6-083F-462A-9D3A-DA2CD1F6BA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40 w 40"/>
                  <a:gd name="T1" fmla="*/ 30 h 30"/>
                  <a:gd name="T2" fmla="*/ 33 w 40"/>
                  <a:gd name="T3" fmla="*/ 28 h 30"/>
                  <a:gd name="T4" fmla="*/ 26 w 40"/>
                  <a:gd name="T5" fmla="*/ 25 h 30"/>
                  <a:gd name="T6" fmla="*/ 21 w 40"/>
                  <a:gd name="T7" fmla="*/ 22 h 30"/>
                  <a:gd name="T8" fmla="*/ 15 w 40"/>
                  <a:gd name="T9" fmla="*/ 19 h 30"/>
                  <a:gd name="T10" fmla="*/ 11 w 40"/>
                  <a:gd name="T11" fmla="*/ 16 h 30"/>
                  <a:gd name="T12" fmla="*/ 6 w 40"/>
                  <a:gd name="T13" fmla="*/ 11 h 30"/>
                  <a:gd name="T14" fmla="*/ 3 w 40"/>
                  <a:gd name="T15" fmla="*/ 6 h 30"/>
                  <a:gd name="T16" fmla="*/ 0 w 40"/>
                  <a:gd name="T17" fmla="*/ 0 h 30"/>
                  <a:gd name="T18" fmla="*/ 8 w 40"/>
                  <a:gd name="T19" fmla="*/ 2 h 30"/>
                  <a:gd name="T20" fmla="*/ 15 w 40"/>
                  <a:gd name="T21" fmla="*/ 6 h 30"/>
                  <a:gd name="T22" fmla="*/ 22 w 40"/>
                  <a:gd name="T23" fmla="*/ 10 h 30"/>
                  <a:gd name="T24" fmla="*/ 27 w 40"/>
                  <a:gd name="T25" fmla="*/ 15 h 30"/>
                  <a:gd name="T26" fmla="*/ 33 w 40"/>
                  <a:gd name="T27" fmla="*/ 19 h 30"/>
                  <a:gd name="T28" fmla="*/ 36 w 40"/>
                  <a:gd name="T29" fmla="*/ 23 h 30"/>
                  <a:gd name="T30" fmla="*/ 39 w 40"/>
                  <a:gd name="T31" fmla="*/ 27 h 30"/>
                  <a:gd name="T32" fmla="*/ 40 w 40"/>
                  <a:gd name="T3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8" name="Freeform 153">
                <a:extLst>
                  <a:ext uri="{FF2B5EF4-FFF2-40B4-BE49-F238E27FC236}">
                    <a16:creationId xmlns:a16="http://schemas.microsoft.com/office/drawing/2014/main" id="{55261EE6-0115-4D26-AB82-8C3D8299B2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74 w 74"/>
                  <a:gd name="T1" fmla="*/ 80 h 80"/>
                  <a:gd name="T2" fmla="*/ 72 w 74"/>
                  <a:gd name="T3" fmla="*/ 73 h 80"/>
                  <a:gd name="T4" fmla="*/ 71 w 74"/>
                  <a:gd name="T5" fmla="*/ 66 h 80"/>
                  <a:gd name="T6" fmla="*/ 69 w 74"/>
                  <a:gd name="T7" fmla="*/ 60 h 80"/>
                  <a:gd name="T8" fmla="*/ 66 w 74"/>
                  <a:gd name="T9" fmla="*/ 53 h 80"/>
                  <a:gd name="T10" fmla="*/ 58 w 74"/>
                  <a:gd name="T11" fmla="*/ 42 h 80"/>
                  <a:gd name="T12" fmla="*/ 48 w 74"/>
                  <a:gd name="T13" fmla="*/ 33 h 80"/>
                  <a:gd name="T14" fmla="*/ 38 w 74"/>
                  <a:gd name="T15" fmla="*/ 25 h 80"/>
                  <a:gd name="T16" fmla="*/ 29 w 74"/>
                  <a:gd name="T17" fmla="*/ 17 h 80"/>
                  <a:gd name="T18" fmla="*/ 20 w 74"/>
                  <a:gd name="T19" fmla="*/ 9 h 80"/>
                  <a:gd name="T20" fmla="*/ 13 w 74"/>
                  <a:gd name="T21" fmla="*/ 0 h 80"/>
                  <a:gd name="T22" fmla="*/ 9 w 74"/>
                  <a:gd name="T23" fmla="*/ 5 h 80"/>
                  <a:gd name="T24" fmla="*/ 4 w 74"/>
                  <a:gd name="T25" fmla="*/ 10 h 80"/>
                  <a:gd name="T26" fmla="*/ 1 w 74"/>
                  <a:gd name="T27" fmla="*/ 14 h 80"/>
                  <a:gd name="T28" fmla="*/ 0 w 74"/>
                  <a:gd name="T29" fmla="*/ 19 h 80"/>
                  <a:gd name="T30" fmla="*/ 0 w 74"/>
                  <a:gd name="T31" fmla="*/ 25 h 80"/>
                  <a:gd name="T32" fmla="*/ 2 w 74"/>
                  <a:gd name="T33" fmla="*/ 30 h 80"/>
                  <a:gd name="T34" fmla="*/ 4 w 74"/>
                  <a:gd name="T35" fmla="*/ 36 h 80"/>
                  <a:gd name="T36" fmla="*/ 7 w 74"/>
                  <a:gd name="T37" fmla="*/ 41 h 80"/>
                  <a:gd name="T38" fmla="*/ 10 w 74"/>
                  <a:gd name="T39" fmla="*/ 46 h 80"/>
                  <a:gd name="T40" fmla="*/ 14 w 74"/>
                  <a:gd name="T41" fmla="*/ 51 h 80"/>
                  <a:gd name="T42" fmla="*/ 19 w 74"/>
                  <a:gd name="T43" fmla="*/ 56 h 80"/>
                  <a:gd name="T44" fmla="*/ 24 w 74"/>
                  <a:gd name="T45" fmla="*/ 61 h 80"/>
                  <a:gd name="T46" fmla="*/ 30 w 74"/>
                  <a:gd name="T47" fmla="*/ 66 h 80"/>
                  <a:gd name="T48" fmla="*/ 35 w 74"/>
                  <a:gd name="T49" fmla="*/ 69 h 80"/>
                  <a:gd name="T50" fmla="*/ 42 w 74"/>
                  <a:gd name="T51" fmla="*/ 72 h 80"/>
                  <a:gd name="T52" fmla="*/ 47 w 74"/>
                  <a:gd name="T53" fmla="*/ 75 h 80"/>
                  <a:gd name="T54" fmla="*/ 54 w 74"/>
                  <a:gd name="T55" fmla="*/ 77 h 80"/>
                  <a:gd name="T56" fmla="*/ 60 w 74"/>
                  <a:gd name="T57" fmla="*/ 79 h 80"/>
                  <a:gd name="T58" fmla="*/ 67 w 74"/>
                  <a:gd name="T59" fmla="*/ 80 h 80"/>
                  <a:gd name="T60" fmla="*/ 74 w 74"/>
                  <a:gd name="T61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9" name="Freeform 154">
                <a:extLst>
                  <a:ext uri="{FF2B5EF4-FFF2-40B4-BE49-F238E27FC236}">
                    <a16:creationId xmlns:a16="http://schemas.microsoft.com/office/drawing/2014/main" id="{1EED9E73-3160-4E63-B0DF-BC6A956152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52 w 86"/>
                  <a:gd name="T1" fmla="*/ 80 h 80"/>
                  <a:gd name="T2" fmla="*/ 86 w 86"/>
                  <a:gd name="T3" fmla="*/ 80 h 80"/>
                  <a:gd name="T4" fmla="*/ 86 w 86"/>
                  <a:gd name="T5" fmla="*/ 61 h 80"/>
                  <a:gd name="T6" fmla="*/ 79 w 86"/>
                  <a:gd name="T7" fmla="*/ 59 h 80"/>
                  <a:gd name="T8" fmla="*/ 72 w 86"/>
                  <a:gd name="T9" fmla="*/ 56 h 80"/>
                  <a:gd name="T10" fmla="*/ 67 w 86"/>
                  <a:gd name="T11" fmla="*/ 53 h 80"/>
                  <a:gd name="T12" fmla="*/ 61 w 86"/>
                  <a:gd name="T13" fmla="*/ 49 h 80"/>
                  <a:gd name="T14" fmla="*/ 51 w 86"/>
                  <a:gd name="T15" fmla="*/ 41 h 80"/>
                  <a:gd name="T16" fmla="*/ 43 w 86"/>
                  <a:gd name="T17" fmla="*/ 33 h 80"/>
                  <a:gd name="T18" fmla="*/ 34 w 86"/>
                  <a:gd name="T19" fmla="*/ 25 h 80"/>
                  <a:gd name="T20" fmla="*/ 24 w 86"/>
                  <a:gd name="T21" fmla="*/ 16 h 80"/>
                  <a:gd name="T22" fmla="*/ 13 w 86"/>
                  <a:gd name="T23" fmla="*/ 7 h 80"/>
                  <a:gd name="T24" fmla="*/ 0 w 86"/>
                  <a:gd name="T25" fmla="*/ 0 h 80"/>
                  <a:gd name="T26" fmla="*/ 1 w 86"/>
                  <a:gd name="T27" fmla="*/ 8 h 80"/>
                  <a:gd name="T28" fmla="*/ 5 w 86"/>
                  <a:gd name="T29" fmla="*/ 20 h 80"/>
                  <a:gd name="T30" fmla="*/ 11 w 86"/>
                  <a:gd name="T31" fmla="*/ 32 h 80"/>
                  <a:gd name="T32" fmla="*/ 18 w 86"/>
                  <a:gd name="T33" fmla="*/ 44 h 80"/>
                  <a:gd name="T34" fmla="*/ 27 w 86"/>
                  <a:gd name="T35" fmla="*/ 57 h 80"/>
                  <a:gd name="T36" fmla="*/ 36 w 86"/>
                  <a:gd name="T37" fmla="*/ 67 h 80"/>
                  <a:gd name="T38" fmla="*/ 40 w 86"/>
                  <a:gd name="T39" fmla="*/ 72 h 80"/>
                  <a:gd name="T40" fmla="*/ 45 w 86"/>
                  <a:gd name="T41" fmla="*/ 76 h 80"/>
                  <a:gd name="T42" fmla="*/ 49 w 86"/>
                  <a:gd name="T43" fmla="*/ 79 h 80"/>
                  <a:gd name="T44" fmla="*/ 52 w 86"/>
                  <a:gd name="T45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0" name="Freeform 155">
                <a:extLst>
                  <a:ext uri="{FF2B5EF4-FFF2-40B4-BE49-F238E27FC236}">
                    <a16:creationId xmlns:a16="http://schemas.microsoft.com/office/drawing/2014/main" id="{8592E500-4C81-4328-8F96-10C314AD66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7 h 31"/>
                  <a:gd name="T2" fmla="*/ 3 w 74"/>
                  <a:gd name="T3" fmla="*/ 11 h 31"/>
                  <a:gd name="T4" fmla="*/ 5 w 74"/>
                  <a:gd name="T5" fmla="*/ 15 h 31"/>
                  <a:gd name="T6" fmla="*/ 9 w 74"/>
                  <a:gd name="T7" fmla="*/ 18 h 31"/>
                  <a:gd name="T8" fmla="*/ 14 w 74"/>
                  <a:gd name="T9" fmla="*/ 21 h 31"/>
                  <a:gd name="T10" fmla="*/ 18 w 74"/>
                  <a:gd name="T11" fmla="*/ 24 h 31"/>
                  <a:gd name="T12" fmla="*/ 23 w 74"/>
                  <a:gd name="T13" fmla="*/ 26 h 31"/>
                  <a:gd name="T14" fmla="*/ 29 w 74"/>
                  <a:gd name="T15" fmla="*/ 28 h 31"/>
                  <a:gd name="T16" fmla="*/ 34 w 74"/>
                  <a:gd name="T17" fmla="*/ 29 h 31"/>
                  <a:gd name="T18" fmla="*/ 47 w 74"/>
                  <a:gd name="T19" fmla="*/ 31 h 31"/>
                  <a:gd name="T20" fmla="*/ 58 w 74"/>
                  <a:gd name="T21" fmla="*/ 31 h 31"/>
                  <a:gd name="T22" fmla="*/ 63 w 74"/>
                  <a:gd name="T23" fmla="*/ 30 h 31"/>
                  <a:gd name="T24" fmla="*/ 67 w 74"/>
                  <a:gd name="T25" fmla="*/ 29 h 31"/>
                  <a:gd name="T26" fmla="*/ 71 w 74"/>
                  <a:gd name="T27" fmla="*/ 27 h 31"/>
                  <a:gd name="T28" fmla="*/ 74 w 74"/>
                  <a:gd name="T29" fmla="*/ 25 h 31"/>
                  <a:gd name="T30" fmla="*/ 64 w 74"/>
                  <a:gd name="T31" fmla="*/ 18 h 31"/>
                  <a:gd name="T32" fmla="*/ 55 w 74"/>
                  <a:gd name="T33" fmla="*/ 13 h 31"/>
                  <a:gd name="T34" fmla="*/ 51 w 74"/>
                  <a:gd name="T35" fmla="*/ 10 h 31"/>
                  <a:gd name="T36" fmla="*/ 47 w 74"/>
                  <a:gd name="T37" fmla="*/ 8 h 31"/>
                  <a:gd name="T38" fmla="*/ 43 w 74"/>
                  <a:gd name="T39" fmla="*/ 5 h 31"/>
                  <a:gd name="T40" fmla="*/ 41 w 74"/>
                  <a:gd name="T41" fmla="*/ 0 h 31"/>
                  <a:gd name="T42" fmla="*/ 33 w 74"/>
                  <a:gd name="T43" fmla="*/ 1 h 31"/>
                  <a:gd name="T44" fmla="*/ 28 w 74"/>
                  <a:gd name="T45" fmla="*/ 1 h 31"/>
                  <a:gd name="T46" fmla="*/ 22 w 74"/>
                  <a:gd name="T47" fmla="*/ 1 h 31"/>
                  <a:gd name="T48" fmla="*/ 18 w 74"/>
                  <a:gd name="T49" fmla="*/ 0 h 31"/>
                  <a:gd name="T50" fmla="*/ 14 w 74"/>
                  <a:gd name="T51" fmla="*/ 0 h 31"/>
                  <a:gd name="T52" fmla="*/ 10 w 74"/>
                  <a:gd name="T53" fmla="*/ 0 h 31"/>
                  <a:gd name="T54" fmla="*/ 6 w 74"/>
                  <a:gd name="T55" fmla="*/ 3 h 31"/>
                  <a:gd name="T56" fmla="*/ 0 w 74"/>
                  <a:gd name="T57" fmla="*/ 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1" name="Freeform 156">
                <a:extLst>
                  <a:ext uri="{FF2B5EF4-FFF2-40B4-BE49-F238E27FC236}">
                    <a16:creationId xmlns:a16="http://schemas.microsoft.com/office/drawing/2014/main" id="{D92F4599-AB9D-4A88-91D1-C72E35B1C1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20 w 20"/>
                  <a:gd name="T1" fmla="*/ 0 w 20"/>
                  <a:gd name="T2" fmla="*/ 10 w 20"/>
                  <a:gd name="T3" fmla="*/ 2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2" name="Freeform 157">
                <a:extLst>
                  <a:ext uri="{FF2B5EF4-FFF2-40B4-BE49-F238E27FC236}">
                    <a16:creationId xmlns:a16="http://schemas.microsoft.com/office/drawing/2014/main" id="{CB659421-2638-4D02-BA28-CE343AE533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7 w 100"/>
                  <a:gd name="T1" fmla="*/ 25 h 65"/>
                  <a:gd name="T2" fmla="*/ 35 w 100"/>
                  <a:gd name="T3" fmla="*/ 40 h 65"/>
                  <a:gd name="T4" fmla="*/ 61 w 100"/>
                  <a:gd name="T5" fmla="*/ 55 h 65"/>
                  <a:gd name="T6" fmla="*/ 72 w 100"/>
                  <a:gd name="T7" fmla="*/ 60 h 65"/>
                  <a:gd name="T8" fmla="*/ 83 w 100"/>
                  <a:gd name="T9" fmla="*/ 65 h 65"/>
                  <a:gd name="T10" fmla="*/ 87 w 100"/>
                  <a:gd name="T11" fmla="*/ 65 h 65"/>
                  <a:gd name="T12" fmla="*/ 91 w 100"/>
                  <a:gd name="T13" fmla="*/ 65 h 65"/>
                  <a:gd name="T14" fmla="*/ 96 w 100"/>
                  <a:gd name="T15" fmla="*/ 65 h 65"/>
                  <a:gd name="T16" fmla="*/ 100 w 100"/>
                  <a:gd name="T17" fmla="*/ 62 h 65"/>
                  <a:gd name="T18" fmla="*/ 94 w 100"/>
                  <a:gd name="T19" fmla="*/ 60 h 65"/>
                  <a:gd name="T20" fmla="*/ 88 w 100"/>
                  <a:gd name="T21" fmla="*/ 56 h 65"/>
                  <a:gd name="T22" fmla="*/ 83 w 100"/>
                  <a:gd name="T23" fmla="*/ 52 h 65"/>
                  <a:gd name="T24" fmla="*/ 78 w 100"/>
                  <a:gd name="T25" fmla="*/ 46 h 65"/>
                  <a:gd name="T26" fmla="*/ 67 w 100"/>
                  <a:gd name="T27" fmla="*/ 34 h 65"/>
                  <a:gd name="T28" fmla="*/ 57 w 100"/>
                  <a:gd name="T29" fmla="*/ 21 h 65"/>
                  <a:gd name="T30" fmla="*/ 52 w 100"/>
                  <a:gd name="T31" fmla="*/ 15 h 65"/>
                  <a:gd name="T32" fmla="*/ 46 w 100"/>
                  <a:gd name="T33" fmla="*/ 10 h 65"/>
                  <a:gd name="T34" fmla="*/ 40 w 100"/>
                  <a:gd name="T35" fmla="*/ 4 h 65"/>
                  <a:gd name="T36" fmla="*/ 33 w 100"/>
                  <a:gd name="T37" fmla="*/ 1 h 65"/>
                  <a:gd name="T38" fmla="*/ 27 w 100"/>
                  <a:gd name="T39" fmla="*/ 0 h 65"/>
                  <a:gd name="T40" fmla="*/ 18 w 100"/>
                  <a:gd name="T41" fmla="*/ 0 h 65"/>
                  <a:gd name="T42" fmla="*/ 10 w 100"/>
                  <a:gd name="T43" fmla="*/ 2 h 65"/>
                  <a:gd name="T44" fmla="*/ 0 w 100"/>
                  <a:gd name="T45" fmla="*/ 6 h 65"/>
                  <a:gd name="T46" fmla="*/ 7 w 100"/>
                  <a:gd name="T47" fmla="*/ 2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93" name="Freeform 158">
                <a:extLst>
                  <a:ext uri="{FF2B5EF4-FFF2-40B4-BE49-F238E27FC236}">
                    <a16:creationId xmlns:a16="http://schemas.microsoft.com/office/drawing/2014/main" id="{F5CC0873-F855-4054-BB48-83E5EA0EE3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72 w 79"/>
                  <a:gd name="T1" fmla="*/ 85 h 104"/>
                  <a:gd name="T2" fmla="*/ 56 w 79"/>
                  <a:gd name="T3" fmla="*/ 61 h 104"/>
                  <a:gd name="T4" fmla="*/ 43 w 79"/>
                  <a:gd name="T5" fmla="*/ 41 h 104"/>
                  <a:gd name="T6" fmla="*/ 29 w 79"/>
                  <a:gd name="T7" fmla="*/ 20 h 104"/>
                  <a:gd name="T8" fmla="*/ 12 w 79"/>
                  <a:gd name="T9" fmla="*/ 0 h 104"/>
                  <a:gd name="T10" fmla="*/ 6 w 79"/>
                  <a:gd name="T11" fmla="*/ 16 h 104"/>
                  <a:gd name="T12" fmla="*/ 2 w 79"/>
                  <a:gd name="T13" fmla="*/ 33 h 104"/>
                  <a:gd name="T14" fmla="*/ 0 w 79"/>
                  <a:gd name="T15" fmla="*/ 40 h 104"/>
                  <a:gd name="T16" fmla="*/ 0 w 79"/>
                  <a:gd name="T17" fmla="*/ 48 h 104"/>
                  <a:gd name="T18" fmla="*/ 0 w 79"/>
                  <a:gd name="T19" fmla="*/ 55 h 104"/>
                  <a:gd name="T20" fmla="*/ 0 w 79"/>
                  <a:gd name="T21" fmla="*/ 62 h 104"/>
                  <a:gd name="T22" fmla="*/ 1 w 79"/>
                  <a:gd name="T23" fmla="*/ 68 h 104"/>
                  <a:gd name="T24" fmla="*/ 3 w 79"/>
                  <a:gd name="T25" fmla="*/ 74 h 104"/>
                  <a:gd name="T26" fmla="*/ 6 w 79"/>
                  <a:gd name="T27" fmla="*/ 79 h 104"/>
                  <a:gd name="T28" fmla="*/ 10 w 79"/>
                  <a:gd name="T29" fmla="*/ 83 h 104"/>
                  <a:gd name="T30" fmla="*/ 14 w 79"/>
                  <a:gd name="T31" fmla="*/ 88 h 104"/>
                  <a:gd name="T32" fmla="*/ 20 w 79"/>
                  <a:gd name="T33" fmla="*/ 90 h 104"/>
                  <a:gd name="T34" fmla="*/ 25 w 79"/>
                  <a:gd name="T35" fmla="*/ 92 h 104"/>
                  <a:gd name="T36" fmla="*/ 33 w 79"/>
                  <a:gd name="T37" fmla="*/ 92 h 104"/>
                  <a:gd name="T38" fmla="*/ 43 w 79"/>
                  <a:gd name="T39" fmla="*/ 93 h 104"/>
                  <a:gd name="T40" fmla="*/ 54 w 79"/>
                  <a:gd name="T41" fmla="*/ 96 h 104"/>
                  <a:gd name="T42" fmla="*/ 65 w 79"/>
                  <a:gd name="T43" fmla="*/ 100 h 104"/>
                  <a:gd name="T44" fmla="*/ 79 w 79"/>
                  <a:gd name="T45" fmla="*/ 104 h 104"/>
                  <a:gd name="T46" fmla="*/ 72 w 79"/>
                  <a:gd name="T47" fmla="*/ 85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93" name="Freeform 159">
              <a:extLst>
                <a:ext uri="{FF2B5EF4-FFF2-40B4-BE49-F238E27FC236}">
                  <a16:creationId xmlns:a16="http://schemas.microsoft.com/office/drawing/2014/main" id="{43BA40F9-024C-4479-BF88-DF7FD00A8286}"/>
                </a:ext>
              </a:extLst>
            </p:cNvPr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5740401" y="3548063"/>
              <a:ext cx="11113" cy="55562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4" name="Freeform 160">
              <a:extLst>
                <a:ext uri="{FF2B5EF4-FFF2-40B4-BE49-F238E27FC236}">
                  <a16:creationId xmlns:a16="http://schemas.microsoft.com/office/drawing/2014/main" id="{17764E8E-5056-4695-B025-4E22FBDF7B49}"/>
                </a:ext>
              </a:extLst>
            </p:cNvPr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5664200" y="3687763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39 w 39"/>
                <a:gd name="T3" fmla="*/ 0 h 35"/>
                <a:gd name="T4" fmla="*/ 36 w 39"/>
                <a:gd name="T5" fmla="*/ 9 h 35"/>
                <a:gd name="T6" fmla="*/ 33 w 39"/>
                <a:gd name="T7" fmla="*/ 19 h 35"/>
                <a:gd name="T8" fmla="*/ 27 w 39"/>
                <a:gd name="T9" fmla="*/ 28 h 35"/>
                <a:gd name="T10" fmla="*/ 22 w 39"/>
                <a:gd name="T11" fmla="*/ 34 h 35"/>
                <a:gd name="T12" fmla="*/ 19 w 39"/>
                <a:gd name="T13" fmla="*/ 35 h 35"/>
                <a:gd name="T14" fmla="*/ 16 w 39"/>
                <a:gd name="T15" fmla="*/ 35 h 35"/>
                <a:gd name="T16" fmla="*/ 13 w 39"/>
                <a:gd name="T17" fmla="*/ 34 h 35"/>
                <a:gd name="T18" fmla="*/ 11 w 39"/>
                <a:gd name="T19" fmla="*/ 31 h 35"/>
                <a:gd name="T20" fmla="*/ 7 w 39"/>
                <a:gd name="T21" fmla="*/ 26 h 35"/>
                <a:gd name="T22" fmla="*/ 5 w 39"/>
                <a:gd name="T23" fmla="*/ 20 h 35"/>
                <a:gd name="T24" fmla="*/ 2 w 39"/>
                <a:gd name="T25" fmla="*/ 11 h 35"/>
                <a:gd name="T26" fmla="*/ 0 w 39"/>
                <a:gd name="T2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5" name="Freeform 161">
              <a:extLst>
                <a:ext uri="{FF2B5EF4-FFF2-40B4-BE49-F238E27FC236}">
                  <a16:creationId xmlns:a16="http://schemas.microsoft.com/office/drawing/2014/main" id="{B894666E-5E63-4169-B994-D93D20FC69C9}"/>
                </a:ext>
              </a:extLst>
            </p:cNvPr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7462838" y="2014539"/>
              <a:ext cx="728662" cy="331787"/>
            </a:xfrm>
            <a:custGeom>
              <a:avLst/>
              <a:gdLst>
                <a:gd name="T0" fmla="*/ 32 w 1688"/>
                <a:gd name="T1" fmla="*/ 216 h 630"/>
                <a:gd name="T2" fmla="*/ 86 w 1688"/>
                <a:gd name="T3" fmla="*/ 249 h 630"/>
                <a:gd name="T4" fmla="*/ 155 w 1688"/>
                <a:gd name="T5" fmla="*/ 264 h 630"/>
                <a:gd name="T6" fmla="*/ 191 w 1688"/>
                <a:gd name="T7" fmla="*/ 281 h 630"/>
                <a:gd name="T8" fmla="*/ 238 w 1688"/>
                <a:gd name="T9" fmla="*/ 331 h 630"/>
                <a:gd name="T10" fmla="*/ 253 w 1688"/>
                <a:gd name="T11" fmla="*/ 349 h 630"/>
                <a:gd name="T12" fmla="*/ 254 w 1688"/>
                <a:gd name="T13" fmla="*/ 386 h 630"/>
                <a:gd name="T14" fmla="*/ 273 w 1688"/>
                <a:gd name="T15" fmla="*/ 408 h 630"/>
                <a:gd name="T16" fmla="*/ 341 w 1688"/>
                <a:gd name="T17" fmla="*/ 416 h 630"/>
                <a:gd name="T18" fmla="*/ 463 w 1688"/>
                <a:gd name="T19" fmla="*/ 452 h 630"/>
                <a:gd name="T20" fmla="*/ 546 w 1688"/>
                <a:gd name="T21" fmla="*/ 469 h 630"/>
                <a:gd name="T22" fmla="*/ 575 w 1688"/>
                <a:gd name="T23" fmla="*/ 510 h 630"/>
                <a:gd name="T24" fmla="*/ 622 w 1688"/>
                <a:gd name="T25" fmla="*/ 542 h 630"/>
                <a:gd name="T26" fmla="*/ 670 w 1688"/>
                <a:gd name="T27" fmla="*/ 555 h 630"/>
                <a:gd name="T28" fmla="*/ 917 w 1688"/>
                <a:gd name="T29" fmla="*/ 576 h 630"/>
                <a:gd name="T30" fmla="*/ 1037 w 1688"/>
                <a:gd name="T31" fmla="*/ 614 h 630"/>
                <a:gd name="T32" fmla="*/ 1117 w 1688"/>
                <a:gd name="T33" fmla="*/ 630 h 630"/>
                <a:gd name="T34" fmla="*/ 1157 w 1688"/>
                <a:gd name="T35" fmla="*/ 613 h 630"/>
                <a:gd name="T36" fmla="*/ 1344 w 1688"/>
                <a:gd name="T37" fmla="*/ 564 h 630"/>
                <a:gd name="T38" fmla="*/ 1395 w 1688"/>
                <a:gd name="T39" fmla="*/ 510 h 630"/>
                <a:gd name="T40" fmla="*/ 1403 w 1688"/>
                <a:gd name="T41" fmla="*/ 483 h 630"/>
                <a:gd name="T42" fmla="*/ 1386 w 1688"/>
                <a:gd name="T43" fmla="*/ 455 h 630"/>
                <a:gd name="T44" fmla="*/ 1370 w 1688"/>
                <a:gd name="T45" fmla="*/ 415 h 630"/>
                <a:gd name="T46" fmla="*/ 1499 w 1688"/>
                <a:gd name="T47" fmla="*/ 394 h 630"/>
                <a:gd name="T48" fmla="*/ 1594 w 1688"/>
                <a:gd name="T49" fmla="*/ 343 h 630"/>
                <a:gd name="T50" fmla="*/ 1651 w 1688"/>
                <a:gd name="T51" fmla="*/ 325 h 630"/>
                <a:gd name="T52" fmla="*/ 1688 w 1688"/>
                <a:gd name="T53" fmla="*/ 297 h 630"/>
                <a:gd name="T54" fmla="*/ 1656 w 1688"/>
                <a:gd name="T55" fmla="*/ 279 h 630"/>
                <a:gd name="T56" fmla="*/ 1619 w 1688"/>
                <a:gd name="T57" fmla="*/ 252 h 630"/>
                <a:gd name="T58" fmla="*/ 1583 w 1688"/>
                <a:gd name="T59" fmla="*/ 248 h 630"/>
                <a:gd name="T60" fmla="*/ 1553 w 1688"/>
                <a:gd name="T61" fmla="*/ 258 h 630"/>
                <a:gd name="T62" fmla="*/ 1497 w 1688"/>
                <a:gd name="T63" fmla="*/ 256 h 630"/>
                <a:gd name="T64" fmla="*/ 1457 w 1688"/>
                <a:gd name="T65" fmla="*/ 235 h 630"/>
                <a:gd name="T66" fmla="*/ 1434 w 1688"/>
                <a:gd name="T67" fmla="*/ 187 h 630"/>
                <a:gd name="T68" fmla="*/ 1367 w 1688"/>
                <a:gd name="T69" fmla="*/ 124 h 630"/>
                <a:gd name="T70" fmla="*/ 1286 w 1688"/>
                <a:gd name="T71" fmla="*/ 120 h 630"/>
                <a:gd name="T72" fmla="*/ 1260 w 1688"/>
                <a:gd name="T73" fmla="*/ 147 h 630"/>
                <a:gd name="T74" fmla="*/ 1236 w 1688"/>
                <a:gd name="T75" fmla="*/ 165 h 630"/>
                <a:gd name="T76" fmla="*/ 1168 w 1688"/>
                <a:gd name="T77" fmla="*/ 167 h 630"/>
                <a:gd name="T78" fmla="*/ 1044 w 1688"/>
                <a:gd name="T79" fmla="*/ 167 h 630"/>
                <a:gd name="T80" fmla="*/ 986 w 1688"/>
                <a:gd name="T81" fmla="*/ 140 h 630"/>
                <a:gd name="T82" fmla="*/ 922 w 1688"/>
                <a:gd name="T83" fmla="*/ 108 h 630"/>
                <a:gd name="T84" fmla="*/ 852 w 1688"/>
                <a:gd name="T85" fmla="*/ 100 h 630"/>
                <a:gd name="T86" fmla="*/ 801 w 1688"/>
                <a:gd name="T87" fmla="*/ 114 h 630"/>
                <a:gd name="T88" fmla="*/ 740 w 1688"/>
                <a:gd name="T89" fmla="*/ 116 h 630"/>
                <a:gd name="T90" fmla="*/ 692 w 1688"/>
                <a:gd name="T91" fmla="*/ 101 h 630"/>
                <a:gd name="T92" fmla="*/ 662 w 1688"/>
                <a:gd name="T93" fmla="*/ 68 h 630"/>
                <a:gd name="T94" fmla="*/ 446 w 1688"/>
                <a:gd name="T95" fmla="*/ 7 h 630"/>
                <a:gd name="T96" fmla="*/ 446 w 1688"/>
                <a:gd name="T97" fmla="*/ 44 h 630"/>
                <a:gd name="T98" fmla="*/ 471 w 1688"/>
                <a:gd name="T99" fmla="*/ 79 h 630"/>
                <a:gd name="T100" fmla="*/ 490 w 1688"/>
                <a:gd name="T101" fmla="*/ 106 h 630"/>
                <a:gd name="T102" fmla="*/ 307 w 1688"/>
                <a:gd name="T103" fmla="*/ 122 h 630"/>
                <a:gd name="T104" fmla="*/ 294 w 1688"/>
                <a:gd name="T105" fmla="*/ 87 h 630"/>
                <a:gd name="T106" fmla="*/ 225 w 1688"/>
                <a:gd name="T107" fmla="*/ 97 h 630"/>
                <a:gd name="T108" fmla="*/ 185 w 1688"/>
                <a:gd name="T109" fmla="*/ 88 h 630"/>
                <a:gd name="T110" fmla="*/ 138 w 1688"/>
                <a:gd name="T111" fmla="*/ 97 h 630"/>
                <a:gd name="T112" fmla="*/ 68 w 1688"/>
                <a:gd name="T113" fmla="*/ 143 h 630"/>
                <a:gd name="T114" fmla="*/ 31 w 1688"/>
                <a:gd name="T115" fmla="*/ 151 h 630"/>
                <a:gd name="T116" fmla="*/ 4 w 1688"/>
                <a:gd name="T117" fmla="*/ 169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Freeform 162">
              <a:extLst>
                <a:ext uri="{FF2B5EF4-FFF2-40B4-BE49-F238E27FC236}">
                  <a16:creationId xmlns:a16="http://schemas.microsoft.com/office/drawing/2014/main" id="{4892CBB8-AFDF-48B0-BEA4-ACA8969C7C9A}"/>
                </a:ext>
              </a:extLst>
            </p:cNvPr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3789363" y="3981451"/>
              <a:ext cx="328612" cy="415925"/>
            </a:xfrm>
            <a:custGeom>
              <a:avLst/>
              <a:gdLst>
                <a:gd name="T0" fmla="*/ 26 w 758"/>
                <a:gd name="T1" fmla="*/ 80 h 795"/>
                <a:gd name="T2" fmla="*/ 49 w 758"/>
                <a:gd name="T3" fmla="*/ 88 h 795"/>
                <a:gd name="T4" fmla="*/ 72 w 758"/>
                <a:gd name="T5" fmla="*/ 108 h 795"/>
                <a:gd name="T6" fmla="*/ 88 w 758"/>
                <a:gd name="T7" fmla="*/ 134 h 795"/>
                <a:gd name="T8" fmla="*/ 93 w 758"/>
                <a:gd name="T9" fmla="*/ 169 h 795"/>
                <a:gd name="T10" fmla="*/ 84 w 758"/>
                <a:gd name="T11" fmla="*/ 186 h 795"/>
                <a:gd name="T12" fmla="*/ 81 w 758"/>
                <a:gd name="T13" fmla="*/ 205 h 795"/>
                <a:gd name="T14" fmla="*/ 88 w 758"/>
                <a:gd name="T15" fmla="*/ 240 h 795"/>
                <a:gd name="T16" fmla="*/ 95 w 758"/>
                <a:gd name="T17" fmla="*/ 278 h 795"/>
                <a:gd name="T18" fmla="*/ 83 w 758"/>
                <a:gd name="T19" fmla="*/ 308 h 795"/>
                <a:gd name="T20" fmla="*/ 81 w 758"/>
                <a:gd name="T21" fmla="*/ 352 h 795"/>
                <a:gd name="T22" fmla="*/ 93 w 758"/>
                <a:gd name="T23" fmla="*/ 390 h 795"/>
                <a:gd name="T24" fmla="*/ 99 w 758"/>
                <a:gd name="T25" fmla="*/ 415 h 795"/>
                <a:gd name="T26" fmla="*/ 78 w 758"/>
                <a:gd name="T27" fmla="*/ 457 h 795"/>
                <a:gd name="T28" fmla="*/ 113 w 758"/>
                <a:gd name="T29" fmla="*/ 529 h 795"/>
                <a:gd name="T30" fmla="*/ 138 w 758"/>
                <a:gd name="T31" fmla="*/ 577 h 795"/>
                <a:gd name="T32" fmla="*/ 146 w 758"/>
                <a:gd name="T33" fmla="*/ 622 h 795"/>
                <a:gd name="T34" fmla="*/ 152 w 758"/>
                <a:gd name="T35" fmla="*/ 659 h 795"/>
                <a:gd name="T36" fmla="*/ 187 w 758"/>
                <a:gd name="T37" fmla="*/ 738 h 795"/>
                <a:gd name="T38" fmla="*/ 214 w 758"/>
                <a:gd name="T39" fmla="*/ 782 h 795"/>
                <a:gd name="T40" fmla="*/ 230 w 758"/>
                <a:gd name="T41" fmla="*/ 794 h 795"/>
                <a:gd name="T42" fmla="*/ 251 w 758"/>
                <a:gd name="T43" fmla="*/ 790 h 795"/>
                <a:gd name="T44" fmla="*/ 289 w 758"/>
                <a:gd name="T45" fmla="*/ 761 h 795"/>
                <a:gd name="T46" fmla="*/ 324 w 758"/>
                <a:gd name="T47" fmla="*/ 746 h 795"/>
                <a:gd name="T48" fmla="*/ 355 w 758"/>
                <a:gd name="T49" fmla="*/ 748 h 795"/>
                <a:gd name="T50" fmla="*/ 388 w 758"/>
                <a:gd name="T51" fmla="*/ 770 h 795"/>
                <a:gd name="T52" fmla="*/ 418 w 758"/>
                <a:gd name="T53" fmla="*/ 780 h 795"/>
                <a:gd name="T54" fmla="*/ 437 w 758"/>
                <a:gd name="T55" fmla="*/ 758 h 795"/>
                <a:gd name="T56" fmla="*/ 478 w 758"/>
                <a:gd name="T57" fmla="*/ 745 h 795"/>
                <a:gd name="T58" fmla="*/ 525 w 758"/>
                <a:gd name="T59" fmla="*/ 622 h 795"/>
                <a:gd name="T60" fmla="*/ 539 w 758"/>
                <a:gd name="T61" fmla="*/ 600 h 795"/>
                <a:gd name="T62" fmla="*/ 575 w 758"/>
                <a:gd name="T63" fmla="*/ 584 h 795"/>
                <a:gd name="T64" fmla="*/ 665 w 758"/>
                <a:gd name="T65" fmla="*/ 573 h 795"/>
                <a:gd name="T66" fmla="*/ 687 w 758"/>
                <a:gd name="T67" fmla="*/ 579 h 795"/>
                <a:gd name="T68" fmla="*/ 704 w 758"/>
                <a:gd name="T69" fmla="*/ 585 h 795"/>
                <a:gd name="T70" fmla="*/ 744 w 758"/>
                <a:gd name="T71" fmla="*/ 573 h 795"/>
                <a:gd name="T72" fmla="*/ 757 w 758"/>
                <a:gd name="T73" fmla="*/ 541 h 795"/>
                <a:gd name="T74" fmla="*/ 752 w 758"/>
                <a:gd name="T75" fmla="*/ 499 h 795"/>
                <a:gd name="T76" fmla="*/ 726 w 758"/>
                <a:gd name="T77" fmla="*/ 462 h 795"/>
                <a:gd name="T78" fmla="*/ 710 w 758"/>
                <a:gd name="T79" fmla="*/ 435 h 795"/>
                <a:gd name="T80" fmla="*/ 671 w 758"/>
                <a:gd name="T81" fmla="*/ 401 h 795"/>
                <a:gd name="T82" fmla="*/ 633 w 758"/>
                <a:gd name="T83" fmla="*/ 399 h 795"/>
                <a:gd name="T84" fmla="*/ 605 w 758"/>
                <a:gd name="T85" fmla="*/ 378 h 795"/>
                <a:gd name="T86" fmla="*/ 590 w 758"/>
                <a:gd name="T87" fmla="*/ 349 h 795"/>
                <a:gd name="T88" fmla="*/ 585 w 758"/>
                <a:gd name="T89" fmla="*/ 311 h 795"/>
                <a:gd name="T90" fmla="*/ 583 w 758"/>
                <a:gd name="T91" fmla="*/ 269 h 795"/>
                <a:gd name="T92" fmla="*/ 560 w 758"/>
                <a:gd name="T93" fmla="*/ 242 h 795"/>
                <a:gd name="T94" fmla="*/ 503 w 758"/>
                <a:gd name="T95" fmla="*/ 205 h 795"/>
                <a:gd name="T96" fmla="*/ 440 w 758"/>
                <a:gd name="T97" fmla="*/ 178 h 795"/>
                <a:gd name="T98" fmla="*/ 392 w 758"/>
                <a:gd name="T99" fmla="*/ 167 h 795"/>
                <a:gd name="T100" fmla="*/ 359 w 758"/>
                <a:gd name="T101" fmla="*/ 161 h 795"/>
                <a:gd name="T102" fmla="*/ 330 w 758"/>
                <a:gd name="T103" fmla="*/ 145 h 795"/>
                <a:gd name="T104" fmla="*/ 307 w 758"/>
                <a:gd name="T105" fmla="*/ 122 h 795"/>
                <a:gd name="T106" fmla="*/ 292 w 758"/>
                <a:gd name="T107" fmla="*/ 92 h 795"/>
                <a:gd name="T108" fmla="*/ 279 w 758"/>
                <a:gd name="T109" fmla="*/ 19 h 795"/>
                <a:gd name="T110" fmla="*/ 261 w 758"/>
                <a:gd name="T111" fmla="*/ 3 h 795"/>
                <a:gd name="T112" fmla="*/ 227 w 758"/>
                <a:gd name="T113" fmla="*/ 3 h 795"/>
                <a:gd name="T114" fmla="*/ 173 w 758"/>
                <a:gd name="T115" fmla="*/ 30 h 795"/>
                <a:gd name="T116" fmla="*/ 119 w 758"/>
                <a:gd name="T117" fmla="*/ 66 h 795"/>
                <a:gd name="T118" fmla="*/ 0 w 758"/>
                <a:gd name="T119" fmla="*/ 8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Freeform 163">
              <a:extLst>
                <a:ext uri="{FF2B5EF4-FFF2-40B4-BE49-F238E27FC236}">
                  <a16:creationId xmlns:a16="http://schemas.microsoft.com/office/drawing/2014/main" id="{A02A0B96-9B68-4163-849F-CCF154958780}"/>
                </a:ext>
              </a:extLst>
            </p:cNvPr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4003676" y="3411538"/>
              <a:ext cx="119063" cy="215900"/>
            </a:xfrm>
            <a:custGeom>
              <a:avLst/>
              <a:gdLst>
                <a:gd name="T0" fmla="*/ 225 w 273"/>
                <a:gd name="T1" fmla="*/ 140 h 414"/>
                <a:gd name="T2" fmla="*/ 213 w 273"/>
                <a:gd name="T3" fmla="*/ 133 h 414"/>
                <a:gd name="T4" fmla="*/ 201 w 273"/>
                <a:gd name="T5" fmla="*/ 121 h 414"/>
                <a:gd name="T6" fmla="*/ 190 w 273"/>
                <a:gd name="T7" fmla="*/ 105 h 414"/>
                <a:gd name="T8" fmla="*/ 183 w 273"/>
                <a:gd name="T9" fmla="*/ 96 h 414"/>
                <a:gd name="T10" fmla="*/ 176 w 273"/>
                <a:gd name="T11" fmla="*/ 93 h 414"/>
                <a:gd name="T12" fmla="*/ 167 w 273"/>
                <a:gd name="T13" fmla="*/ 94 h 414"/>
                <a:gd name="T14" fmla="*/ 161 w 273"/>
                <a:gd name="T15" fmla="*/ 101 h 414"/>
                <a:gd name="T16" fmla="*/ 153 w 273"/>
                <a:gd name="T17" fmla="*/ 86 h 414"/>
                <a:gd name="T18" fmla="*/ 142 w 273"/>
                <a:gd name="T19" fmla="*/ 54 h 414"/>
                <a:gd name="T20" fmla="*/ 132 w 273"/>
                <a:gd name="T21" fmla="*/ 36 h 414"/>
                <a:gd name="T22" fmla="*/ 123 w 273"/>
                <a:gd name="T23" fmla="*/ 25 h 414"/>
                <a:gd name="T24" fmla="*/ 111 w 273"/>
                <a:gd name="T25" fmla="*/ 14 h 414"/>
                <a:gd name="T26" fmla="*/ 96 w 273"/>
                <a:gd name="T27" fmla="*/ 5 h 414"/>
                <a:gd name="T28" fmla="*/ 80 w 273"/>
                <a:gd name="T29" fmla="*/ 7 h 414"/>
                <a:gd name="T30" fmla="*/ 69 w 273"/>
                <a:gd name="T31" fmla="*/ 19 h 414"/>
                <a:gd name="T32" fmla="*/ 63 w 273"/>
                <a:gd name="T33" fmla="*/ 25 h 414"/>
                <a:gd name="T34" fmla="*/ 57 w 273"/>
                <a:gd name="T35" fmla="*/ 32 h 414"/>
                <a:gd name="T36" fmla="*/ 56 w 273"/>
                <a:gd name="T37" fmla="*/ 42 h 414"/>
                <a:gd name="T38" fmla="*/ 58 w 273"/>
                <a:gd name="T39" fmla="*/ 59 h 414"/>
                <a:gd name="T40" fmla="*/ 52 w 273"/>
                <a:gd name="T41" fmla="*/ 78 h 414"/>
                <a:gd name="T42" fmla="*/ 33 w 273"/>
                <a:gd name="T43" fmla="*/ 90 h 414"/>
                <a:gd name="T44" fmla="*/ 17 w 273"/>
                <a:gd name="T45" fmla="*/ 104 h 414"/>
                <a:gd name="T46" fmla="*/ 4 w 273"/>
                <a:gd name="T47" fmla="*/ 118 h 414"/>
                <a:gd name="T48" fmla="*/ 40 w 273"/>
                <a:gd name="T49" fmla="*/ 198 h 414"/>
                <a:gd name="T50" fmla="*/ 73 w 273"/>
                <a:gd name="T51" fmla="*/ 205 h 414"/>
                <a:gd name="T52" fmla="*/ 84 w 273"/>
                <a:gd name="T53" fmla="*/ 210 h 414"/>
                <a:gd name="T54" fmla="*/ 93 w 273"/>
                <a:gd name="T55" fmla="*/ 218 h 414"/>
                <a:gd name="T56" fmla="*/ 99 w 273"/>
                <a:gd name="T57" fmla="*/ 226 h 414"/>
                <a:gd name="T58" fmla="*/ 103 w 273"/>
                <a:gd name="T59" fmla="*/ 237 h 414"/>
                <a:gd name="T60" fmla="*/ 106 w 273"/>
                <a:gd name="T61" fmla="*/ 265 h 414"/>
                <a:gd name="T62" fmla="*/ 103 w 273"/>
                <a:gd name="T63" fmla="*/ 279 h 414"/>
                <a:gd name="T64" fmla="*/ 96 w 273"/>
                <a:gd name="T65" fmla="*/ 293 h 414"/>
                <a:gd name="T66" fmla="*/ 89 w 273"/>
                <a:gd name="T67" fmla="*/ 307 h 414"/>
                <a:gd name="T68" fmla="*/ 86 w 273"/>
                <a:gd name="T69" fmla="*/ 321 h 414"/>
                <a:gd name="T70" fmla="*/ 91 w 273"/>
                <a:gd name="T71" fmla="*/ 343 h 414"/>
                <a:gd name="T72" fmla="*/ 107 w 273"/>
                <a:gd name="T73" fmla="*/ 374 h 414"/>
                <a:gd name="T74" fmla="*/ 117 w 273"/>
                <a:gd name="T75" fmla="*/ 389 h 414"/>
                <a:gd name="T76" fmla="*/ 129 w 273"/>
                <a:gd name="T77" fmla="*/ 401 h 414"/>
                <a:gd name="T78" fmla="*/ 141 w 273"/>
                <a:gd name="T79" fmla="*/ 411 h 414"/>
                <a:gd name="T80" fmla="*/ 153 w 273"/>
                <a:gd name="T81" fmla="*/ 414 h 414"/>
                <a:gd name="T82" fmla="*/ 215 w 273"/>
                <a:gd name="T83" fmla="*/ 398 h 414"/>
                <a:gd name="T84" fmla="*/ 255 w 273"/>
                <a:gd name="T85" fmla="*/ 385 h 414"/>
                <a:gd name="T86" fmla="*/ 267 w 273"/>
                <a:gd name="T87" fmla="*/ 377 h 414"/>
                <a:gd name="T88" fmla="*/ 273 w 273"/>
                <a:gd name="T89" fmla="*/ 370 h 414"/>
                <a:gd name="T90" fmla="*/ 269 w 273"/>
                <a:gd name="T91" fmla="*/ 352 h 414"/>
                <a:gd name="T92" fmla="*/ 263 w 273"/>
                <a:gd name="T93" fmla="*/ 335 h 414"/>
                <a:gd name="T94" fmla="*/ 242 w 273"/>
                <a:gd name="T95" fmla="*/ 309 h 414"/>
                <a:gd name="T96" fmla="*/ 222 w 273"/>
                <a:gd name="T97" fmla="*/ 282 h 414"/>
                <a:gd name="T98" fmla="*/ 215 w 273"/>
                <a:gd name="T99" fmla="*/ 266 h 414"/>
                <a:gd name="T100" fmla="*/ 212 w 273"/>
                <a:gd name="T101" fmla="*/ 247 h 414"/>
                <a:gd name="T102" fmla="*/ 215 w 273"/>
                <a:gd name="T103" fmla="*/ 215 h 414"/>
                <a:gd name="T104" fmla="*/ 222 w 273"/>
                <a:gd name="T105" fmla="*/ 190 h 414"/>
                <a:gd name="T106" fmla="*/ 230 w 273"/>
                <a:gd name="T107" fmla="*/ 167 h 414"/>
                <a:gd name="T108" fmla="*/ 232 w 273"/>
                <a:gd name="T109" fmla="*/ 142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grpSp>
          <p:nvGrpSpPr>
            <p:cNvPr id="98" name="Group 164">
              <a:extLst>
                <a:ext uri="{FF2B5EF4-FFF2-40B4-BE49-F238E27FC236}">
                  <a16:creationId xmlns:a16="http://schemas.microsoft.com/office/drawing/2014/main" id="{02A2FBF9-FC81-4CFB-B1EE-EBFC1DCE0248}"/>
                </a:ext>
              </a:extLst>
            </p:cNvPr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3717925" y="3246439"/>
              <a:ext cx="323850" cy="401637"/>
              <a:chOff x="1486" y="2412"/>
              <a:chExt cx="244" cy="256"/>
            </a:xfrm>
          </p:grpSpPr>
          <p:sp>
            <p:nvSpPr>
              <p:cNvPr id="481" name="Freeform 165">
                <a:extLst>
                  <a:ext uri="{FF2B5EF4-FFF2-40B4-BE49-F238E27FC236}">
                    <a16:creationId xmlns:a16="http://schemas.microsoft.com/office/drawing/2014/main" id="{F4D78C4E-F143-4C11-979C-668453CF93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18 h 22"/>
                  <a:gd name="T4" fmla="*/ 6 w 54"/>
                  <a:gd name="T5" fmla="*/ 20 h 22"/>
                  <a:gd name="T6" fmla="*/ 10 w 54"/>
                  <a:gd name="T7" fmla="*/ 21 h 22"/>
                  <a:gd name="T8" fmla="*/ 14 w 54"/>
                  <a:gd name="T9" fmla="*/ 22 h 22"/>
                  <a:gd name="T10" fmla="*/ 20 w 54"/>
                  <a:gd name="T11" fmla="*/ 22 h 22"/>
                  <a:gd name="T12" fmla="*/ 23 w 54"/>
                  <a:gd name="T13" fmla="*/ 22 h 22"/>
                  <a:gd name="T14" fmla="*/ 27 w 54"/>
                  <a:gd name="T15" fmla="*/ 21 h 22"/>
                  <a:gd name="T16" fmla="*/ 31 w 54"/>
                  <a:gd name="T17" fmla="*/ 20 h 22"/>
                  <a:gd name="T18" fmla="*/ 33 w 54"/>
                  <a:gd name="T19" fmla="*/ 18 h 22"/>
                  <a:gd name="T20" fmla="*/ 35 w 54"/>
                  <a:gd name="T21" fmla="*/ 16 h 22"/>
                  <a:gd name="T22" fmla="*/ 41 w 54"/>
                  <a:gd name="T23" fmla="*/ 12 h 22"/>
                  <a:gd name="T24" fmla="*/ 47 w 54"/>
                  <a:gd name="T25" fmla="*/ 8 h 22"/>
                  <a:gd name="T26" fmla="*/ 54 w 54"/>
                  <a:gd name="T27" fmla="*/ 6 h 22"/>
                  <a:gd name="T28" fmla="*/ 36 w 54"/>
                  <a:gd name="T29" fmla="*/ 5 h 22"/>
                  <a:gd name="T30" fmla="*/ 20 w 54"/>
                  <a:gd name="T31" fmla="*/ 3 h 22"/>
                  <a:gd name="T32" fmla="*/ 6 w 54"/>
                  <a:gd name="T33" fmla="*/ 1 h 22"/>
                  <a:gd name="T34" fmla="*/ 0 w 54"/>
                  <a:gd name="T3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2" name="Freeform 166">
                <a:extLst>
                  <a:ext uri="{FF2B5EF4-FFF2-40B4-BE49-F238E27FC236}">
                    <a16:creationId xmlns:a16="http://schemas.microsoft.com/office/drawing/2014/main" id="{9B649533-3CFC-406B-B9C9-707A7476A5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6 w 6"/>
                  <a:gd name="T1" fmla="*/ 24 h 24"/>
                  <a:gd name="T2" fmla="*/ 6 w 6"/>
                  <a:gd name="T3" fmla="*/ 0 h 24"/>
                  <a:gd name="T4" fmla="*/ 4 w 6"/>
                  <a:gd name="T5" fmla="*/ 1 h 24"/>
                  <a:gd name="T6" fmla="*/ 1 w 6"/>
                  <a:gd name="T7" fmla="*/ 3 h 24"/>
                  <a:gd name="T8" fmla="*/ 0 w 6"/>
                  <a:gd name="T9" fmla="*/ 7 h 24"/>
                  <a:gd name="T10" fmla="*/ 0 w 6"/>
                  <a:gd name="T11" fmla="*/ 12 h 24"/>
                  <a:gd name="T12" fmla="*/ 0 w 6"/>
                  <a:gd name="T13" fmla="*/ 16 h 24"/>
                  <a:gd name="T14" fmla="*/ 1 w 6"/>
                  <a:gd name="T15" fmla="*/ 20 h 24"/>
                  <a:gd name="T16" fmla="*/ 4 w 6"/>
                  <a:gd name="T17" fmla="*/ 23 h 24"/>
                  <a:gd name="T18" fmla="*/ 6 w 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3" name="Freeform 167">
                <a:extLst>
                  <a:ext uri="{FF2B5EF4-FFF2-40B4-BE49-F238E27FC236}">
                    <a16:creationId xmlns:a16="http://schemas.microsoft.com/office/drawing/2014/main" id="{142A44C5-3987-46D5-BA85-F4B3261C1B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12 h 12"/>
                  <a:gd name="T2" fmla="*/ 27 w 27"/>
                  <a:gd name="T3" fmla="*/ 12 h 12"/>
                  <a:gd name="T4" fmla="*/ 14 w 27"/>
                  <a:gd name="T5" fmla="*/ 0 h 12"/>
                  <a:gd name="T6" fmla="*/ 0 w 27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4" name="Freeform 168">
                <a:extLst>
                  <a:ext uri="{FF2B5EF4-FFF2-40B4-BE49-F238E27FC236}">
                    <a16:creationId xmlns:a16="http://schemas.microsoft.com/office/drawing/2014/main" id="{8C28EEA3-06EE-497E-92C4-A7E4C42996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9 w 743"/>
                  <a:gd name="T1" fmla="*/ 208 h 672"/>
                  <a:gd name="T2" fmla="*/ 50 w 743"/>
                  <a:gd name="T3" fmla="*/ 266 h 672"/>
                  <a:gd name="T4" fmla="*/ 121 w 743"/>
                  <a:gd name="T5" fmla="*/ 294 h 672"/>
                  <a:gd name="T6" fmla="*/ 166 w 743"/>
                  <a:gd name="T7" fmla="*/ 316 h 672"/>
                  <a:gd name="T8" fmla="*/ 198 w 743"/>
                  <a:gd name="T9" fmla="*/ 346 h 672"/>
                  <a:gd name="T10" fmla="*/ 296 w 743"/>
                  <a:gd name="T11" fmla="*/ 379 h 672"/>
                  <a:gd name="T12" fmla="*/ 286 w 743"/>
                  <a:gd name="T13" fmla="*/ 420 h 672"/>
                  <a:gd name="T14" fmla="*/ 311 w 743"/>
                  <a:gd name="T15" fmla="*/ 513 h 672"/>
                  <a:gd name="T16" fmla="*/ 303 w 743"/>
                  <a:gd name="T17" fmla="*/ 535 h 672"/>
                  <a:gd name="T18" fmla="*/ 302 w 743"/>
                  <a:gd name="T19" fmla="*/ 566 h 672"/>
                  <a:gd name="T20" fmla="*/ 328 w 743"/>
                  <a:gd name="T21" fmla="*/ 617 h 672"/>
                  <a:gd name="T22" fmla="*/ 371 w 743"/>
                  <a:gd name="T23" fmla="*/ 659 h 672"/>
                  <a:gd name="T24" fmla="*/ 415 w 743"/>
                  <a:gd name="T25" fmla="*/ 671 h 672"/>
                  <a:gd name="T26" fmla="*/ 465 w 743"/>
                  <a:gd name="T27" fmla="*/ 653 h 672"/>
                  <a:gd name="T28" fmla="*/ 507 w 743"/>
                  <a:gd name="T29" fmla="*/ 619 h 672"/>
                  <a:gd name="T30" fmla="*/ 524 w 743"/>
                  <a:gd name="T31" fmla="*/ 586 h 672"/>
                  <a:gd name="T32" fmla="*/ 477 w 743"/>
                  <a:gd name="T33" fmla="*/ 469 h 672"/>
                  <a:gd name="T34" fmla="*/ 577 w 743"/>
                  <a:gd name="T35" fmla="*/ 500 h 672"/>
                  <a:gd name="T36" fmla="*/ 600 w 743"/>
                  <a:gd name="T37" fmla="*/ 477 h 672"/>
                  <a:gd name="T38" fmla="*/ 652 w 743"/>
                  <a:gd name="T39" fmla="*/ 445 h 672"/>
                  <a:gd name="T40" fmla="*/ 669 w 743"/>
                  <a:gd name="T41" fmla="*/ 441 h 672"/>
                  <a:gd name="T42" fmla="*/ 685 w 743"/>
                  <a:gd name="T43" fmla="*/ 435 h 672"/>
                  <a:gd name="T44" fmla="*/ 666 w 743"/>
                  <a:gd name="T45" fmla="*/ 327 h 672"/>
                  <a:gd name="T46" fmla="*/ 709 w 743"/>
                  <a:gd name="T47" fmla="*/ 294 h 672"/>
                  <a:gd name="T48" fmla="*/ 714 w 743"/>
                  <a:gd name="T49" fmla="*/ 253 h 672"/>
                  <a:gd name="T50" fmla="*/ 726 w 743"/>
                  <a:gd name="T51" fmla="*/ 235 h 672"/>
                  <a:gd name="T52" fmla="*/ 728 w 743"/>
                  <a:gd name="T53" fmla="*/ 213 h 672"/>
                  <a:gd name="T54" fmla="*/ 700 w 743"/>
                  <a:gd name="T55" fmla="*/ 196 h 672"/>
                  <a:gd name="T56" fmla="*/ 686 w 743"/>
                  <a:gd name="T57" fmla="*/ 168 h 672"/>
                  <a:gd name="T58" fmla="*/ 670 w 743"/>
                  <a:gd name="T59" fmla="*/ 145 h 672"/>
                  <a:gd name="T60" fmla="*/ 639 w 743"/>
                  <a:gd name="T61" fmla="*/ 152 h 672"/>
                  <a:gd name="T62" fmla="*/ 630 w 743"/>
                  <a:gd name="T63" fmla="*/ 134 h 672"/>
                  <a:gd name="T64" fmla="*/ 602 w 743"/>
                  <a:gd name="T65" fmla="*/ 115 h 672"/>
                  <a:gd name="T66" fmla="*/ 584 w 743"/>
                  <a:gd name="T67" fmla="*/ 97 h 672"/>
                  <a:gd name="T68" fmla="*/ 536 w 743"/>
                  <a:gd name="T69" fmla="*/ 75 h 672"/>
                  <a:gd name="T70" fmla="*/ 490 w 743"/>
                  <a:gd name="T71" fmla="*/ 87 h 672"/>
                  <a:gd name="T72" fmla="*/ 472 w 743"/>
                  <a:gd name="T73" fmla="*/ 101 h 672"/>
                  <a:gd name="T74" fmla="*/ 434 w 743"/>
                  <a:gd name="T75" fmla="*/ 116 h 672"/>
                  <a:gd name="T76" fmla="*/ 418 w 743"/>
                  <a:gd name="T77" fmla="*/ 104 h 672"/>
                  <a:gd name="T78" fmla="*/ 393 w 743"/>
                  <a:gd name="T79" fmla="*/ 102 h 672"/>
                  <a:gd name="T80" fmla="*/ 359 w 743"/>
                  <a:gd name="T81" fmla="*/ 83 h 672"/>
                  <a:gd name="T82" fmla="*/ 317 w 743"/>
                  <a:gd name="T83" fmla="*/ 85 h 672"/>
                  <a:gd name="T84" fmla="*/ 291 w 743"/>
                  <a:gd name="T85" fmla="*/ 92 h 672"/>
                  <a:gd name="T86" fmla="*/ 252 w 743"/>
                  <a:gd name="T87" fmla="*/ 93 h 672"/>
                  <a:gd name="T88" fmla="*/ 233 w 743"/>
                  <a:gd name="T89" fmla="*/ 52 h 672"/>
                  <a:gd name="T90" fmla="*/ 179 w 743"/>
                  <a:gd name="T91" fmla="*/ 22 h 672"/>
                  <a:gd name="T92" fmla="*/ 148 w 743"/>
                  <a:gd name="T93" fmla="*/ 10 h 672"/>
                  <a:gd name="T94" fmla="*/ 136 w 743"/>
                  <a:gd name="T95" fmla="*/ 46 h 672"/>
                  <a:gd name="T96" fmla="*/ 119 w 743"/>
                  <a:gd name="T97" fmla="*/ 69 h 672"/>
                  <a:gd name="T98" fmla="*/ 119 w 743"/>
                  <a:gd name="T99" fmla="*/ 137 h 672"/>
                  <a:gd name="T100" fmla="*/ 104 w 743"/>
                  <a:gd name="T101" fmla="*/ 194 h 672"/>
                  <a:gd name="T102" fmla="*/ 87 w 743"/>
                  <a:gd name="T103" fmla="*/ 190 h 672"/>
                  <a:gd name="T104" fmla="*/ 70 w 743"/>
                  <a:gd name="T105" fmla="*/ 184 h 672"/>
                  <a:gd name="T106" fmla="*/ 57 w 743"/>
                  <a:gd name="T107" fmla="*/ 169 h 672"/>
                  <a:gd name="T108" fmla="*/ 52 w 743"/>
                  <a:gd name="T109" fmla="*/ 119 h 672"/>
                  <a:gd name="T110" fmla="*/ 73 w 743"/>
                  <a:gd name="T111" fmla="*/ 61 h 672"/>
                  <a:gd name="T112" fmla="*/ 97 w 743"/>
                  <a:gd name="T113" fmla="*/ 15 h 672"/>
                  <a:gd name="T114" fmla="*/ 52 w 743"/>
                  <a:gd name="T115" fmla="*/ 30 h 672"/>
                  <a:gd name="T116" fmla="*/ 16 w 743"/>
                  <a:gd name="T117" fmla="*/ 70 h 672"/>
                  <a:gd name="T118" fmla="*/ 1 w 743"/>
                  <a:gd name="T119" fmla="*/ 120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99" name="Freeform 169">
              <a:extLst>
                <a:ext uri="{FF2B5EF4-FFF2-40B4-BE49-F238E27FC236}">
                  <a16:creationId xmlns:a16="http://schemas.microsoft.com/office/drawing/2014/main" id="{4CEB9384-FDF2-4908-9E02-42B7F4D8880B}"/>
                </a:ext>
              </a:extLst>
            </p:cNvPr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8739188" y="4786313"/>
              <a:ext cx="31750" cy="11112"/>
            </a:xfrm>
            <a:custGeom>
              <a:avLst/>
              <a:gdLst>
                <a:gd name="T0" fmla="*/ 0 w 79"/>
                <a:gd name="T1" fmla="*/ 23 h 23"/>
                <a:gd name="T2" fmla="*/ 22 w 79"/>
                <a:gd name="T3" fmla="*/ 13 h 23"/>
                <a:gd name="T4" fmla="*/ 45 w 79"/>
                <a:gd name="T5" fmla="*/ 4 h 23"/>
                <a:gd name="T6" fmla="*/ 56 w 79"/>
                <a:gd name="T7" fmla="*/ 1 h 23"/>
                <a:gd name="T8" fmla="*/ 65 w 79"/>
                <a:gd name="T9" fmla="*/ 0 h 23"/>
                <a:gd name="T10" fmla="*/ 69 w 79"/>
                <a:gd name="T11" fmla="*/ 0 h 23"/>
                <a:gd name="T12" fmla="*/ 74 w 79"/>
                <a:gd name="T13" fmla="*/ 1 h 23"/>
                <a:gd name="T14" fmla="*/ 77 w 79"/>
                <a:gd name="T15" fmla="*/ 2 h 23"/>
                <a:gd name="T16" fmla="*/ 79 w 79"/>
                <a:gd name="T17" fmla="*/ 4 h 23"/>
                <a:gd name="T18" fmla="*/ 77 w 79"/>
                <a:gd name="T19" fmla="*/ 8 h 23"/>
                <a:gd name="T20" fmla="*/ 75 w 79"/>
                <a:gd name="T21" fmla="*/ 13 h 23"/>
                <a:gd name="T22" fmla="*/ 72 w 79"/>
                <a:gd name="T23" fmla="*/ 16 h 23"/>
                <a:gd name="T24" fmla="*/ 68 w 79"/>
                <a:gd name="T25" fmla="*/ 19 h 23"/>
                <a:gd name="T26" fmla="*/ 64 w 79"/>
                <a:gd name="T27" fmla="*/ 21 h 23"/>
                <a:gd name="T28" fmla="*/ 59 w 79"/>
                <a:gd name="T29" fmla="*/ 22 h 23"/>
                <a:gd name="T30" fmla="*/ 53 w 79"/>
                <a:gd name="T31" fmla="*/ 23 h 23"/>
                <a:gd name="T32" fmla="*/ 46 w 79"/>
                <a:gd name="T33" fmla="*/ 23 h 23"/>
                <a:gd name="T34" fmla="*/ 37 w 79"/>
                <a:gd name="T35" fmla="*/ 23 h 23"/>
                <a:gd name="T36" fmla="*/ 32 w 79"/>
                <a:gd name="T37" fmla="*/ 21 h 23"/>
                <a:gd name="T38" fmla="*/ 26 w 79"/>
                <a:gd name="T39" fmla="*/ 20 h 23"/>
                <a:gd name="T40" fmla="*/ 23 w 79"/>
                <a:gd name="T41" fmla="*/ 19 h 23"/>
                <a:gd name="T42" fmla="*/ 19 w 79"/>
                <a:gd name="T43" fmla="*/ 18 h 23"/>
                <a:gd name="T44" fmla="*/ 14 w 79"/>
                <a:gd name="T45" fmla="*/ 18 h 23"/>
                <a:gd name="T46" fmla="*/ 9 w 79"/>
                <a:gd name="T47" fmla="*/ 20 h 23"/>
                <a:gd name="T48" fmla="*/ 0 w 79"/>
                <a:gd name="T4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0" name="Freeform 170">
              <a:extLst>
                <a:ext uri="{FF2B5EF4-FFF2-40B4-BE49-F238E27FC236}">
                  <a16:creationId xmlns:a16="http://schemas.microsoft.com/office/drawing/2014/main" id="{5F395EBA-7354-46DF-87EA-7B23A7770F7A}"/>
                </a:ext>
              </a:extLst>
            </p:cNvPr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8855075" y="4919663"/>
              <a:ext cx="1588" cy="4762"/>
            </a:xfrm>
            <a:custGeom>
              <a:avLst/>
              <a:gdLst>
                <a:gd name="T0" fmla="*/ 0 h 6"/>
                <a:gd name="T1" fmla="*/ 6 h 6"/>
                <a:gd name="T2" fmla="*/ 0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1" name="Line 171">
              <a:extLst>
                <a:ext uri="{FF2B5EF4-FFF2-40B4-BE49-F238E27FC236}">
                  <a16:creationId xmlns:a16="http://schemas.microsoft.com/office/drawing/2014/main" id="{4E1902B6-B580-443B-8433-23E84AFB463D}"/>
                </a:ext>
              </a:extLst>
            </p:cNvPr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8945564" y="4918075"/>
              <a:ext cx="158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02" name="Freeform 172">
              <a:extLst>
                <a:ext uri="{FF2B5EF4-FFF2-40B4-BE49-F238E27FC236}">
                  <a16:creationId xmlns:a16="http://schemas.microsoft.com/office/drawing/2014/main" id="{E174F1BC-A570-4863-982B-7F91389D9FBB}"/>
                </a:ext>
              </a:extLst>
            </p:cNvPr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8945564" y="4918076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2 w 5"/>
                <a:gd name="T3" fmla="*/ 1 h 30"/>
                <a:gd name="T4" fmla="*/ 4 w 5"/>
                <a:gd name="T5" fmla="*/ 4 h 30"/>
                <a:gd name="T6" fmla="*/ 5 w 5"/>
                <a:gd name="T7" fmla="*/ 8 h 30"/>
                <a:gd name="T8" fmla="*/ 5 w 5"/>
                <a:gd name="T9" fmla="*/ 13 h 30"/>
                <a:gd name="T10" fmla="*/ 5 w 5"/>
                <a:gd name="T11" fmla="*/ 18 h 30"/>
                <a:gd name="T12" fmla="*/ 4 w 5"/>
                <a:gd name="T13" fmla="*/ 23 h 30"/>
                <a:gd name="T14" fmla="*/ 2 w 5"/>
                <a:gd name="T15" fmla="*/ 27 h 30"/>
                <a:gd name="T16" fmla="*/ 0 w 5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Freeform 173">
              <a:extLst>
                <a:ext uri="{FF2B5EF4-FFF2-40B4-BE49-F238E27FC236}">
                  <a16:creationId xmlns:a16="http://schemas.microsoft.com/office/drawing/2014/main" id="{CEE58CC2-1C91-491E-8D8C-FEB6489CA028}"/>
                </a:ext>
              </a:extLst>
            </p:cNvPr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9244014" y="4387851"/>
              <a:ext cx="22225" cy="28575"/>
            </a:xfrm>
            <a:custGeom>
              <a:avLst/>
              <a:gdLst>
                <a:gd name="T0" fmla="*/ 0 w 53"/>
                <a:gd name="T1" fmla="*/ 12 h 55"/>
                <a:gd name="T2" fmla="*/ 1 w 53"/>
                <a:gd name="T3" fmla="*/ 17 h 55"/>
                <a:gd name="T4" fmla="*/ 5 w 53"/>
                <a:gd name="T5" fmla="*/ 22 h 55"/>
                <a:gd name="T6" fmla="*/ 9 w 53"/>
                <a:gd name="T7" fmla="*/ 27 h 55"/>
                <a:gd name="T8" fmla="*/ 15 w 53"/>
                <a:gd name="T9" fmla="*/ 33 h 55"/>
                <a:gd name="T10" fmla="*/ 26 w 53"/>
                <a:gd name="T11" fmla="*/ 44 h 55"/>
                <a:gd name="T12" fmla="*/ 33 w 53"/>
                <a:gd name="T13" fmla="*/ 55 h 55"/>
                <a:gd name="T14" fmla="*/ 53 w 53"/>
                <a:gd name="T15" fmla="*/ 55 h 55"/>
                <a:gd name="T16" fmla="*/ 40 w 53"/>
                <a:gd name="T17" fmla="*/ 41 h 55"/>
                <a:gd name="T18" fmla="*/ 28 w 53"/>
                <a:gd name="T19" fmla="*/ 29 h 55"/>
                <a:gd name="T20" fmla="*/ 23 w 53"/>
                <a:gd name="T21" fmla="*/ 23 h 55"/>
                <a:gd name="T22" fmla="*/ 19 w 53"/>
                <a:gd name="T23" fmla="*/ 16 h 55"/>
                <a:gd name="T24" fmla="*/ 16 w 53"/>
                <a:gd name="T25" fmla="*/ 8 h 55"/>
                <a:gd name="T26" fmla="*/ 14 w 53"/>
                <a:gd name="T27" fmla="*/ 0 h 55"/>
                <a:gd name="T28" fmla="*/ 7 w 53"/>
                <a:gd name="T29" fmla="*/ 6 h 55"/>
                <a:gd name="T30" fmla="*/ 0 w 53"/>
                <a:gd name="T31" fmla="*/ 1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4" name="Freeform 174">
              <a:extLst>
                <a:ext uri="{FF2B5EF4-FFF2-40B4-BE49-F238E27FC236}">
                  <a16:creationId xmlns:a16="http://schemas.microsoft.com/office/drawing/2014/main" id="{BB5506A3-F62D-43D2-B7E8-AB809D961B3C}"/>
                </a:ext>
              </a:extLst>
            </p:cNvPr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9250364" y="4314825"/>
              <a:ext cx="26987" cy="39688"/>
            </a:xfrm>
            <a:custGeom>
              <a:avLst/>
              <a:gdLst>
                <a:gd name="T0" fmla="*/ 0 w 65"/>
                <a:gd name="T1" fmla="*/ 32 h 75"/>
                <a:gd name="T2" fmla="*/ 9 w 65"/>
                <a:gd name="T3" fmla="*/ 43 h 75"/>
                <a:gd name="T4" fmla="*/ 20 w 65"/>
                <a:gd name="T5" fmla="*/ 55 h 75"/>
                <a:gd name="T6" fmla="*/ 26 w 65"/>
                <a:gd name="T7" fmla="*/ 61 h 75"/>
                <a:gd name="T8" fmla="*/ 32 w 65"/>
                <a:gd name="T9" fmla="*/ 67 h 75"/>
                <a:gd name="T10" fmla="*/ 39 w 65"/>
                <a:gd name="T11" fmla="*/ 71 h 75"/>
                <a:gd name="T12" fmla="*/ 46 w 65"/>
                <a:gd name="T13" fmla="*/ 75 h 75"/>
                <a:gd name="T14" fmla="*/ 51 w 65"/>
                <a:gd name="T15" fmla="*/ 61 h 75"/>
                <a:gd name="T16" fmla="*/ 58 w 65"/>
                <a:gd name="T17" fmla="*/ 48 h 75"/>
                <a:gd name="T18" fmla="*/ 61 w 65"/>
                <a:gd name="T19" fmla="*/ 42 h 75"/>
                <a:gd name="T20" fmla="*/ 63 w 65"/>
                <a:gd name="T21" fmla="*/ 36 h 75"/>
                <a:gd name="T22" fmla="*/ 65 w 65"/>
                <a:gd name="T23" fmla="*/ 31 h 75"/>
                <a:gd name="T24" fmla="*/ 65 w 65"/>
                <a:gd name="T25" fmla="*/ 26 h 75"/>
                <a:gd name="T26" fmla="*/ 65 w 65"/>
                <a:gd name="T27" fmla="*/ 21 h 75"/>
                <a:gd name="T28" fmla="*/ 63 w 65"/>
                <a:gd name="T29" fmla="*/ 18 h 75"/>
                <a:gd name="T30" fmla="*/ 61 w 65"/>
                <a:gd name="T31" fmla="*/ 13 h 75"/>
                <a:gd name="T32" fmla="*/ 58 w 65"/>
                <a:gd name="T33" fmla="*/ 10 h 75"/>
                <a:gd name="T34" fmla="*/ 51 w 65"/>
                <a:gd name="T35" fmla="*/ 5 h 75"/>
                <a:gd name="T36" fmla="*/ 46 w 65"/>
                <a:gd name="T37" fmla="*/ 0 h 75"/>
                <a:gd name="T38" fmla="*/ 34 w 65"/>
                <a:gd name="T39" fmla="*/ 0 h 75"/>
                <a:gd name="T40" fmla="*/ 26 w 65"/>
                <a:gd name="T41" fmla="*/ 0 h 75"/>
                <a:gd name="T42" fmla="*/ 25 w 65"/>
                <a:gd name="T43" fmla="*/ 2 h 75"/>
                <a:gd name="T44" fmla="*/ 24 w 65"/>
                <a:gd name="T45" fmla="*/ 7 h 75"/>
                <a:gd name="T46" fmla="*/ 23 w 65"/>
                <a:gd name="T47" fmla="*/ 9 h 75"/>
                <a:gd name="T48" fmla="*/ 23 w 65"/>
                <a:gd name="T49" fmla="*/ 11 h 75"/>
                <a:gd name="T50" fmla="*/ 24 w 65"/>
                <a:gd name="T51" fmla="*/ 12 h 75"/>
                <a:gd name="T52" fmla="*/ 26 w 65"/>
                <a:gd name="T53" fmla="*/ 1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5" name="Freeform 175">
              <a:extLst>
                <a:ext uri="{FF2B5EF4-FFF2-40B4-BE49-F238E27FC236}">
                  <a16:creationId xmlns:a16="http://schemas.microsoft.com/office/drawing/2014/main" id="{89F469C0-988B-41A0-B724-37842CE854F2}"/>
                </a:ext>
              </a:extLst>
            </p:cNvPr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9226551" y="4291013"/>
              <a:ext cx="17463" cy="30162"/>
            </a:xfrm>
            <a:custGeom>
              <a:avLst/>
              <a:gdLst>
                <a:gd name="T0" fmla="*/ 0 w 40"/>
                <a:gd name="T1" fmla="*/ 62 h 62"/>
                <a:gd name="T2" fmla="*/ 3 w 40"/>
                <a:gd name="T3" fmla="*/ 52 h 62"/>
                <a:gd name="T4" fmla="*/ 7 w 40"/>
                <a:gd name="T5" fmla="*/ 43 h 62"/>
                <a:gd name="T6" fmla="*/ 12 w 40"/>
                <a:gd name="T7" fmla="*/ 33 h 62"/>
                <a:gd name="T8" fmla="*/ 17 w 40"/>
                <a:gd name="T9" fmla="*/ 25 h 62"/>
                <a:gd name="T10" fmla="*/ 23 w 40"/>
                <a:gd name="T11" fmla="*/ 17 h 62"/>
                <a:gd name="T12" fmla="*/ 29 w 40"/>
                <a:gd name="T13" fmla="*/ 9 h 62"/>
                <a:gd name="T14" fmla="*/ 35 w 40"/>
                <a:gd name="T15" fmla="*/ 3 h 62"/>
                <a:gd name="T16" fmla="*/ 40 w 40"/>
                <a:gd name="T1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6" name="Freeform 176">
              <a:extLst>
                <a:ext uri="{FF2B5EF4-FFF2-40B4-BE49-F238E27FC236}">
                  <a16:creationId xmlns:a16="http://schemas.microsoft.com/office/drawing/2014/main" id="{431ED3DB-8C95-4E58-AF7C-095DB4D1DD8F}"/>
                </a:ext>
              </a:extLst>
            </p:cNvPr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9145588" y="4168776"/>
              <a:ext cx="68262" cy="138113"/>
            </a:xfrm>
            <a:custGeom>
              <a:avLst/>
              <a:gdLst>
                <a:gd name="T0" fmla="*/ 159 w 159"/>
                <a:gd name="T1" fmla="*/ 259 h 259"/>
                <a:gd name="T2" fmla="*/ 159 w 159"/>
                <a:gd name="T3" fmla="*/ 251 h 259"/>
                <a:gd name="T4" fmla="*/ 159 w 159"/>
                <a:gd name="T5" fmla="*/ 244 h 259"/>
                <a:gd name="T6" fmla="*/ 159 w 159"/>
                <a:gd name="T7" fmla="*/ 236 h 259"/>
                <a:gd name="T8" fmla="*/ 159 w 159"/>
                <a:gd name="T9" fmla="*/ 228 h 259"/>
                <a:gd name="T10" fmla="*/ 159 w 159"/>
                <a:gd name="T11" fmla="*/ 224 h 259"/>
                <a:gd name="T12" fmla="*/ 158 w 159"/>
                <a:gd name="T13" fmla="*/ 219 h 259"/>
                <a:gd name="T14" fmla="*/ 156 w 159"/>
                <a:gd name="T15" fmla="*/ 215 h 259"/>
                <a:gd name="T16" fmla="*/ 153 w 159"/>
                <a:gd name="T17" fmla="*/ 210 h 259"/>
                <a:gd name="T18" fmla="*/ 145 w 159"/>
                <a:gd name="T19" fmla="*/ 202 h 259"/>
                <a:gd name="T20" fmla="*/ 135 w 159"/>
                <a:gd name="T21" fmla="*/ 195 h 259"/>
                <a:gd name="T22" fmla="*/ 124 w 159"/>
                <a:gd name="T23" fmla="*/ 189 h 259"/>
                <a:gd name="T24" fmla="*/ 112 w 159"/>
                <a:gd name="T25" fmla="*/ 184 h 259"/>
                <a:gd name="T26" fmla="*/ 99 w 159"/>
                <a:gd name="T27" fmla="*/ 180 h 259"/>
                <a:gd name="T28" fmla="*/ 87 w 159"/>
                <a:gd name="T29" fmla="*/ 179 h 259"/>
                <a:gd name="T30" fmla="*/ 85 w 159"/>
                <a:gd name="T31" fmla="*/ 178 h 259"/>
                <a:gd name="T32" fmla="*/ 82 w 159"/>
                <a:gd name="T33" fmla="*/ 177 h 259"/>
                <a:gd name="T34" fmla="*/ 81 w 159"/>
                <a:gd name="T35" fmla="*/ 175 h 259"/>
                <a:gd name="T36" fmla="*/ 80 w 159"/>
                <a:gd name="T37" fmla="*/ 173 h 259"/>
                <a:gd name="T38" fmla="*/ 80 w 159"/>
                <a:gd name="T39" fmla="*/ 167 h 259"/>
                <a:gd name="T40" fmla="*/ 81 w 159"/>
                <a:gd name="T41" fmla="*/ 161 h 259"/>
                <a:gd name="T42" fmla="*/ 85 w 159"/>
                <a:gd name="T43" fmla="*/ 148 h 259"/>
                <a:gd name="T44" fmla="*/ 87 w 159"/>
                <a:gd name="T45" fmla="*/ 142 h 259"/>
                <a:gd name="T46" fmla="*/ 73 w 159"/>
                <a:gd name="T47" fmla="*/ 141 h 259"/>
                <a:gd name="T48" fmla="*/ 59 w 159"/>
                <a:gd name="T49" fmla="*/ 139 h 259"/>
                <a:gd name="T50" fmla="*/ 48 w 159"/>
                <a:gd name="T51" fmla="*/ 135 h 259"/>
                <a:gd name="T52" fmla="*/ 40 w 159"/>
                <a:gd name="T53" fmla="*/ 129 h 259"/>
                <a:gd name="T54" fmla="*/ 31 w 159"/>
                <a:gd name="T55" fmla="*/ 121 h 259"/>
                <a:gd name="T56" fmla="*/ 24 w 159"/>
                <a:gd name="T57" fmla="*/ 113 h 259"/>
                <a:gd name="T58" fmla="*/ 18 w 159"/>
                <a:gd name="T59" fmla="*/ 104 h 259"/>
                <a:gd name="T60" fmla="*/ 13 w 159"/>
                <a:gd name="T61" fmla="*/ 94 h 259"/>
                <a:gd name="T62" fmla="*/ 9 w 159"/>
                <a:gd name="T63" fmla="*/ 84 h 259"/>
                <a:gd name="T64" fmla="*/ 7 w 159"/>
                <a:gd name="T65" fmla="*/ 73 h 259"/>
                <a:gd name="T66" fmla="*/ 5 w 159"/>
                <a:gd name="T67" fmla="*/ 60 h 259"/>
                <a:gd name="T68" fmla="*/ 2 w 159"/>
                <a:gd name="T69" fmla="*/ 48 h 259"/>
                <a:gd name="T70" fmla="*/ 0 w 159"/>
                <a:gd name="T71" fmla="*/ 25 h 259"/>
                <a:gd name="T72" fmla="*/ 0 w 159"/>
                <a:gd name="T73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" name="Line 177">
              <a:extLst>
                <a:ext uri="{FF2B5EF4-FFF2-40B4-BE49-F238E27FC236}">
                  <a16:creationId xmlns:a16="http://schemas.microsoft.com/office/drawing/2014/main" id="{3B5FAC87-3DAE-4C9A-A787-E732396AD811}"/>
                </a:ext>
              </a:extLst>
            </p:cNvPr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9139238" y="4135439"/>
              <a:ext cx="6350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08" name="Freeform 178">
              <a:extLst>
                <a:ext uri="{FF2B5EF4-FFF2-40B4-BE49-F238E27FC236}">
                  <a16:creationId xmlns:a16="http://schemas.microsoft.com/office/drawing/2014/main" id="{5D7313D6-5272-421D-914A-90754D6C5A1D}"/>
                </a:ext>
              </a:extLst>
            </p:cNvPr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9139238" y="4119564"/>
              <a:ext cx="6350" cy="15875"/>
            </a:xfrm>
            <a:custGeom>
              <a:avLst/>
              <a:gdLst>
                <a:gd name="T0" fmla="*/ 0 w 13"/>
                <a:gd name="T1" fmla="*/ 25 h 25"/>
                <a:gd name="T2" fmla="*/ 1 w 13"/>
                <a:gd name="T3" fmla="*/ 19 h 25"/>
                <a:gd name="T4" fmla="*/ 4 w 13"/>
                <a:gd name="T5" fmla="*/ 13 h 25"/>
                <a:gd name="T6" fmla="*/ 8 w 13"/>
                <a:gd name="T7" fmla="*/ 6 h 25"/>
                <a:gd name="T8" fmla="*/ 13 w 13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Line 179">
              <a:extLst>
                <a:ext uri="{FF2B5EF4-FFF2-40B4-BE49-F238E27FC236}">
                  <a16:creationId xmlns:a16="http://schemas.microsoft.com/office/drawing/2014/main" id="{CF8126A4-778C-43D7-A57A-6158326760A5}"/>
                </a:ext>
              </a:extLst>
            </p:cNvPr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9145588" y="4106863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0" name="Freeform 180">
              <a:extLst>
                <a:ext uri="{FF2B5EF4-FFF2-40B4-BE49-F238E27FC236}">
                  <a16:creationId xmlns:a16="http://schemas.microsoft.com/office/drawing/2014/main" id="{54EED926-741B-4396-8219-8EF9D6B6D444}"/>
                </a:ext>
              </a:extLst>
            </p:cNvPr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9099550" y="4040189"/>
              <a:ext cx="46038" cy="66675"/>
            </a:xfrm>
            <a:custGeom>
              <a:avLst/>
              <a:gdLst>
                <a:gd name="T0" fmla="*/ 100 w 100"/>
                <a:gd name="T1" fmla="*/ 123 h 123"/>
                <a:gd name="T2" fmla="*/ 90 w 100"/>
                <a:gd name="T3" fmla="*/ 122 h 123"/>
                <a:gd name="T4" fmla="*/ 76 w 100"/>
                <a:gd name="T5" fmla="*/ 119 h 123"/>
                <a:gd name="T6" fmla="*/ 60 w 100"/>
                <a:gd name="T7" fmla="*/ 114 h 123"/>
                <a:gd name="T8" fmla="*/ 43 w 100"/>
                <a:gd name="T9" fmla="*/ 107 h 123"/>
                <a:gd name="T10" fmla="*/ 34 w 100"/>
                <a:gd name="T11" fmla="*/ 103 h 123"/>
                <a:gd name="T12" fmla="*/ 27 w 100"/>
                <a:gd name="T13" fmla="*/ 99 h 123"/>
                <a:gd name="T14" fmla="*/ 20 w 100"/>
                <a:gd name="T15" fmla="*/ 94 h 123"/>
                <a:gd name="T16" fmla="*/ 13 w 100"/>
                <a:gd name="T17" fmla="*/ 89 h 123"/>
                <a:gd name="T18" fmla="*/ 8 w 100"/>
                <a:gd name="T19" fmla="*/ 84 h 123"/>
                <a:gd name="T20" fmla="*/ 4 w 100"/>
                <a:gd name="T21" fmla="*/ 79 h 123"/>
                <a:gd name="T22" fmla="*/ 1 w 100"/>
                <a:gd name="T23" fmla="*/ 73 h 123"/>
                <a:gd name="T24" fmla="*/ 0 w 100"/>
                <a:gd name="T25" fmla="*/ 68 h 123"/>
                <a:gd name="T26" fmla="*/ 2 w 100"/>
                <a:gd name="T27" fmla="*/ 55 h 123"/>
                <a:gd name="T28" fmla="*/ 7 w 100"/>
                <a:gd name="T29" fmla="*/ 36 h 123"/>
                <a:gd name="T30" fmla="*/ 11 w 100"/>
                <a:gd name="T31" fmla="*/ 17 h 123"/>
                <a:gd name="T32" fmla="*/ 13 w 100"/>
                <a:gd name="T33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1" name="Freeform 181">
              <a:extLst>
                <a:ext uri="{FF2B5EF4-FFF2-40B4-BE49-F238E27FC236}">
                  <a16:creationId xmlns:a16="http://schemas.microsoft.com/office/drawing/2014/main" id="{BF4AA02B-BFAA-48F1-B840-5134C79EE35D}"/>
                </a:ext>
              </a:extLst>
            </p:cNvPr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9113839" y="3983038"/>
              <a:ext cx="1587" cy="50800"/>
            </a:xfrm>
            <a:custGeom>
              <a:avLst/>
              <a:gdLst>
                <a:gd name="T0" fmla="*/ 5 w 5"/>
                <a:gd name="T1" fmla="*/ 0 h 99"/>
                <a:gd name="T2" fmla="*/ 4 w 5"/>
                <a:gd name="T3" fmla="*/ 34 h 99"/>
                <a:gd name="T4" fmla="*/ 1 w 5"/>
                <a:gd name="T5" fmla="*/ 59 h 99"/>
                <a:gd name="T6" fmla="*/ 0 w 5"/>
                <a:gd name="T7" fmla="*/ 69 h 99"/>
                <a:gd name="T8" fmla="*/ 0 w 5"/>
                <a:gd name="T9" fmla="*/ 78 h 99"/>
                <a:gd name="T10" fmla="*/ 2 w 5"/>
                <a:gd name="T11" fmla="*/ 87 h 99"/>
                <a:gd name="T12" fmla="*/ 5 w 5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2" name="Freeform 182">
              <a:extLst>
                <a:ext uri="{FF2B5EF4-FFF2-40B4-BE49-F238E27FC236}">
                  <a16:creationId xmlns:a16="http://schemas.microsoft.com/office/drawing/2014/main" id="{2C6A05D7-96E1-4FD0-9B53-1BC2B57880CF}"/>
                </a:ext>
              </a:extLst>
            </p:cNvPr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9120189" y="3976688"/>
              <a:ext cx="7937" cy="36512"/>
            </a:xfrm>
            <a:custGeom>
              <a:avLst/>
              <a:gdLst>
                <a:gd name="T0" fmla="*/ 14 w 14"/>
                <a:gd name="T1" fmla="*/ 0 h 68"/>
                <a:gd name="T2" fmla="*/ 8 w 14"/>
                <a:gd name="T3" fmla="*/ 16 h 68"/>
                <a:gd name="T4" fmla="*/ 4 w 14"/>
                <a:gd name="T5" fmla="*/ 33 h 68"/>
                <a:gd name="T6" fmla="*/ 2 w 14"/>
                <a:gd name="T7" fmla="*/ 52 h 68"/>
                <a:gd name="T8" fmla="*/ 0 w 14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Freeform 183">
              <a:extLst>
                <a:ext uri="{FF2B5EF4-FFF2-40B4-BE49-F238E27FC236}">
                  <a16:creationId xmlns:a16="http://schemas.microsoft.com/office/drawing/2014/main" id="{CA9DD840-AE4B-423F-8D86-948C745215A5}"/>
                </a:ext>
              </a:extLst>
            </p:cNvPr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9136064" y="3957639"/>
              <a:ext cx="1587" cy="22225"/>
            </a:xfrm>
            <a:custGeom>
              <a:avLst/>
              <a:gdLst>
                <a:gd name="T0" fmla="*/ 0 h 43"/>
                <a:gd name="T1" fmla="*/ 13 h 43"/>
                <a:gd name="T2" fmla="*/ 26 h 43"/>
                <a:gd name="T3" fmla="*/ 37 h 43"/>
                <a:gd name="T4" fmla="*/ 43 h 4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4" name="Line 184">
              <a:extLst>
                <a:ext uri="{FF2B5EF4-FFF2-40B4-BE49-F238E27FC236}">
                  <a16:creationId xmlns:a16="http://schemas.microsoft.com/office/drawing/2014/main" id="{4C59CF05-0E52-44A0-8014-A4A55ED0075F}"/>
                </a:ext>
              </a:extLst>
            </p:cNvPr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9136064" y="3976689"/>
              <a:ext cx="158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5" name="Freeform 185">
              <a:extLst>
                <a:ext uri="{FF2B5EF4-FFF2-40B4-BE49-F238E27FC236}">
                  <a16:creationId xmlns:a16="http://schemas.microsoft.com/office/drawing/2014/main" id="{360910F4-7A82-4558-BFD3-87BCF9364BA2}"/>
                </a:ext>
              </a:extLst>
            </p:cNvPr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9120189" y="3960814"/>
              <a:ext cx="1587" cy="15875"/>
            </a:xfrm>
            <a:custGeom>
              <a:avLst/>
              <a:gdLst>
                <a:gd name="T0" fmla="*/ 31 h 31"/>
                <a:gd name="T1" fmla="*/ 22 h 31"/>
                <a:gd name="T2" fmla="*/ 15 h 31"/>
                <a:gd name="T3" fmla="*/ 8 h 31"/>
                <a:gd name="T4" fmla="*/ 0 h 3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6" name="Freeform 186">
              <a:extLst>
                <a:ext uri="{FF2B5EF4-FFF2-40B4-BE49-F238E27FC236}">
                  <a16:creationId xmlns:a16="http://schemas.microsoft.com/office/drawing/2014/main" id="{A351607D-FA2D-4D48-8048-5F93558A49D2}"/>
                </a:ext>
              </a:extLst>
            </p:cNvPr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8840789" y="4949826"/>
              <a:ext cx="96837" cy="87313"/>
            </a:xfrm>
            <a:custGeom>
              <a:avLst/>
              <a:gdLst>
                <a:gd name="T0" fmla="*/ 19 w 225"/>
                <a:gd name="T1" fmla="*/ 158 h 167"/>
                <a:gd name="T2" fmla="*/ 7 w 225"/>
                <a:gd name="T3" fmla="*/ 142 h 167"/>
                <a:gd name="T4" fmla="*/ 0 w 225"/>
                <a:gd name="T5" fmla="*/ 130 h 167"/>
                <a:gd name="T6" fmla="*/ 1 w 225"/>
                <a:gd name="T7" fmla="*/ 108 h 167"/>
                <a:gd name="T8" fmla="*/ 11 w 225"/>
                <a:gd name="T9" fmla="*/ 68 h 167"/>
                <a:gd name="T10" fmla="*/ 24 w 225"/>
                <a:gd name="T11" fmla="*/ 39 h 167"/>
                <a:gd name="T12" fmla="*/ 34 w 225"/>
                <a:gd name="T13" fmla="*/ 21 h 167"/>
                <a:gd name="T14" fmla="*/ 44 w 225"/>
                <a:gd name="T15" fmla="*/ 9 h 167"/>
                <a:gd name="T16" fmla="*/ 54 w 225"/>
                <a:gd name="T17" fmla="*/ 1 h 167"/>
                <a:gd name="T18" fmla="*/ 65 w 225"/>
                <a:gd name="T19" fmla="*/ 1 h 167"/>
                <a:gd name="T20" fmla="*/ 76 w 225"/>
                <a:gd name="T21" fmla="*/ 3 h 167"/>
                <a:gd name="T22" fmla="*/ 88 w 225"/>
                <a:gd name="T23" fmla="*/ 8 h 167"/>
                <a:gd name="T24" fmla="*/ 100 w 225"/>
                <a:gd name="T25" fmla="*/ 17 h 167"/>
                <a:gd name="T26" fmla="*/ 112 w 225"/>
                <a:gd name="T27" fmla="*/ 24 h 167"/>
                <a:gd name="T28" fmla="*/ 128 w 225"/>
                <a:gd name="T29" fmla="*/ 24 h 167"/>
                <a:gd name="T30" fmla="*/ 145 w 225"/>
                <a:gd name="T31" fmla="*/ 19 h 167"/>
                <a:gd name="T32" fmla="*/ 165 w 225"/>
                <a:gd name="T33" fmla="*/ 7 h 167"/>
                <a:gd name="T34" fmla="*/ 225 w 225"/>
                <a:gd name="T35" fmla="*/ 0 h 167"/>
                <a:gd name="T36" fmla="*/ 215 w 225"/>
                <a:gd name="T37" fmla="*/ 22 h 167"/>
                <a:gd name="T38" fmla="*/ 201 w 225"/>
                <a:gd name="T39" fmla="*/ 41 h 167"/>
                <a:gd name="T40" fmla="*/ 168 w 225"/>
                <a:gd name="T41" fmla="*/ 72 h 167"/>
                <a:gd name="T42" fmla="*/ 138 w 225"/>
                <a:gd name="T43" fmla="*/ 100 h 167"/>
                <a:gd name="T44" fmla="*/ 129 w 225"/>
                <a:gd name="T45" fmla="*/ 114 h 167"/>
                <a:gd name="T46" fmla="*/ 126 w 225"/>
                <a:gd name="T47" fmla="*/ 130 h 167"/>
                <a:gd name="T48" fmla="*/ 123 w 225"/>
                <a:gd name="T49" fmla="*/ 126 h 167"/>
                <a:gd name="T50" fmla="*/ 120 w 225"/>
                <a:gd name="T51" fmla="*/ 117 h 167"/>
                <a:gd name="T52" fmla="*/ 106 w 225"/>
                <a:gd name="T53" fmla="*/ 121 h 167"/>
                <a:gd name="T54" fmla="*/ 97 w 225"/>
                <a:gd name="T55" fmla="*/ 128 h 167"/>
                <a:gd name="T56" fmla="*/ 80 w 225"/>
                <a:gd name="T57" fmla="*/ 145 h 167"/>
                <a:gd name="T58" fmla="*/ 71 w 225"/>
                <a:gd name="T59" fmla="*/ 153 h 167"/>
                <a:gd name="T60" fmla="*/ 60 w 225"/>
                <a:gd name="T61" fmla="*/ 160 h 167"/>
                <a:gd name="T62" fmla="*/ 46 w 225"/>
                <a:gd name="T63" fmla="*/ 165 h 167"/>
                <a:gd name="T64" fmla="*/ 26 w 225"/>
                <a:gd name="T6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7" name="Freeform 187">
              <a:extLst>
                <a:ext uri="{FF2B5EF4-FFF2-40B4-BE49-F238E27FC236}">
                  <a16:creationId xmlns:a16="http://schemas.microsoft.com/office/drawing/2014/main" id="{69A9D3D8-DC00-487B-8296-73712CF2679E}"/>
                </a:ext>
              </a:extLst>
            </p:cNvPr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8978901" y="4168776"/>
              <a:ext cx="3175" cy="17463"/>
            </a:xfrm>
            <a:custGeom>
              <a:avLst/>
              <a:gdLst>
                <a:gd name="T0" fmla="*/ 0 w 7"/>
                <a:gd name="T1" fmla="*/ 31 h 31"/>
                <a:gd name="T2" fmla="*/ 5 w 7"/>
                <a:gd name="T3" fmla="*/ 22 h 31"/>
                <a:gd name="T4" fmla="*/ 6 w 7"/>
                <a:gd name="T5" fmla="*/ 13 h 31"/>
                <a:gd name="T6" fmla="*/ 7 w 7"/>
                <a:gd name="T7" fmla="*/ 6 h 31"/>
                <a:gd name="T8" fmla="*/ 7 w 7"/>
                <a:gd name="T9" fmla="*/ 0 h 31"/>
                <a:gd name="T10" fmla="*/ 6 w 7"/>
                <a:gd name="T11" fmla="*/ 6 h 31"/>
                <a:gd name="T12" fmla="*/ 4 w 7"/>
                <a:gd name="T13" fmla="*/ 13 h 31"/>
                <a:gd name="T14" fmla="*/ 1 w 7"/>
                <a:gd name="T15" fmla="*/ 22 h 31"/>
                <a:gd name="T16" fmla="*/ 0 w 7"/>
                <a:gd name="T1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8" name="Freeform 188">
              <a:extLst>
                <a:ext uri="{FF2B5EF4-FFF2-40B4-BE49-F238E27FC236}">
                  <a16:creationId xmlns:a16="http://schemas.microsoft.com/office/drawing/2014/main" id="{7DE5C588-FC87-4E8D-8F89-FC4640F1EC29}"/>
                </a:ext>
              </a:extLst>
            </p:cNvPr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8912226" y="4090989"/>
              <a:ext cx="15875" cy="15875"/>
            </a:xfrm>
            <a:custGeom>
              <a:avLst/>
              <a:gdLst>
                <a:gd name="T0" fmla="*/ 33 w 33"/>
                <a:gd name="T1" fmla="*/ 31 h 31"/>
                <a:gd name="T2" fmla="*/ 33 w 33"/>
                <a:gd name="T3" fmla="*/ 0 h 31"/>
                <a:gd name="T4" fmla="*/ 27 w 33"/>
                <a:gd name="T5" fmla="*/ 0 h 31"/>
                <a:gd name="T6" fmla="*/ 22 w 33"/>
                <a:gd name="T7" fmla="*/ 2 h 31"/>
                <a:gd name="T8" fmla="*/ 16 w 33"/>
                <a:gd name="T9" fmla="*/ 5 h 31"/>
                <a:gd name="T10" fmla="*/ 11 w 33"/>
                <a:gd name="T11" fmla="*/ 8 h 31"/>
                <a:gd name="T12" fmla="*/ 6 w 33"/>
                <a:gd name="T13" fmla="*/ 12 h 31"/>
                <a:gd name="T14" fmla="*/ 3 w 33"/>
                <a:gd name="T15" fmla="*/ 16 h 31"/>
                <a:gd name="T16" fmla="*/ 1 w 33"/>
                <a:gd name="T17" fmla="*/ 21 h 31"/>
                <a:gd name="T18" fmla="*/ 0 w 33"/>
                <a:gd name="T19" fmla="*/ 25 h 31"/>
                <a:gd name="T20" fmla="*/ 1 w 33"/>
                <a:gd name="T21" fmla="*/ 27 h 31"/>
                <a:gd name="T22" fmla="*/ 3 w 33"/>
                <a:gd name="T23" fmla="*/ 29 h 31"/>
                <a:gd name="T24" fmla="*/ 6 w 33"/>
                <a:gd name="T25" fmla="*/ 30 h 31"/>
                <a:gd name="T26" fmla="*/ 11 w 33"/>
                <a:gd name="T27" fmla="*/ 30 h 31"/>
                <a:gd name="T28" fmla="*/ 22 w 33"/>
                <a:gd name="T29" fmla="*/ 31 h 31"/>
                <a:gd name="T30" fmla="*/ 33 w 33"/>
                <a:gd name="T3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19" name="Freeform 189">
              <a:extLst>
                <a:ext uri="{FF2B5EF4-FFF2-40B4-BE49-F238E27FC236}">
                  <a16:creationId xmlns:a16="http://schemas.microsoft.com/office/drawing/2014/main" id="{E568A031-4545-4031-B58A-72E58B526485}"/>
                </a:ext>
              </a:extLst>
            </p:cNvPr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8928101" y="4003676"/>
              <a:ext cx="3175" cy="9525"/>
            </a:xfrm>
            <a:custGeom>
              <a:avLst/>
              <a:gdLst>
                <a:gd name="T0" fmla="*/ 0 w 13"/>
                <a:gd name="T1" fmla="*/ 19 h 19"/>
                <a:gd name="T2" fmla="*/ 2 w 13"/>
                <a:gd name="T3" fmla="*/ 18 h 19"/>
                <a:gd name="T4" fmla="*/ 5 w 13"/>
                <a:gd name="T5" fmla="*/ 17 h 19"/>
                <a:gd name="T6" fmla="*/ 7 w 13"/>
                <a:gd name="T7" fmla="*/ 15 h 19"/>
                <a:gd name="T8" fmla="*/ 8 w 13"/>
                <a:gd name="T9" fmla="*/ 12 h 19"/>
                <a:gd name="T10" fmla="*/ 12 w 13"/>
                <a:gd name="T11" fmla="*/ 6 h 19"/>
                <a:gd name="T12" fmla="*/ 13 w 13"/>
                <a:gd name="T13" fmla="*/ 0 h 19"/>
                <a:gd name="T14" fmla="*/ 0 w 13"/>
                <a:gd name="T1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Freeform 190">
              <a:extLst>
                <a:ext uri="{FF2B5EF4-FFF2-40B4-BE49-F238E27FC236}">
                  <a16:creationId xmlns:a16="http://schemas.microsoft.com/office/drawing/2014/main" id="{1C3CCF68-6313-40BF-9C72-9E45746E1CA4}"/>
                </a:ext>
              </a:extLst>
            </p:cNvPr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8767763" y="4006851"/>
              <a:ext cx="36512" cy="22225"/>
            </a:xfrm>
            <a:custGeom>
              <a:avLst/>
              <a:gdLst>
                <a:gd name="T0" fmla="*/ 54 w 87"/>
                <a:gd name="T1" fmla="*/ 42 h 42"/>
                <a:gd name="T2" fmla="*/ 59 w 87"/>
                <a:gd name="T3" fmla="*/ 42 h 42"/>
                <a:gd name="T4" fmla="*/ 64 w 87"/>
                <a:gd name="T5" fmla="*/ 41 h 42"/>
                <a:gd name="T6" fmla="*/ 68 w 87"/>
                <a:gd name="T7" fmla="*/ 40 h 42"/>
                <a:gd name="T8" fmla="*/ 71 w 87"/>
                <a:gd name="T9" fmla="*/ 38 h 42"/>
                <a:gd name="T10" fmla="*/ 75 w 87"/>
                <a:gd name="T11" fmla="*/ 34 h 42"/>
                <a:gd name="T12" fmla="*/ 78 w 87"/>
                <a:gd name="T13" fmla="*/ 28 h 42"/>
                <a:gd name="T14" fmla="*/ 79 w 87"/>
                <a:gd name="T15" fmla="*/ 22 h 42"/>
                <a:gd name="T16" fmla="*/ 80 w 87"/>
                <a:gd name="T17" fmla="*/ 16 h 42"/>
                <a:gd name="T18" fmla="*/ 82 w 87"/>
                <a:gd name="T19" fmla="*/ 11 h 42"/>
                <a:gd name="T20" fmla="*/ 87 w 87"/>
                <a:gd name="T21" fmla="*/ 6 h 42"/>
                <a:gd name="T22" fmla="*/ 77 w 87"/>
                <a:gd name="T23" fmla="*/ 2 h 42"/>
                <a:gd name="T24" fmla="*/ 67 w 87"/>
                <a:gd name="T25" fmla="*/ 0 h 42"/>
                <a:gd name="T26" fmla="*/ 57 w 87"/>
                <a:gd name="T27" fmla="*/ 0 h 42"/>
                <a:gd name="T28" fmla="*/ 47 w 87"/>
                <a:gd name="T29" fmla="*/ 0 h 42"/>
                <a:gd name="T30" fmla="*/ 40 w 87"/>
                <a:gd name="T31" fmla="*/ 0 h 42"/>
                <a:gd name="T32" fmla="*/ 32 w 87"/>
                <a:gd name="T33" fmla="*/ 2 h 42"/>
                <a:gd name="T34" fmla="*/ 25 w 87"/>
                <a:gd name="T35" fmla="*/ 4 h 42"/>
                <a:gd name="T36" fmla="*/ 19 w 87"/>
                <a:gd name="T37" fmla="*/ 6 h 42"/>
                <a:gd name="T38" fmla="*/ 8 w 87"/>
                <a:gd name="T39" fmla="*/ 12 h 42"/>
                <a:gd name="T40" fmla="*/ 0 w 87"/>
                <a:gd name="T41" fmla="*/ 18 h 42"/>
                <a:gd name="T42" fmla="*/ 11 w 87"/>
                <a:gd name="T43" fmla="*/ 24 h 42"/>
                <a:gd name="T44" fmla="*/ 27 w 87"/>
                <a:gd name="T45" fmla="*/ 32 h 42"/>
                <a:gd name="T46" fmla="*/ 43 w 87"/>
                <a:gd name="T47" fmla="*/ 39 h 42"/>
                <a:gd name="T48" fmla="*/ 54 w 87"/>
                <a:gd name="T4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1" name="Freeform 191">
              <a:extLst>
                <a:ext uri="{FF2B5EF4-FFF2-40B4-BE49-F238E27FC236}">
                  <a16:creationId xmlns:a16="http://schemas.microsoft.com/office/drawing/2014/main" id="{0894DEAA-30C4-4947-BC4A-BFDCCB9E2DC3}"/>
                </a:ext>
              </a:extLst>
            </p:cNvPr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9012239" y="4470400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7 w 7"/>
                <a:gd name="T3" fmla="*/ 0 h 31"/>
                <a:gd name="T4" fmla="*/ 7 w 7"/>
                <a:gd name="T5" fmla="*/ 18 h 31"/>
                <a:gd name="T6" fmla="*/ 0 w 7"/>
                <a:gd name="T7" fmla="*/ 31 h 31"/>
                <a:gd name="T8" fmla="*/ 0 w 7"/>
                <a:gd name="T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2" name="Freeform 192">
              <a:extLst>
                <a:ext uri="{FF2B5EF4-FFF2-40B4-BE49-F238E27FC236}">
                  <a16:creationId xmlns:a16="http://schemas.microsoft.com/office/drawing/2014/main" id="{27336190-872A-4A40-A922-13ED0EC9D35F}"/>
                </a:ext>
              </a:extLst>
            </p:cNvPr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8248651" y="3976688"/>
              <a:ext cx="1019175" cy="908050"/>
            </a:xfrm>
            <a:custGeom>
              <a:avLst/>
              <a:gdLst>
                <a:gd name="T0" fmla="*/ 214 w 2332"/>
                <a:gd name="T1" fmla="*/ 707 h 1731"/>
                <a:gd name="T2" fmla="*/ 325 w 2332"/>
                <a:gd name="T3" fmla="*/ 649 h 1731"/>
                <a:gd name="T4" fmla="*/ 435 w 2332"/>
                <a:gd name="T5" fmla="*/ 606 h 1731"/>
                <a:gd name="T6" fmla="*/ 605 w 2332"/>
                <a:gd name="T7" fmla="*/ 570 h 1731"/>
                <a:gd name="T8" fmla="*/ 677 w 2332"/>
                <a:gd name="T9" fmla="*/ 437 h 1731"/>
                <a:gd name="T10" fmla="*/ 758 w 2332"/>
                <a:gd name="T11" fmla="*/ 439 h 1731"/>
                <a:gd name="T12" fmla="*/ 784 w 2332"/>
                <a:gd name="T13" fmla="*/ 363 h 1731"/>
                <a:gd name="T14" fmla="*/ 866 w 2332"/>
                <a:gd name="T15" fmla="*/ 316 h 1731"/>
                <a:gd name="T16" fmla="*/ 939 w 2332"/>
                <a:gd name="T17" fmla="*/ 246 h 1731"/>
                <a:gd name="T18" fmla="*/ 1027 w 2332"/>
                <a:gd name="T19" fmla="*/ 223 h 1731"/>
                <a:gd name="T20" fmla="*/ 1078 w 2332"/>
                <a:gd name="T21" fmla="*/ 284 h 1731"/>
                <a:gd name="T22" fmla="*/ 1135 w 2332"/>
                <a:gd name="T23" fmla="*/ 270 h 1731"/>
                <a:gd name="T24" fmla="*/ 1176 w 2332"/>
                <a:gd name="T25" fmla="*/ 172 h 1731"/>
                <a:gd name="T26" fmla="*/ 1320 w 2332"/>
                <a:gd name="T27" fmla="*/ 117 h 1731"/>
                <a:gd name="T28" fmla="*/ 1336 w 2332"/>
                <a:gd name="T29" fmla="*/ 41 h 1731"/>
                <a:gd name="T30" fmla="*/ 1432 w 2332"/>
                <a:gd name="T31" fmla="*/ 107 h 1731"/>
                <a:gd name="T32" fmla="*/ 1544 w 2332"/>
                <a:gd name="T33" fmla="*/ 117 h 1731"/>
                <a:gd name="T34" fmla="*/ 1465 w 2332"/>
                <a:gd name="T35" fmla="*/ 262 h 1731"/>
                <a:gd name="T36" fmla="*/ 1509 w 2332"/>
                <a:gd name="T37" fmla="*/ 333 h 1731"/>
                <a:gd name="T38" fmla="*/ 1582 w 2332"/>
                <a:gd name="T39" fmla="*/ 354 h 1731"/>
                <a:gd name="T40" fmla="*/ 1668 w 2332"/>
                <a:gd name="T41" fmla="*/ 423 h 1731"/>
                <a:gd name="T42" fmla="*/ 1764 w 2332"/>
                <a:gd name="T43" fmla="*/ 413 h 1731"/>
                <a:gd name="T44" fmla="*/ 1830 w 2332"/>
                <a:gd name="T45" fmla="*/ 205 h 1731"/>
                <a:gd name="T46" fmla="*/ 1904 w 2332"/>
                <a:gd name="T47" fmla="*/ 10 h 1731"/>
                <a:gd name="T48" fmla="*/ 1933 w 2332"/>
                <a:gd name="T49" fmla="*/ 80 h 1731"/>
                <a:gd name="T50" fmla="*/ 1944 w 2332"/>
                <a:gd name="T51" fmla="*/ 176 h 1731"/>
                <a:gd name="T52" fmla="*/ 1986 w 2332"/>
                <a:gd name="T53" fmla="*/ 240 h 1731"/>
                <a:gd name="T54" fmla="*/ 2040 w 2332"/>
                <a:gd name="T55" fmla="*/ 429 h 1731"/>
                <a:gd name="T56" fmla="*/ 2089 w 2332"/>
                <a:gd name="T57" fmla="*/ 540 h 1731"/>
                <a:gd name="T58" fmla="*/ 2163 w 2332"/>
                <a:gd name="T59" fmla="*/ 686 h 1731"/>
                <a:gd name="T60" fmla="*/ 2219 w 2332"/>
                <a:gd name="T61" fmla="*/ 769 h 1731"/>
                <a:gd name="T62" fmla="*/ 2332 w 2332"/>
                <a:gd name="T63" fmla="*/ 892 h 1731"/>
                <a:gd name="T64" fmla="*/ 2276 w 2332"/>
                <a:gd name="T65" fmla="*/ 1105 h 1731"/>
                <a:gd name="T66" fmla="*/ 2087 w 2332"/>
                <a:gd name="T67" fmla="*/ 1362 h 1731"/>
                <a:gd name="T68" fmla="*/ 2005 w 2332"/>
                <a:gd name="T69" fmla="*/ 1432 h 1731"/>
                <a:gd name="T70" fmla="*/ 1838 w 2332"/>
                <a:gd name="T71" fmla="*/ 1591 h 1731"/>
                <a:gd name="T72" fmla="*/ 1749 w 2332"/>
                <a:gd name="T73" fmla="*/ 1676 h 1731"/>
                <a:gd name="T74" fmla="*/ 1589 w 2332"/>
                <a:gd name="T75" fmla="*/ 1726 h 1731"/>
                <a:gd name="T76" fmla="*/ 1517 w 2332"/>
                <a:gd name="T77" fmla="*/ 1693 h 1731"/>
                <a:gd name="T78" fmla="*/ 1410 w 2332"/>
                <a:gd name="T79" fmla="*/ 1729 h 1731"/>
                <a:gd name="T80" fmla="*/ 1297 w 2332"/>
                <a:gd name="T81" fmla="*/ 1693 h 1731"/>
                <a:gd name="T82" fmla="*/ 1279 w 2332"/>
                <a:gd name="T83" fmla="*/ 1614 h 1731"/>
                <a:gd name="T84" fmla="*/ 1263 w 2332"/>
                <a:gd name="T85" fmla="*/ 1516 h 1731"/>
                <a:gd name="T86" fmla="*/ 1225 w 2332"/>
                <a:gd name="T87" fmla="*/ 1500 h 1731"/>
                <a:gd name="T88" fmla="*/ 1280 w 2332"/>
                <a:gd name="T89" fmla="*/ 1382 h 1731"/>
                <a:gd name="T90" fmla="*/ 1088 w 2332"/>
                <a:gd name="T91" fmla="*/ 1362 h 1731"/>
                <a:gd name="T92" fmla="*/ 961 w 2332"/>
                <a:gd name="T93" fmla="*/ 1282 h 1731"/>
                <a:gd name="T94" fmla="*/ 754 w 2332"/>
                <a:gd name="T95" fmla="*/ 1323 h 1731"/>
                <a:gd name="T96" fmla="*/ 507 w 2332"/>
                <a:gd name="T97" fmla="*/ 1419 h 1731"/>
                <a:gd name="T98" fmla="*/ 214 w 2332"/>
                <a:gd name="T99" fmla="*/ 1473 h 1731"/>
                <a:gd name="T100" fmla="*/ 55 w 2332"/>
                <a:gd name="T101" fmla="*/ 1490 h 1731"/>
                <a:gd name="T102" fmla="*/ 2 w 2332"/>
                <a:gd name="T103" fmla="*/ 1423 h 1731"/>
                <a:gd name="T104" fmla="*/ 97 w 2332"/>
                <a:gd name="T105" fmla="*/ 1344 h 1731"/>
                <a:gd name="T106" fmla="*/ 75 w 2332"/>
                <a:gd name="T107" fmla="*/ 1241 h 1731"/>
                <a:gd name="T108" fmla="*/ 113 w 2332"/>
                <a:gd name="T109" fmla="*/ 1170 h 1731"/>
                <a:gd name="T110" fmla="*/ 58 w 2332"/>
                <a:gd name="T111" fmla="*/ 943 h 1731"/>
                <a:gd name="T112" fmla="*/ 113 w 2332"/>
                <a:gd name="T113" fmla="*/ 964 h 1731"/>
                <a:gd name="T114" fmla="*/ 106 w 2332"/>
                <a:gd name="T115" fmla="*/ 862 h 1731"/>
                <a:gd name="T116" fmla="*/ 147 w 2332"/>
                <a:gd name="T117" fmla="*/ 765 h 1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3" name="Freeform 193">
              <a:extLst>
                <a:ext uri="{FF2B5EF4-FFF2-40B4-BE49-F238E27FC236}">
                  <a16:creationId xmlns:a16="http://schemas.microsoft.com/office/drawing/2014/main" id="{9C89F4C2-9FC2-4E1C-99C5-7696F8079786}"/>
                </a:ext>
              </a:extLst>
            </p:cNvPr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2735264" y="2643189"/>
              <a:ext cx="668337" cy="581025"/>
            </a:xfrm>
            <a:custGeom>
              <a:avLst/>
              <a:gdLst>
                <a:gd name="T0" fmla="*/ 1243 w 1535"/>
                <a:gd name="T1" fmla="*/ 925 h 1109"/>
                <a:gd name="T2" fmla="*/ 1299 w 1535"/>
                <a:gd name="T3" fmla="*/ 982 h 1109"/>
                <a:gd name="T4" fmla="*/ 1220 w 1535"/>
                <a:gd name="T5" fmla="*/ 999 h 1109"/>
                <a:gd name="T6" fmla="*/ 1177 w 1535"/>
                <a:gd name="T7" fmla="*/ 1095 h 1109"/>
                <a:gd name="T8" fmla="*/ 1065 w 1535"/>
                <a:gd name="T9" fmla="*/ 1006 h 1109"/>
                <a:gd name="T10" fmla="*/ 994 w 1535"/>
                <a:gd name="T11" fmla="*/ 1012 h 1109"/>
                <a:gd name="T12" fmla="*/ 913 w 1535"/>
                <a:gd name="T13" fmla="*/ 1039 h 1109"/>
                <a:gd name="T14" fmla="*/ 786 w 1535"/>
                <a:gd name="T15" fmla="*/ 971 h 1109"/>
                <a:gd name="T16" fmla="*/ 648 w 1535"/>
                <a:gd name="T17" fmla="*/ 917 h 1109"/>
                <a:gd name="T18" fmla="*/ 588 w 1535"/>
                <a:gd name="T19" fmla="*/ 883 h 1109"/>
                <a:gd name="T20" fmla="*/ 537 w 1535"/>
                <a:gd name="T21" fmla="*/ 835 h 1109"/>
                <a:gd name="T22" fmla="*/ 485 w 1535"/>
                <a:gd name="T23" fmla="*/ 826 h 1109"/>
                <a:gd name="T24" fmla="*/ 439 w 1535"/>
                <a:gd name="T25" fmla="*/ 757 h 1109"/>
                <a:gd name="T26" fmla="*/ 467 w 1535"/>
                <a:gd name="T27" fmla="*/ 705 h 1109"/>
                <a:gd name="T28" fmla="*/ 450 w 1535"/>
                <a:gd name="T29" fmla="*/ 601 h 1109"/>
                <a:gd name="T30" fmla="*/ 352 w 1535"/>
                <a:gd name="T31" fmla="*/ 468 h 1109"/>
                <a:gd name="T32" fmla="*/ 304 w 1535"/>
                <a:gd name="T33" fmla="*/ 426 h 1109"/>
                <a:gd name="T34" fmla="*/ 293 w 1535"/>
                <a:gd name="T35" fmla="*/ 369 h 1109"/>
                <a:gd name="T36" fmla="*/ 217 w 1535"/>
                <a:gd name="T37" fmla="*/ 248 h 1109"/>
                <a:gd name="T38" fmla="*/ 167 w 1535"/>
                <a:gd name="T39" fmla="*/ 74 h 1109"/>
                <a:gd name="T40" fmla="*/ 84 w 1535"/>
                <a:gd name="T41" fmla="*/ 104 h 1109"/>
                <a:gd name="T42" fmla="*/ 113 w 1535"/>
                <a:gd name="T43" fmla="*/ 222 h 1109"/>
                <a:gd name="T44" fmla="*/ 150 w 1535"/>
                <a:gd name="T45" fmla="*/ 326 h 1109"/>
                <a:gd name="T46" fmla="*/ 196 w 1535"/>
                <a:gd name="T47" fmla="*/ 402 h 1109"/>
                <a:gd name="T48" fmla="*/ 200 w 1535"/>
                <a:gd name="T49" fmla="*/ 465 h 1109"/>
                <a:gd name="T50" fmla="*/ 213 w 1535"/>
                <a:gd name="T51" fmla="*/ 524 h 1109"/>
                <a:gd name="T52" fmla="*/ 259 w 1535"/>
                <a:gd name="T53" fmla="*/ 571 h 1109"/>
                <a:gd name="T54" fmla="*/ 214 w 1535"/>
                <a:gd name="T55" fmla="*/ 596 h 1109"/>
                <a:gd name="T56" fmla="*/ 193 w 1535"/>
                <a:gd name="T57" fmla="*/ 542 h 1109"/>
                <a:gd name="T58" fmla="*/ 120 w 1535"/>
                <a:gd name="T59" fmla="*/ 474 h 1109"/>
                <a:gd name="T60" fmla="*/ 146 w 1535"/>
                <a:gd name="T61" fmla="*/ 420 h 1109"/>
                <a:gd name="T62" fmla="*/ 89 w 1535"/>
                <a:gd name="T63" fmla="*/ 366 h 1109"/>
                <a:gd name="T64" fmla="*/ 27 w 1535"/>
                <a:gd name="T65" fmla="*/ 307 h 1109"/>
                <a:gd name="T66" fmla="*/ 65 w 1535"/>
                <a:gd name="T67" fmla="*/ 289 h 1109"/>
                <a:gd name="T68" fmla="*/ 64 w 1535"/>
                <a:gd name="T69" fmla="*/ 225 h 1109"/>
                <a:gd name="T70" fmla="*/ 6 w 1535"/>
                <a:gd name="T71" fmla="*/ 117 h 1109"/>
                <a:gd name="T72" fmla="*/ 38 w 1535"/>
                <a:gd name="T73" fmla="*/ 5 h 1109"/>
                <a:gd name="T74" fmla="*/ 211 w 1535"/>
                <a:gd name="T75" fmla="*/ 18 h 1109"/>
                <a:gd name="T76" fmla="*/ 361 w 1535"/>
                <a:gd name="T77" fmla="*/ 76 h 1109"/>
                <a:gd name="T78" fmla="*/ 498 w 1535"/>
                <a:gd name="T79" fmla="*/ 55 h 1109"/>
                <a:gd name="T80" fmla="*/ 593 w 1535"/>
                <a:gd name="T81" fmla="*/ 54 h 1109"/>
                <a:gd name="T82" fmla="*/ 633 w 1535"/>
                <a:gd name="T83" fmla="*/ 110 h 1109"/>
                <a:gd name="T84" fmla="*/ 700 w 1535"/>
                <a:gd name="T85" fmla="*/ 215 h 1109"/>
                <a:gd name="T86" fmla="*/ 750 w 1535"/>
                <a:gd name="T87" fmla="*/ 192 h 1109"/>
                <a:gd name="T88" fmla="*/ 822 w 1535"/>
                <a:gd name="T89" fmla="*/ 176 h 1109"/>
                <a:gd name="T90" fmla="*/ 879 w 1535"/>
                <a:gd name="T91" fmla="*/ 244 h 1109"/>
                <a:gd name="T92" fmla="*/ 905 w 1535"/>
                <a:gd name="T93" fmla="*/ 362 h 1109"/>
                <a:gd name="T94" fmla="*/ 964 w 1535"/>
                <a:gd name="T95" fmla="*/ 405 h 1109"/>
                <a:gd name="T96" fmla="*/ 977 w 1535"/>
                <a:gd name="T97" fmla="*/ 456 h 1109"/>
                <a:gd name="T98" fmla="*/ 931 w 1535"/>
                <a:gd name="T99" fmla="*/ 492 h 1109"/>
                <a:gd name="T100" fmla="*/ 917 w 1535"/>
                <a:gd name="T101" fmla="*/ 634 h 1109"/>
                <a:gd name="T102" fmla="*/ 956 w 1535"/>
                <a:gd name="T103" fmla="*/ 791 h 1109"/>
                <a:gd name="T104" fmla="*/ 1054 w 1535"/>
                <a:gd name="T105" fmla="*/ 877 h 1109"/>
                <a:gd name="T106" fmla="*/ 1166 w 1535"/>
                <a:gd name="T107" fmla="*/ 849 h 1109"/>
                <a:gd name="T108" fmla="*/ 1249 w 1535"/>
                <a:gd name="T109" fmla="*/ 850 h 1109"/>
                <a:gd name="T110" fmla="*/ 1296 w 1535"/>
                <a:gd name="T111" fmla="*/ 742 h 1109"/>
                <a:gd name="T112" fmla="*/ 1336 w 1535"/>
                <a:gd name="T113" fmla="*/ 693 h 1109"/>
                <a:gd name="T114" fmla="*/ 1506 w 1535"/>
                <a:gd name="T115" fmla="*/ 678 h 1109"/>
                <a:gd name="T116" fmla="*/ 1503 w 1535"/>
                <a:gd name="T117" fmla="*/ 729 h 1109"/>
                <a:gd name="T118" fmla="*/ 1468 w 1535"/>
                <a:gd name="T119" fmla="*/ 821 h 1109"/>
                <a:gd name="T120" fmla="*/ 1369 w 1535"/>
                <a:gd name="T121" fmla="*/ 888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4" name="Freeform 194">
              <a:extLst>
                <a:ext uri="{FF2B5EF4-FFF2-40B4-BE49-F238E27FC236}">
                  <a16:creationId xmlns:a16="http://schemas.microsoft.com/office/drawing/2014/main" id="{F27AE239-8B4D-48FA-8ED9-C44ECF7DC518}"/>
                </a:ext>
              </a:extLst>
            </p:cNvPr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4010025" y="4283076"/>
              <a:ext cx="211138" cy="265113"/>
            </a:xfrm>
            <a:custGeom>
              <a:avLst/>
              <a:gdLst>
                <a:gd name="T0" fmla="*/ 14 w 486"/>
                <a:gd name="T1" fmla="*/ 176 h 505"/>
                <a:gd name="T2" fmla="*/ 31 w 486"/>
                <a:gd name="T3" fmla="*/ 198 h 505"/>
                <a:gd name="T4" fmla="*/ 51 w 486"/>
                <a:gd name="T5" fmla="*/ 232 h 505"/>
                <a:gd name="T6" fmla="*/ 82 w 486"/>
                <a:gd name="T7" fmla="*/ 266 h 505"/>
                <a:gd name="T8" fmla="*/ 126 w 486"/>
                <a:gd name="T9" fmla="*/ 293 h 505"/>
                <a:gd name="T10" fmla="*/ 170 w 486"/>
                <a:gd name="T11" fmla="*/ 310 h 505"/>
                <a:gd name="T12" fmla="*/ 246 w 486"/>
                <a:gd name="T13" fmla="*/ 328 h 505"/>
                <a:gd name="T14" fmla="*/ 295 w 486"/>
                <a:gd name="T15" fmla="*/ 344 h 505"/>
                <a:gd name="T16" fmla="*/ 299 w 486"/>
                <a:gd name="T17" fmla="*/ 381 h 505"/>
                <a:gd name="T18" fmla="*/ 277 w 486"/>
                <a:gd name="T19" fmla="*/ 418 h 505"/>
                <a:gd name="T20" fmla="*/ 267 w 486"/>
                <a:gd name="T21" fmla="*/ 443 h 505"/>
                <a:gd name="T22" fmla="*/ 266 w 486"/>
                <a:gd name="T23" fmla="*/ 463 h 505"/>
                <a:gd name="T24" fmla="*/ 278 w 486"/>
                <a:gd name="T25" fmla="*/ 482 h 505"/>
                <a:gd name="T26" fmla="*/ 299 w 486"/>
                <a:gd name="T27" fmla="*/ 494 h 505"/>
                <a:gd name="T28" fmla="*/ 344 w 486"/>
                <a:gd name="T29" fmla="*/ 504 h 505"/>
                <a:gd name="T30" fmla="*/ 387 w 486"/>
                <a:gd name="T31" fmla="*/ 504 h 505"/>
                <a:gd name="T32" fmla="*/ 415 w 486"/>
                <a:gd name="T33" fmla="*/ 494 h 505"/>
                <a:gd name="T34" fmla="*/ 446 w 486"/>
                <a:gd name="T35" fmla="*/ 474 h 505"/>
                <a:gd name="T36" fmla="*/ 473 w 486"/>
                <a:gd name="T37" fmla="*/ 447 h 505"/>
                <a:gd name="T38" fmla="*/ 485 w 486"/>
                <a:gd name="T39" fmla="*/ 418 h 505"/>
                <a:gd name="T40" fmla="*/ 484 w 486"/>
                <a:gd name="T41" fmla="*/ 397 h 505"/>
                <a:gd name="T42" fmla="*/ 478 w 486"/>
                <a:gd name="T43" fmla="*/ 358 h 505"/>
                <a:gd name="T44" fmla="*/ 471 w 486"/>
                <a:gd name="T45" fmla="*/ 316 h 505"/>
                <a:gd name="T46" fmla="*/ 465 w 486"/>
                <a:gd name="T47" fmla="*/ 270 h 505"/>
                <a:gd name="T48" fmla="*/ 456 w 486"/>
                <a:gd name="T49" fmla="*/ 252 h 505"/>
                <a:gd name="T50" fmla="*/ 439 w 486"/>
                <a:gd name="T51" fmla="*/ 239 h 505"/>
                <a:gd name="T52" fmla="*/ 413 w 486"/>
                <a:gd name="T53" fmla="*/ 232 h 505"/>
                <a:gd name="T54" fmla="*/ 392 w 486"/>
                <a:gd name="T55" fmla="*/ 222 h 505"/>
                <a:gd name="T56" fmla="*/ 370 w 486"/>
                <a:gd name="T57" fmla="*/ 207 h 505"/>
                <a:gd name="T58" fmla="*/ 330 w 486"/>
                <a:gd name="T59" fmla="*/ 188 h 505"/>
                <a:gd name="T60" fmla="*/ 290 w 486"/>
                <a:gd name="T61" fmla="*/ 172 h 505"/>
                <a:gd name="T62" fmla="*/ 273 w 486"/>
                <a:gd name="T63" fmla="*/ 160 h 505"/>
                <a:gd name="T64" fmla="*/ 264 w 486"/>
                <a:gd name="T65" fmla="*/ 151 h 505"/>
                <a:gd name="T66" fmla="*/ 261 w 486"/>
                <a:gd name="T67" fmla="*/ 125 h 505"/>
                <a:gd name="T68" fmla="*/ 261 w 486"/>
                <a:gd name="T69" fmla="*/ 90 h 505"/>
                <a:gd name="T70" fmla="*/ 255 w 486"/>
                <a:gd name="T71" fmla="*/ 71 h 505"/>
                <a:gd name="T72" fmla="*/ 241 w 486"/>
                <a:gd name="T73" fmla="*/ 55 h 505"/>
                <a:gd name="T74" fmla="*/ 234 w 486"/>
                <a:gd name="T75" fmla="*/ 37 h 505"/>
                <a:gd name="T76" fmla="*/ 199 w 486"/>
                <a:gd name="T77" fmla="*/ 12 h 505"/>
                <a:gd name="T78" fmla="*/ 186 w 486"/>
                <a:gd name="T79" fmla="*/ 8 h 505"/>
                <a:gd name="T80" fmla="*/ 173 w 486"/>
                <a:gd name="T81" fmla="*/ 2 h 505"/>
                <a:gd name="T82" fmla="*/ 139 w 486"/>
                <a:gd name="T83" fmla="*/ 1 h 505"/>
                <a:gd name="T84" fmla="*/ 70 w 486"/>
                <a:gd name="T85" fmla="*/ 11 h 505"/>
                <a:gd name="T86" fmla="*/ 42 w 486"/>
                <a:gd name="T87" fmla="*/ 21 h 505"/>
                <a:gd name="T88" fmla="*/ 24 w 486"/>
                <a:gd name="T89" fmla="*/ 37 h 505"/>
                <a:gd name="T90" fmla="*/ 20 w 486"/>
                <a:gd name="T91" fmla="*/ 64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dirty="0"/>
            </a:p>
          </p:txBody>
        </p:sp>
        <p:sp>
          <p:nvSpPr>
            <p:cNvPr id="125" name="Freeform 195">
              <a:extLst>
                <a:ext uri="{FF2B5EF4-FFF2-40B4-BE49-F238E27FC236}">
                  <a16:creationId xmlns:a16="http://schemas.microsoft.com/office/drawing/2014/main" id="{1B2B1FE7-8B32-43CE-A51E-4AD738019ED7}"/>
                </a:ext>
              </a:extLst>
            </p:cNvPr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4179889" y="3487739"/>
              <a:ext cx="73025" cy="109537"/>
            </a:xfrm>
            <a:custGeom>
              <a:avLst/>
              <a:gdLst>
                <a:gd name="T0" fmla="*/ 7 w 166"/>
                <a:gd name="T1" fmla="*/ 183 h 208"/>
                <a:gd name="T2" fmla="*/ 79 w 166"/>
                <a:gd name="T3" fmla="*/ 208 h 208"/>
                <a:gd name="T4" fmla="*/ 85 w 166"/>
                <a:gd name="T5" fmla="*/ 207 h 208"/>
                <a:gd name="T6" fmla="*/ 90 w 166"/>
                <a:gd name="T7" fmla="*/ 204 h 208"/>
                <a:gd name="T8" fmla="*/ 97 w 166"/>
                <a:gd name="T9" fmla="*/ 198 h 208"/>
                <a:gd name="T10" fmla="*/ 104 w 166"/>
                <a:gd name="T11" fmla="*/ 192 h 208"/>
                <a:gd name="T12" fmla="*/ 117 w 166"/>
                <a:gd name="T13" fmla="*/ 176 h 208"/>
                <a:gd name="T14" fmla="*/ 130 w 166"/>
                <a:gd name="T15" fmla="*/ 158 h 208"/>
                <a:gd name="T16" fmla="*/ 154 w 166"/>
                <a:gd name="T17" fmla="*/ 122 h 208"/>
                <a:gd name="T18" fmla="*/ 166 w 166"/>
                <a:gd name="T19" fmla="*/ 103 h 208"/>
                <a:gd name="T20" fmla="*/ 144 w 166"/>
                <a:gd name="T21" fmla="*/ 94 h 208"/>
                <a:gd name="T22" fmla="*/ 126 w 166"/>
                <a:gd name="T23" fmla="*/ 84 h 208"/>
                <a:gd name="T24" fmla="*/ 108 w 166"/>
                <a:gd name="T25" fmla="*/ 74 h 208"/>
                <a:gd name="T26" fmla="*/ 93 w 166"/>
                <a:gd name="T27" fmla="*/ 64 h 208"/>
                <a:gd name="T28" fmla="*/ 86 w 166"/>
                <a:gd name="T29" fmla="*/ 58 h 208"/>
                <a:gd name="T30" fmla="*/ 81 w 166"/>
                <a:gd name="T31" fmla="*/ 53 h 208"/>
                <a:gd name="T32" fmla="*/ 75 w 166"/>
                <a:gd name="T33" fmla="*/ 47 h 208"/>
                <a:gd name="T34" fmla="*/ 71 w 166"/>
                <a:gd name="T35" fmla="*/ 40 h 208"/>
                <a:gd name="T36" fmla="*/ 67 w 166"/>
                <a:gd name="T37" fmla="*/ 33 h 208"/>
                <a:gd name="T38" fmla="*/ 64 w 166"/>
                <a:gd name="T39" fmla="*/ 26 h 208"/>
                <a:gd name="T40" fmla="*/ 62 w 166"/>
                <a:gd name="T41" fmla="*/ 18 h 208"/>
                <a:gd name="T42" fmla="*/ 60 w 166"/>
                <a:gd name="T43" fmla="*/ 11 h 208"/>
                <a:gd name="T44" fmla="*/ 50 w 166"/>
                <a:gd name="T45" fmla="*/ 10 h 208"/>
                <a:gd name="T46" fmla="*/ 43 w 166"/>
                <a:gd name="T47" fmla="*/ 8 h 208"/>
                <a:gd name="T48" fmla="*/ 40 w 166"/>
                <a:gd name="T49" fmla="*/ 5 h 208"/>
                <a:gd name="T50" fmla="*/ 39 w 166"/>
                <a:gd name="T51" fmla="*/ 3 h 208"/>
                <a:gd name="T52" fmla="*/ 38 w 166"/>
                <a:gd name="T53" fmla="*/ 1 h 208"/>
                <a:gd name="T54" fmla="*/ 36 w 166"/>
                <a:gd name="T55" fmla="*/ 0 h 208"/>
                <a:gd name="T56" fmla="*/ 32 w 166"/>
                <a:gd name="T57" fmla="*/ 1 h 208"/>
                <a:gd name="T58" fmla="*/ 27 w 166"/>
                <a:gd name="T59" fmla="*/ 5 h 208"/>
                <a:gd name="T60" fmla="*/ 20 w 166"/>
                <a:gd name="T61" fmla="*/ 11 h 208"/>
                <a:gd name="T62" fmla="*/ 11 w 166"/>
                <a:gd name="T63" fmla="*/ 22 h 208"/>
                <a:gd name="T64" fmla="*/ 7 w 166"/>
                <a:gd name="T65" fmla="*/ 29 h 208"/>
                <a:gd name="T66" fmla="*/ 4 w 166"/>
                <a:gd name="T67" fmla="*/ 37 h 208"/>
                <a:gd name="T68" fmla="*/ 2 w 166"/>
                <a:gd name="T69" fmla="*/ 45 h 208"/>
                <a:gd name="T70" fmla="*/ 0 w 166"/>
                <a:gd name="T71" fmla="*/ 54 h 208"/>
                <a:gd name="T72" fmla="*/ 0 w 166"/>
                <a:gd name="T73" fmla="*/ 60 h 208"/>
                <a:gd name="T74" fmla="*/ 2 w 166"/>
                <a:gd name="T75" fmla="*/ 65 h 208"/>
                <a:gd name="T76" fmla="*/ 3 w 166"/>
                <a:gd name="T77" fmla="*/ 70 h 208"/>
                <a:gd name="T78" fmla="*/ 5 w 166"/>
                <a:gd name="T79" fmla="*/ 76 h 208"/>
                <a:gd name="T80" fmla="*/ 10 w 166"/>
                <a:gd name="T81" fmla="*/ 86 h 208"/>
                <a:gd name="T82" fmla="*/ 17 w 166"/>
                <a:gd name="T83" fmla="*/ 98 h 208"/>
                <a:gd name="T84" fmla="*/ 22 w 166"/>
                <a:gd name="T85" fmla="*/ 109 h 208"/>
                <a:gd name="T86" fmla="*/ 28 w 166"/>
                <a:gd name="T87" fmla="*/ 120 h 208"/>
                <a:gd name="T88" fmla="*/ 30 w 166"/>
                <a:gd name="T89" fmla="*/ 126 h 208"/>
                <a:gd name="T90" fmla="*/ 32 w 166"/>
                <a:gd name="T91" fmla="*/ 133 h 208"/>
                <a:gd name="T92" fmla="*/ 33 w 166"/>
                <a:gd name="T93" fmla="*/ 139 h 208"/>
                <a:gd name="T94" fmla="*/ 33 w 166"/>
                <a:gd name="T95" fmla="*/ 147 h 208"/>
                <a:gd name="T96" fmla="*/ 32 w 166"/>
                <a:gd name="T97" fmla="*/ 153 h 208"/>
                <a:gd name="T98" fmla="*/ 31 w 166"/>
                <a:gd name="T99" fmla="*/ 159 h 208"/>
                <a:gd name="T100" fmla="*/ 28 w 166"/>
                <a:gd name="T101" fmla="*/ 165 h 208"/>
                <a:gd name="T102" fmla="*/ 25 w 166"/>
                <a:gd name="T103" fmla="*/ 169 h 208"/>
                <a:gd name="T104" fmla="*/ 21 w 166"/>
                <a:gd name="T105" fmla="*/ 174 h 208"/>
                <a:gd name="T106" fmla="*/ 17 w 166"/>
                <a:gd name="T107" fmla="*/ 177 h 208"/>
                <a:gd name="T108" fmla="*/ 11 w 166"/>
                <a:gd name="T109" fmla="*/ 180 h 208"/>
                <a:gd name="T110" fmla="*/ 7 w 166"/>
                <a:gd name="T111" fmla="*/ 183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6" name="Freeform 196">
              <a:extLst>
                <a:ext uri="{FF2B5EF4-FFF2-40B4-BE49-F238E27FC236}">
                  <a16:creationId xmlns:a16="http://schemas.microsoft.com/office/drawing/2014/main" id="{951DB670-C542-4CA0-AA4A-060B5A420800}"/>
                </a:ext>
              </a:extLst>
            </p:cNvPr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3694113" y="3046414"/>
              <a:ext cx="69850" cy="58737"/>
            </a:xfrm>
            <a:custGeom>
              <a:avLst/>
              <a:gdLst>
                <a:gd name="T0" fmla="*/ 153 w 164"/>
                <a:gd name="T1" fmla="*/ 104 h 104"/>
                <a:gd name="T2" fmla="*/ 134 w 164"/>
                <a:gd name="T3" fmla="*/ 102 h 104"/>
                <a:gd name="T4" fmla="*/ 110 w 164"/>
                <a:gd name="T5" fmla="*/ 97 h 104"/>
                <a:gd name="T6" fmla="*/ 96 w 164"/>
                <a:gd name="T7" fmla="*/ 94 h 104"/>
                <a:gd name="T8" fmla="*/ 80 w 164"/>
                <a:gd name="T9" fmla="*/ 93 h 104"/>
                <a:gd name="T10" fmla="*/ 73 w 164"/>
                <a:gd name="T11" fmla="*/ 93 h 104"/>
                <a:gd name="T12" fmla="*/ 64 w 164"/>
                <a:gd name="T13" fmla="*/ 94 h 104"/>
                <a:gd name="T14" fmla="*/ 55 w 164"/>
                <a:gd name="T15" fmla="*/ 96 h 104"/>
                <a:gd name="T16" fmla="*/ 47 w 164"/>
                <a:gd name="T17" fmla="*/ 98 h 104"/>
                <a:gd name="T18" fmla="*/ 41 w 164"/>
                <a:gd name="T19" fmla="*/ 100 h 104"/>
                <a:gd name="T20" fmla="*/ 34 w 164"/>
                <a:gd name="T21" fmla="*/ 100 h 104"/>
                <a:gd name="T22" fmla="*/ 27 w 164"/>
                <a:gd name="T23" fmla="*/ 99 h 104"/>
                <a:gd name="T24" fmla="*/ 19 w 164"/>
                <a:gd name="T25" fmla="*/ 96 h 104"/>
                <a:gd name="T26" fmla="*/ 11 w 164"/>
                <a:gd name="T27" fmla="*/ 92 h 104"/>
                <a:gd name="T28" fmla="*/ 6 w 164"/>
                <a:gd name="T29" fmla="*/ 88 h 104"/>
                <a:gd name="T30" fmla="*/ 3 w 164"/>
                <a:gd name="T31" fmla="*/ 86 h 104"/>
                <a:gd name="T32" fmla="*/ 1 w 164"/>
                <a:gd name="T33" fmla="*/ 84 h 104"/>
                <a:gd name="T34" fmla="*/ 0 w 164"/>
                <a:gd name="T35" fmla="*/ 81 h 104"/>
                <a:gd name="T36" fmla="*/ 0 w 164"/>
                <a:gd name="T37" fmla="*/ 79 h 104"/>
                <a:gd name="T38" fmla="*/ 0 w 164"/>
                <a:gd name="T39" fmla="*/ 76 h 104"/>
                <a:gd name="T40" fmla="*/ 1 w 164"/>
                <a:gd name="T41" fmla="*/ 74 h 104"/>
                <a:gd name="T42" fmla="*/ 3 w 164"/>
                <a:gd name="T43" fmla="*/ 71 h 104"/>
                <a:gd name="T44" fmla="*/ 6 w 164"/>
                <a:gd name="T45" fmla="*/ 70 h 104"/>
                <a:gd name="T46" fmla="*/ 12 w 164"/>
                <a:gd name="T47" fmla="*/ 67 h 104"/>
                <a:gd name="T48" fmla="*/ 20 w 164"/>
                <a:gd name="T49" fmla="*/ 66 h 104"/>
                <a:gd name="T50" fmla="*/ 40 w 164"/>
                <a:gd name="T51" fmla="*/ 66 h 104"/>
                <a:gd name="T52" fmla="*/ 61 w 164"/>
                <a:gd name="T53" fmla="*/ 67 h 104"/>
                <a:gd name="T54" fmla="*/ 70 w 164"/>
                <a:gd name="T55" fmla="*/ 67 h 104"/>
                <a:gd name="T56" fmla="*/ 79 w 164"/>
                <a:gd name="T57" fmla="*/ 67 h 104"/>
                <a:gd name="T58" fmla="*/ 87 w 164"/>
                <a:gd name="T59" fmla="*/ 67 h 104"/>
                <a:gd name="T60" fmla="*/ 94 w 164"/>
                <a:gd name="T61" fmla="*/ 67 h 104"/>
                <a:gd name="T62" fmla="*/ 94 w 164"/>
                <a:gd name="T63" fmla="*/ 56 h 104"/>
                <a:gd name="T64" fmla="*/ 94 w 164"/>
                <a:gd name="T65" fmla="*/ 43 h 104"/>
                <a:gd name="T66" fmla="*/ 94 w 164"/>
                <a:gd name="T67" fmla="*/ 29 h 104"/>
                <a:gd name="T68" fmla="*/ 94 w 164"/>
                <a:gd name="T69" fmla="*/ 18 h 104"/>
                <a:gd name="T70" fmla="*/ 79 w 164"/>
                <a:gd name="T71" fmla="*/ 17 h 104"/>
                <a:gd name="T72" fmla="*/ 67 w 164"/>
                <a:gd name="T73" fmla="*/ 15 h 104"/>
                <a:gd name="T74" fmla="*/ 62 w 164"/>
                <a:gd name="T75" fmla="*/ 13 h 104"/>
                <a:gd name="T76" fmla="*/ 57 w 164"/>
                <a:gd name="T77" fmla="*/ 10 h 104"/>
                <a:gd name="T78" fmla="*/ 52 w 164"/>
                <a:gd name="T79" fmla="*/ 6 h 104"/>
                <a:gd name="T80" fmla="*/ 47 w 164"/>
                <a:gd name="T81" fmla="*/ 0 h 104"/>
                <a:gd name="T82" fmla="*/ 146 w 164"/>
                <a:gd name="T83" fmla="*/ 0 h 104"/>
                <a:gd name="T84" fmla="*/ 147 w 164"/>
                <a:gd name="T85" fmla="*/ 6 h 104"/>
                <a:gd name="T86" fmla="*/ 148 w 164"/>
                <a:gd name="T87" fmla="*/ 13 h 104"/>
                <a:gd name="T88" fmla="*/ 150 w 164"/>
                <a:gd name="T89" fmla="*/ 19 h 104"/>
                <a:gd name="T90" fmla="*/ 152 w 164"/>
                <a:gd name="T91" fmla="*/ 25 h 104"/>
                <a:gd name="T92" fmla="*/ 156 w 164"/>
                <a:gd name="T93" fmla="*/ 35 h 104"/>
                <a:gd name="T94" fmla="*/ 159 w 164"/>
                <a:gd name="T95" fmla="*/ 46 h 104"/>
                <a:gd name="T96" fmla="*/ 163 w 164"/>
                <a:gd name="T97" fmla="*/ 54 h 104"/>
                <a:gd name="T98" fmla="*/ 164 w 164"/>
                <a:gd name="T99" fmla="*/ 62 h 104"/>
                <a:gd name="T100" fmla="*/ 163 w 164"/>
                <a:gd name="T101" fmla="*/ 65 h 104"/>
                <a:gd name="T102" fmla="*/ 160 w 164"/>
                <a:gd name="T103" fmla="*/ 68 h 104"/>
                <a:gd name="T104" fmla="*/ 157 w 164"/>
                <a:gd name="T105" fmla="*/ 71 h 104"/>
                <a:gd name="T106" fmla="*/ 153 w 164"/>
                <a:gd name="T107" fmla="*/ 73 h 104"/>
                <a:gd name="T108" fmla="*/ 153 w 164"/>
                <a:gd name="T109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7" name="Freeform 197">
              <a:extLst>
                <a:ext uri="{FF2B5EF4-FFF2-40B4-BE49-F238E27FC236}">
                  <a16:creationId xmlns:a16="http://schemas.microsoft.com/office/drawing/2014/main" id="{A8937A7C-DF31-4E47-AB43-F1D66A925833}"/>
                </a:ext>
              </a:extLst>
            </p:cNvPr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4060826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8" name="Freeform 198">
              <a:extLst>
                <a:ext uri="{FF2B5EF4-FFF2-40B4-BE49-F238E27FC236}">
                  <a16:creationId xmlns:a16="http://schemas.microsoft.com/office/drawing/2014/main" id="{69F02592-23B5-4AD9-9F43-FA7DE1DF2A2D}"/>
                </a:ext>
              </a:extLst>
            </p:cNvPr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4025901" y="5380039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1 w 80"/>
                <a:gd name="T3" fmla="*/ 6 h 18"/>
                <a:gd name="T4" fmla="*/ 5 w 80"/>
                <a:gd name="T5" fmla="*/ 12 h 18"/>
                <a:gd name="T6" fmla="*/ 8 w 80"/>
                <a:gd name="T7" fmla="*/ 14 h 18"/>
                <a:gd name="T8" fmla="*/ 11 w 80"/>
                <a:gd name="T9" fmla="*/ 16 h 18"/>
                <a:gd name="T10" fmla="*/ 15 w 80"/>
                <a:gd name="T11" fmla="*/ 18 h 18"/>
                <a:gd name="T12" fmla="*/ 20 w 80"/>
                <a:gd name="T13" fmla="*/ 18 h 18"/>
                <a:gd name="T14" fmla="*/ 22 w 80"/>
                <a:gd name="T15" fmla="*/ 15 h 18"/>
                <a:gd name="T16" fmla="*/ 24 w 80"/>
                <a:gd name="T17" fmla="*/ 13 h 18"/>
                <a:gd name="T18" fmla="*/ 26 w 80"/>
                <a:gd name="T19" fmla="*/ 11 h 18"/>
                <a:gd name="T20" fmla="*/ 31 w 80"/>
                <a:gd name="T21" fmla="*/ 10 h 18"/>
                <a:gd name="T22" fmla="*/ 38 w 80"/>
                <a:gd name="T23" fmla="*/ 8 h 18"/>
                <a:gd name="T24" fmla="*/ 47 w 80"/>
                <a:gd name="T25" fmla="*/ 7 h 18"/>
                <a:gd name="T26" fmla="*/ 57 w 80"/>
                <a:gd name="T27" fmla="*/ 7 h 18"/>
                <a:gd name="T28" fmla="*/ 66 w 80"/>
                <a:gd name="T29" fmla="*/ 6 h 18"/>
                <a:gd name="T30" fmla="*/ 70 w 80"/>
                <a:gd name="T31" fmla="*/ 5 h 18"/>
                <a:gd name="T32" fmla="*/ 74 w 80"/>
                <a:gd name="T33" fmla="*/ 4 h 18"/>
                <a:gd name="T34" fmla="*/ 77 w 80"/>
                <a:gd name="T35" fmla="*/ 2 h 18"/>
                <a:gd name="T36" fmla="*/ 80 w 80"/>
                <a:gd name="T37" fmla="*/ 0 h 18"/>
                <a:gd name="T38" fmla="*/ 0 w 80"/>
                <a:gd name="T3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29" name="Freeform 199">
              <a:extLst>
                <a:ext uri="{FF2B5EF4-FFF2-40B4-BE49-F238E27FC236}">
                  <a16:creationId xmlns:a16="http://schemas.microsoft.com/office/drawing/2014/main" id="{DA48FC8F-6DDF-4831-BE5F-069CF49203D5}"/>
                </a:ext>
              </a:extLst>
            </p:cNvPr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4025901" y="5359401"/>
              <a:ext cx="22225" cy="60325"/>
            </a:xfrm>
            <a:custGeom>
              <a:avLst/>
              <a:gdLst>
                <a:gd name="T0" fmla="*/ 20 w 46"/>
                <a:gd name="T1" fmla="*/ 0 h 27"/>
                <a:gd name="T2" fmla="*/ 0 w 46"/>
                <a:gd name="T3" fmla="*/ 18 h 27"/>
                <a:gd name="T4" fmla="*/ 9 w 46"/>
                <a:gd name="T5" fmla="*/ 22 h 27"/>
                <a:gd name="T6" fmla="*/ 16 w 46"/>
                <a:gd name="T7" fmla="*/ 25 h 27"/>
                <a:gd name="T8" fmla="*/ 23 w 46"/>
                <a:gd name="T9" fmla="*/ 27 h 27"/>
                <a:gd name="T10" fmla="*/ 29 w 46"/>
                <a:gd name="T11" fmla="*/ 27 h 27"/>
                <a:gd name="T12" fmla="*/ 33 w 46"/>
                <a:gd name="T13" fmla="*/ 27 h 27"/>
                <a:gd name="T14" fmla="*/ 37 w 46"/>
                <a:gd name="T15" fmla="*/ 25 h 27"/>
                <a:gd name="T16" fmla="*/ 42 w 46"/>
                <a:gd name="T17" fmla="*/ 22 h 27"/>
                <a:gd name="T18" fmla="*/ 46 w 46"/>
                <a:gd name="T19" fmla="*/ 18 h 27"/>
                <a:gd name="T20" fmla="*/ 41 w 46"/>
                <a:gd name="T21" fmla="*/ 16 h 27"/>
                <a:gd name="T22" fmla="*/ 33 w 46"/>
                <a:gd name="T23" fmla="*/ 11 h 27"/>
                <a:gd name="T24" fmla="*/ 26 w 46"/>
                <a:gd name="T25" fmla="*/ 5 h 27"/>
                <a:gd name="T26" fmla="*/ 20 w 46"/>
                <a:gd name="T2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0" name="Freeform 200">
              <a:extLst>
                <a:ext uri="{FF2B5EF4-FFF2-40B4-BE49-F238E27FC236}">
                  <a16:creationId xmlns:a16="http://schemas.microsoft.com/office/drawing/2014/main" id="{EDDB7699-A8E2-4EC9-BD66-3C40AD88D940}"/>
                </a:ext>
              </a:extLst>
            </p:cNvPr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3995738" y="5353051"/>
              <a:ext cx="25400" cy="60325"/>
            </a:xfrm>
            <a:custGeom>
              <a:avLst/>
              <a:gdLst>
                <a:gd name="T0" fmla="*/ 34 w 54"/>
                <a:gd name="T1" fmla="*/ 0 h 39"/>
                <a:gd name="T2" fmla="*/ 20 w 54"/>
                <a:gd name="T3" fmla="*/ 4 h 39"/>
                <a:gd name="T4" fmla="*/ 10 w 54"/>
                <a:gd name="T5" fmla="*/ 10 h 39"/>
                <a:gd name="T6" fmla="*/ 6 w 54"/>
                <a:gd name="T7" fmla="*/ 13 h 39"/>
                <a:gd name="T8" fmla="*/ 4 w 54"/>
                <a:gd name="T9" fmla="*/ 16 h 39"/>
                <a:gd name="T10" fmla="*/ 2 w 54"/>
                <a:gd name="T11" fmla="*/ 20 h 39"/>
                <a:gd name="T12" fmla="*/ 0 w 54"/>
                <a:gd name="T13" fmla="*/ 24 h 39"/>
                <a:gd name="T14" fmla="*/ 2 w 54"/>
                <a:gd name="T15" fmla="*/ 28 h 39"/>
                <a:gd name="T16" fmla="*/ 3 w 54"/>
                <a:gd name="T17" fmla="*/ 32 h 39"/>
                <a:gd name="T18" fmla="*/ 5 w 54"/>
                <a:gd name="T19" fmla="*/ 35 h 39"/>
                <a:gd name="T20" fmla="*/ 8 w 54"/>
                <a:gd name="T21" fmla="*/ 37 h 39"/>
                <a:gd name="T22" fmla="*/ 11 w 54"/>
                <a:gd name="T23" fmla="*/ 38 h 39"/>
                <a:gd name="T24" fmla="*/ 16 w 54"/>
                <a:gd name="T25" fmla="*/ 39 h 39"/>
                <a:gd name="T26" fmla="*/ 20 w 54"/>
                <a:gd name="T27" fmla="*/ 39 h 39"/>
                <a:gd name="T28" fmla="*/ 25 w 54"/>
                <a:gd name="T29" fmla="*/ 39 h 39"/>
                <a:gd name="T30" fmla="*/ 30 w 54"/>
                <a:gd name="T31" fmla="*/ 38 h 39"/>
                <a:gd name="T32" fmla="*/ 34 w 54"/>
                <a:gd name="T33" fmla="*/ 37 h 39"/>
                <a:gd name="T34" fmla="*/ 39 w 54"/>
                <a:gd name="T35" fmla="*/ 35 h 39"/>
                <a:gd name="T36" fmla="*/ 43 w 54"/>
                <a:gd name="T37" fmla="*/ 33 h 39"/>
                <a:gd name="T38" fmla="*/ 47 w 54"/>
                <a:gd name="T39" fmla="*/ 30 h 39"/>
                <a:gd name="T40" fmla="*/ 50 w 54"/>
                <a:gd name="T41" fmla="*/ 26 h 39"/>
                <a:gd name="T42" fmla="*/ 52 w 54"/>
                <a:gd name="T43" fmla="*/ 22 h 39"/>
                <a:gd name="T44" fmla="*/ 54 w 54"/>
                <a:gd name="T45" fmla="*/ 18 h 39"/>
                <a:gd name="T46" fmla="*/ 51 w 54"/>
                <a:gd name="T47" fmla="*/ 17 h 39"/>
                <a:gd name="T48" fmla="*/ 48 w 54"/>
                <a:gd name="T49" fmla="*/ 16 h 39"/>
                <a:gd name="T50" fmla="*/ 44 w 54"/>
                <a:gd name="T51" fmla="*/ 14 h 39"/>
                <a:gd name="T52" fmla="*/ 42 w 54"/>
                <a:gd name="T53" fmla="*/ 11 h 39"/>
                <a:gd name="T54" fmla="*/ 39 w 54"/>
                <a:gd name="T55" fmla="*/ 8 h 39"/>
                <a:gd name="T56" fmla="*/ 37 w 54"/>
                <a:gd name="T57" fmla="*/ 5 h 39"/>
                <a:gd name="T58" fmla="*/ 34 w 54"/>
                <a:gd name="T59" fmla="*/ 2 h 39"/>
                <a:gd name="T60" fmla="*/ 34 w 54"/>
                <a:gd name="T61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1" name="Freeform 201">
              <a:extLst>
                <a:ext uri="{FF2B5EF4-FFF2-40B4-BE49-F238E27FC236}">
                  <a16:creationId xmlns:a16="http://schemas.microsoft.com/office/drawing/2014/main" id="{DF7C7CE0-A71F-4B92-9302-A2A3F1014C90}"/>
                </a:ext>
              </a:extLst>
            </p:cNvPr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3970339" y="5343525"/>
              <a:ext cx="28575" cy="58738"/>
            </a:xfrm>
            <a:custGeom>
              <a:avLst/>
              <a:gdLst>
                <a:gd name="T0" fmla="*/ 0 w 60"/>
                <a:gd name="T1" fmla="*/ 11 h 15"/>
                <a:gd name="T2" fmla="*/ 10 w 60"/>
                <a:gd name="T3" fmla="*/ 13 h 15"/>
                <a:gd name="T4" fmla="*/ 18 w 60"/>
                <a:gd name="T5" fmla="*/ 14 h 15"/>
                <a:gd name="T6" fmla="*/ 27 w 60"/>
                <a:gd name="T7" fmla="*/ 15 h 15"/>
                <a:gd name="T8" fmla="*/ 35 w 60"/>
                <a:gd name="T9" fmla="*/ 15 h 15"/>
                <a:gd name="T10" fmla="*/ 41 w 60"/>
                <a:gd name="T11" fmla="*/ 14 h 15"/>
                <a:gd name="T12" fmla="*/ 48 w 60"/>
                <a:gd name="T13" fmla="*/ 12 h 15"/>
                <a:gd name="T14" fmla="*/ 55 w 60"/>
                <a:gd name="T15" fmla="*/ 9 h 15"/>
                <a:gd name="T16" fmla="*/ 60 w 60"/>
                <a:gd name="T17" fmla="*/ 5 h 15"/>
                <a:gd name="T18" fmla="*/ 57 w 60"/>
                <a:gd name="T19" fmla="*/ 3 h 15"/>
                <a:gd name="T20" fmla="*/ 54 w 60"/>
                <a:gd name="T21" fmla="*/ 0 h 15"/>
                <a:gd name="T22" fmla="*/ 51 w 60"/>
                <a:gd name="T23" fmla="*/ 0 h 15"/>
                <a:gd name="T24" fmla="*/ 47 w 60"/>
                <a:gd name="T25" fmla="*/ 0 h 15"/>
                <a:gd name="T26" fmla="*/ 40 w 60"/>
                <a:gd name="T27" fmla="*/ 0 h 15"/>
                <a:gd name="T28" fmla="*/ 33 w 60"/>
                <a:gd name="T29" fmla="*/ 3 h 15"/>
                <a:gd name="T30" fmla="*/ 24 w 60"/>
                <a:gd name="T31" fmla="*/ 6 h 15"/>
                <a:gd name="T32" fmla="*/ 16 w 60"/>
                <a:gd name="T33" fmla="*/ 8 h 15"/>
                <a:gd name="T34" fmla="*/ 7 w 60"/>
                <a:gd name="T35" fmla="*/ 10 h 15"/>
                <a:gd name="T36" fmla="*/ 0 w 60"/>
                <a:gd name="T37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2" name="Freeform 202">
              <a:extLst>
                <a:ext uri="{FF2B5EF4-FFF2-40B4-BE49-F238E27FC236}">
                  <a16:creationId xmlns:a16="http://schemas.microsoft.com/office/drawing/2014/main" id="{919D902E-8A48-4868-B6D4-274F6EE23756}"/>
                </a:ext>
              </a:extLst>
            </p:cNvPr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3946525" y="5330825"/>
              <a:ext cx="33338" cy="57150"/>
            </a:xfrm>
            <a:custGeom>
              <a:avLst/>
              <a:gdLst>
                <a:gd name="T0" fmla="*/ 40 w 79"/>
                <a:gd name="T1" fmla="*/ 0 h 32"/>
                <a:gd name="T2" fmla="*/ 34 w 79"/>
                <a:gd name="T3" fmla="*/ 1 h 32"/>
                <a:gd name="T4" fmla="*/ 30 w 79"/>
                <a:gd name="T5" fmla="*/ 2 h 32"/>
                <a:gd name="T6" fmla="*/ 25 w 79"/>
                <a:gd name="T7" fmla="*/ 4 h 32"/>
                <a:gd name="T8" fmla="*/ 20 w 79"/>
                <a:gd name="T9" fmla="*/ 6 h 32"/>
                <a:gd name="T10" fmla="*/ 15 w 79"/>
                <a:gd name="T11" fmla="*/ 9 h 32"/>
                <a:gd name="T12" fmla="*/ 10 w 79"/>
                <a:gd name="T13" fmla="*/ 11 h 32"/>
                <a:gd name="T14" fmla="*/ 5 w 79"/>
                <a:gd name="T15" fmla="*/ 12 h 32"/>
                <a:gd name="T16" fmla="*/ 0 w 79"/>
                <a:gd name="T17" fmla="*/ 13 h 32"/>
                <a:gd name="T18" fmla="*/ 5 w 79"/>
                <a:gd name="T19" fmla="*/ 21 h 32"/>
                <a:gd name="T20" fmla="*/ 10 w 79"/>
                <a:gd name="T21" fmla="*/ 26 h 32"/>
                <a:gd name="T22" fmla="*/ 12 w 79"/>
                <a:gd name="T23" fmla="*/ 29 h 32"/>
                <a:gd name="T24" fmla="*/ 15 w 79"/>
                <a:gd name="T25" fmla="*/ 31 h 32"/>
                <a:gd name="T26" fmla="*/ 18 w 79"/>
                <a:gd name="T27" fmla="*/ 31 h 32"/>
                <a:gd name="T28" fmla="*/ 20 w 79"/>
                <a:gd name="T29" fmla="*/ 32 h 32"/>
                <a:gd name="T30" fmla="*/ 27 w 79"/>
                <a:gd name="T31" fmla="*/ 31 h 32"/>
                <a:gd name="T32" fmla="*/ 34 w 79"/>
                <a:gd name="T33" fmla="*/ 30 h 32"/>
                <a:gd name="T34" fmla="*/ 41 w 79"/>
                <a:gd name="T35" fmla="*/ 27 h 32"/>
                <a:gd name="T36" fmla="*/ 48 w 79"/>
                <a:gd name="T37" fmla="*/ 24 h 32"/>
                <a:gd name="T38" fmla="*/ 62 w 79"/>
                <a:gd name="T39" fmla="*/ 18 h 32"/>
                <a:gd name="T40" fmla="*/ 79 w 79"/>
                <a:gd name="T41" fmla="*/ 13 h 32"/>
                <a:gd name="T42" fmla="*/ 67 w 79"/>
                <a:gd name="T43" fmla="*/ 6 h 32"/>
                <a:gd name="T44" fmla="*/ 58 w 79"/>
                <a:gd name="T45" fmla="*/ 2 h 32"/>
                <a:gd name="T46" fmla="*/ 49 w 79"/>
                <a:gd name="T47" fmla="*/ 1 h 32"/>
                <a:gd name="T48" fmla="*/ 40 w 79"/>
                <a:gd name="T49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3" name="Freeform 203">
              <a:extLst>
                <a:ext uri="{FF2B5EF4-FFF2-40B4-BE49-F238E27FC236}">
                  <a16:creationId xmlns:a16="http://schemas.microsoft.com/office/drawing/2014/main" id="{E7F61D5D-E5F4-4C60-A977-0C3F562CD42C}"/>
                </a:ext>
              </a:extLst>
            </p:cNvPr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3940176" y="5311775"/>
              <a:ext cx="30163" cy="57150"/>
            </a:xfrm>
            <a:custGeom>
              <a:avLst/>
              <a:gdLst>
                <a:gd name="T0" fmla="*/ 33 w 66"/>
                <a:gd name="T1" fmla="*/ 0 h 19"/>
                <a:gd name="T2" fmla="*/ 25 w 66"/>
                <a:gd name="T3" fmla="*/ 1 h 19"/>
                <a:gd name="T4" fmla="*/ 19 w 66"/>
                <a:gd name="T5" fmla="*/ 2 h 19"/>
                <a:gd name="T6" fmla="*/ 13 w 66"/>
                <a:gd name="T7" fmla="*/ 4 h 19"/>
                <a:gd name="T8" fmla="*/ 9 w 66"/>
                <a:gd name="T9" fmla="*/ 7 h 19"/>
                <a:gd name="T10" fmla="*/ 5 w 66"/>
                <a:gd name="T11" fmla="*/ 11 h 19"/>
                <a:gd name="T12" fmla="*/ 2 w 66"/>
                <a:gd name="T13" fmla="*/ 14 h 19"/>
                <a:gd name="T14" fmla="*/ 0 w 66"/>
                <a:gd name="T15" fmla="*/ 17 h 19"/>
                <a:gd name="T16" fmla="*/ 0 w 66"/>
                <a:gd name="T17" fmla="*/ 19 h 19"/>
                <a:gd name="T18" fmla="*/ 19 w 66"/>
                <a:gd name="T19" fmla="*/ 19 h 19"/>
                <a:gd name="T20" fmla="*/ 38 w 66"/>
                <a:gd name="T21" fmla="*/ 19 h 19"/>
                <a:gd name="T22" fmla="*/ 46 w 66"/>
                <a:gd name="T23" fmla="*/ 18 h 19"/>
                <a:gd name="T24" fmla="*/ 54 w 66"/>
                <a:gd name="T25" fmla="*/ 17 h 19"/>
                <a:gd name="T26" fmla="*/ 61 w 66"/>
                <a:gd name="T27" fmla="*/ 15 h 19"/>
                <a:gd name="T28" fmla="*/ 66 w 66"/>
                <a:gd name="T29" fmla="*/ 13 h 19"/>
                <a:gd name="T30" fmla="*/ 57 w 66"/>
                <a:gd name="T31" fmla="*/ 8 h 19"/>
                <a:gd name="T32" fmla="*/ 50 w 66"/>
                <a:gd name="T33" fmla="*/ 4 h 19"/>
                <a:gd name="T34" fmla="*/ 42 w 66"/>
                <a:gd name="T35" fmla="*/ 1 h 19"/>
                <a:gd name="T36" fmla="*/ 33 w 66"/>
                <a:gd name="T3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4" name="Freeform 204">
              <a:extLst>
                <a:ext uri="{FF2B5EF4-FFF2-40B4-BE49-F238E27FC236}">
                  <a16:creationId xmlns:a16="http://schemas.microsoft.com/office/drawing/2014/main" id="{5A5A864C-EC05-46E6-8860-92C7C461778F}"/>
                </a:ext>
              </a:extLst>
            </p:cNvPr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3840163" y="5002214"/>
              <a:ext cx="25400" cy="60325"/>
            </a:xfrm>
            <a:custGeom>
              <a:avLst/>
              <a:gdLst>
                <a:gd name="T0" fmla="*/ 13 w 53"/>
                <a:gd name="T1" fmla="*/ 0 h 80"/>
                <a:gd name="T2" fmla="*/ 8 w 53"/>
                <a:gd name="T3" fmla="*/ 5 h 80"/>
                <a:gd name="T4" fmla="*/ 4 w 53"/>
                <a:gd name="T5" fmla="*/ 10 h 80"/>
                <a:gd name="T6" fmla="*/ 2 w 53"/>
                <a:gd name="T7" fmla="*/ 13 h 80"/>
                <a:gd name="T8" fmla="*/ 1 w 53"/>
                <a:gd name="T9" fmla="*/ 16 h 80"/>
                <a:gd name="T10" fmla="*/ 0 w 53"/>
                <a:gd name="T11" fmla="*/ 20 h 80"/>
                <a:gd name="T12" fmla="*/ 0 w 53"/>
                <a:gd name="T13" fmla="*/ 25 h 80"/>
                <a:gd name="T14" fmla="*/ 0 w 53"/>
                <a:gd name="T15" fmla="*/ 30 h 80"/>
                <a:gd name="T16" fmla="*/ 2 w 53"/>
                <a:gd name="T17" fmla="*/ 39 h 80"/>
                <a:gd name="T18" fmla="*/ 6 w 53"/>
                <a:gd name="T19" fmla="*/ 48 h 80"/>
                <a:gd name="T20" fmla="*/ 9 w 53"/>
                <a:gd name="T21" fmla="*/ 57 h 80"/>
                <a:gd name="T22" fmla="*/ 13 w 53"/>
                <a:gd name="T23" fmla="*/ 66 h 80"/>
                <a:gd name="T24" fmla="*/ 20 w 53"/>
                <a:gd name="T25" fmla="*/ 73 h 80"/>
                <a:gd name="T26" fmla="*/ 22 w 53"/>
                <a:gd name="T27" fmla="*/ 76 h 80"/>
                <a:gd name="T28" fmla="*/ 26 w 53"/>
                <a:gd name="T29" fmla="*/ 78 h 80"/>
                <a:gd name="T30" fmla="*/ 30 w 53"/>
                <a:gd name="T31" fmla="*/ 80 h 80"/>
                <a:gd name="T32" fmla="*/ 33 w 53"/>
                <a:gd name="T33" fmla="*/ 80 h 80"/>
                <a:gd name="T34" fmla="*/ 36 w 53"/>
                <a:gd name="T35" fmla="*/ 79 h 80"/>
                <a:gd name="T36" fmla="*/ 38 w 53"/>
                <a:gd name="T37" fmla="*/ 78 h 80"/>
                <a:gd name="T38" fmla="*/ 42 w 53"/>
                <a:gd name="T39" fmla="*/ 76 h 80"/>
                <a:gd name="T40" fmla="*/ 45 w 53"/>
                <a:gd name="T41" fmla="*/ 73 h 80"/>
                <a:gd name="T42" fmla="*/ 48 w 53"/>
                <a:gd name="T43" fmla="*/ 70 h 80"/>
                <a:gd name="T44" fmla="*/ 51 w 53"/>
                <a:gd name="T45" fmla="*/ 67 h 80"/>
                <a:gd name="T46" fmla="*/ 53 w 53"/>
                <a:gd name="T47" fmla="*/ 64 h 80"/>
                <a:gd name="T48" fmla="*/ 53 w 53"/>
                <a:gd name="T49" fmla="*/ 62 h 80"/>
                <a:gd name="T50" fmla="*/ 52 w 53"/>
                <a:gd name="T51" fmla="*/ 54 h 80"/>
                <a:gd name="T52" fmla="*/ 49 w 53"/>
                <a:gd name="T53" fmla="*/ 47 h 80"/>
                <a:gd name="T54" fmla="*/ 46 w 53"/>
                <a:gd name="T55" fmla="*/ 42 h 80"/>
                <a:gd name="T56" fmla="*/ 43 w 53"/>
                <a:gd name="T57" fmla="*/ 37 h 80"/>
                <a:gd name="T58" fmla="*/ 40 w 53"/>
                <a:gd name="T59" fmla="*/ 32 h 80"/>
                <a:gd name="T60" fmla="*/ 36 w 53"/>
                <a:gd name="T61" fmla="*/ 27 h 80"/>
                <a:gd name="T62" fmla="*/ 34 w 53"/>
                <a:gd name="T63" fmla="*/ 20 h 80"/>
                <a:gd name="T64" fmla="*/ 33 w 53"/>
                <a:gd name="T65" fmla="*/ 12 h 80"/>
                <a:gd name="T66" fmla="*/ 33 w 53"/>
                <a:gd name="T67" fmla="*/ 10 h 80"/>
                <a:gd name="T68" fmla="*/ 31 w 53"/>
                <a:gd name="T69" fmla="*/ 8 h 80"/>
                <a:gd name="T70" fmla="*/ 29 w 53"/>
                <a:gd name="T71" fmla="*/ 6 h 80"/>
                <a:gd name="T72" fmla="*/ 25 w 53"/>
                <a:gd name="T73" fmla="*/ 4 h 80"/>
                <a:gd name="T74" fmla="*/ 19 w 53"/>
                <a:gd name="T75" fmla="*/ 1 h 80"/>
                <a:gd name="T76" fmla="*/ 13 w 53"/>
                <a:gd name="T7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5" name="Freeform 205">
              <a:extLst>
                <a:ext uri="{FF2B5EF4-FFF2-40B4-BE49-F238E27FC236}">
                  <a16:creationId xmlns:a16="http://schemas.microsoft.com/office/drawing/2014/main" id="{3535EC10-FF26-48D6-892D-65A3C739DC1B}"/>
                </a:ext>
              </a:extLst>
            </p:cNvPr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3870326" y="5097464"/>
              <a:ext cx="17463" cy="53975"/>
            </a:xfrm>
            <a:custGeom>
              <a:avLst/>
              <a:gdLst>
                <a:gd name="T0" fmla="*/ 0 w 41"/>
                <a:gd name="T1" fmla="*/ 43 h 43"/>
                <a:gd name="T2" fmla="*/ 27 w 41"/>
                <a:gd name="T3" fmla="*/ 43 h 43"/>
                <a:gd name="T4" fmla="*/ 41 w 41"/>
                <a:gd name="T5" fmla="*/ 24 h 43"/>
                <a:gd name="T6" fmla="*/ 38 w 41"/>
                <a:gd name="T7" fmla="*/ 12 h 43"/>
                <a:gd name="T8" fmla="*/ 34 w 41"/>
                <a:gd name="T9" fmla="*/ 0 h 43"/>
                <a:gd name="T10" fmla="*/ 27 w 41"/>
                <a:gd name="T11" fmla="*/ 4 h 43"/>
                <a:gd name="T12" fmla="*/ 20 w 41"/>
                <a:gd name="T13" fmla="*/ 9 h 43"/>
                <a:gd name="T14" fmla="*/ 15 w 41"/>
                <a:gd name="T15" fmla="*/ 14 h 43"/>
                <a:gd name="T16" fmla="*/ 10 w 41"/>
                <a:gd name="T17" fmla="*/ 19 h 43"/>
                <a:gd name="T18" fmla="*/ 6 w 41"/>
                <a:gd name="T19" fmla="*/ 24 h 43"/>
                <a:gd name="T20" fmla="*/ 3 w 41"/>
                <a:gd name="T21" fmla="*/ 30 h 43"/>
                <a:gd name="T22" fmla="*/ 1 w 41"/>
                <a:gd name="T23" fmla="*/ 37 h 43"/>
                <a:gd name="T24" fmla="*/ 0 w 41"/>
                <a:gd name="T2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6" name="Freeform 206">
              <a:extLst>
                <a:ext uri="{FF2B5EF4-FFF2-40B4-BE49-F238E27FC236}">
                  <a16:creationId xmlns:a16="http://schemas.microsoft.com/office/drawing/2014/main" id="{4443644F-44D9-407A-877B-9F95DDC30253}"/>
                </a:ext>
              </a:extLst>
            </p:cNvPr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3875089" y="5119689"/>
              <a:ext cx="7937" cy="58737"/>
            </a:xfrm>
            <a:custGeom>
              <a:avLst/>
              <a:gdLst>
                <a:gd name="T0" fmla="*/ 20 w 20"/>
                <a:gd name="T1" fmla="*/ 0 h 24"/>
                <a:gd name="T2" fmla="*/ 0 w 20"/>
                <a:gd name="T3" fmla="*/ 0 h 24"/>
                <a:gd name="T4" fmla="*/ 1 w 20"/>
                <a:gd name="T5" fmla="*/ 5 h 24"/>
                <a:gd name="T6" fmla="*/ 2 w 20"/>
                <a:gd name="T7" fmla="*/ 9 h 24"/>
                <a:gd name="T8" fmla="*/ 4 w 20"/>
                <a:gd name="T9" fmla="*/ 13 h 24"/>
                <a:gd name="T10" fmla="*/ 7 w 20"/>
                <a:gd name="T11" fmla="*/ 17 h 24"/>
                <a:gd name="T12" fmla="*/ 10 w 20"/>
                <a:gd name="T13" fmla="*/ 20 h 24"/>
                <a:gd name="T14" fmla="*/ 14 w 20"/>
                <a:gd name="T15" fmla="*/ 22 h 24"/>
                <a:gd name="T16" fmla="*/ 17 w 20"/>
                <a:gd name="T17" fmla="*/ 24 h 24"/>
                <a:gd name="T18" fmla="*/ 20 w 20"/>
                <a:gd name="T19" fmla="*/ 24 h 24"/>
                <a:gd name="T20" fmla="*/ 20 w 20"/>
                <a:gd name="T2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7" name="Freeform 207">
              <a:extLst>
                <a:ext uri="{FF2B5EF4-FFF2-40B4-BE49-F238E27FC236}">
                  <a16:creationId xmlns:a16="http://schemas.microsoft.com/office/drawing/2014/main" id="{3E6B914E-BDF5-4CC9-BBD4-6FBE7254E844}"/>
                </a:ext>
              </a:extLst>
            </p:cNvPr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3889376" y="5181601"/>
              <a:ext cx="17463" cy="60325"/>
            </a:xfrm>
            <a:custGeom>
              <a:avLst/>
              <a:gdLst>
                <a:gd name="T0" fmla="*/ 0 w 39"/>
                <a:gd name="T1" fmla="*/ 12 h 43"/>
                <a:gd name="T2" fmla="*/ 2 w 39"/>
                <a:gd name="T3" fmla="*/ 17 h 43"/>
                <a:gd name="T4" fmla="*/ 6 w 39"/>
                <a:gd name="T5" fmla="*/ 22 h 43"/>
                <a:gd name="T6" fmla="*/ 12 w 39"/>
                <a:gd name="T7" fmla="*/ 27 h 43"/>
                <a:gd name="T8" fmla="*/ 16 w 39"/>
                <a:gd name="T9" fmla="*/ 32 h 43"/>
                <a:gd name="T10" fmla="*/ 23 w 39"/>
                <a:gd name="T11" fmla="*/ 37 h 43"/>
                <a:gd name="T12" fmla="*/ 28 w 39"/>
                <a:gd name="T13" fmla="*/ 40 h 43"/>
                <a:gd name="T14" fmla="*/ 34 w 39"/>
                <a:gd name="T15" fmla="*/ 43 h 43"/>
                <a:gd name="T16" fmla="*/ 39 w 39"/>
                <a:gd name="T17" fmla="*/ 43 h 43"/>
                <a:gd name="T18" fmla="*/ 38 w 39"/>
                <a:gd name="T19" fmla="*/ 32 h 43"/>
                <a:gd name="T20" fmla="*/ 36 w 39"/>
                <a:gd name="T21" fmla="*/ 19 h 43"/>
                <a:gd name="T22" fmla="*/ 34 w 39"/>
                <a:gd name="T23" fmla="*/ 8 h 43"/>
                <a:gd name="T24" fmla="*/ 32 w 39"/>
                <a:gd name="T25" fmla="*/ 0 h 43"/>
                <a:gd name="T26" fmla="*/ 19 w 39"/>
                <a:gd name="T27" fmla="*/ 3 h 43"/>
                <a:gd name="T28" fmla="*/ 6 w 39"/>
                <a:gd name="T29" fmla="*/ 6 h 43"/>
                <a:gd name="T30" fmla="*/ 0 w 39"/>
                <a:gd name="T31" fmla="*/ 1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8" name="Freeform 208">
              <a:extLst>
                <a:ext uri="{FF2B5EF4-FFF2-40B4-BE49-F238E27FC236}">
                  <a16:creationId xmlns:a16="http://schemas.microsoft.com/office/drawing/2014/main" id="{F86DBA94-DA35-474C-B078-1E76969CA6DC}"/>
                </a:ext>
              </a:extLst>
            </p:cNvPr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3876675" y="5194300"/>
              <a:ext cx="26988" cy="58738"/>
            </a:xfrm>
            <a:custGeom>
              <a:avLst/>
              <a:gdLst>
                <a:gd name="T0" fmla="*/ 29 w 55"/>
                <a:gd name="T1" fmla="*/ 26 h 62"/>
                <a:gd name="T2" fmla="*/ 8 w 55"/>
                <a:gd name="T3" fmla="*/ 0 h 62"/>
                <a:gd name="T4" fmla="*/ 4 w 55"/>
                <a:gd name="T5" fmla="*/ 5 h 62"/>
                <a:gd name="T6" fmla="*/ 1 w 55"/>
                <a:gd name="T7" fmla="*/ 11 h 62"/>
                <a:gd name="T8" fmla="*/ 0 w 55"/>
                <a:gd name="T9" fmla="*/ 16 h 62"/>
                <a:gd name="T10" fmla="*/ 0 w 55"/>
                <a:gd name="T11" fmla="*/ 21 h 62"/>
                <a:gd name="T12" fmla="*/ 2 w 55"/>
                <a:gd name="T13" fmla="*/ 26 h 62"/>
                <a:gd name="T14" fmla="*/ 4 w 55"/>
                <a:gd name="T15" fmla="*/ 31 h 62"/>
                <a:gd name="T16" fmla="*/ 8 w 55"/>
                <a:gd name="T17" fmla="*/ 36 h 62"/>
                <a:gd name="T18" fmla="*/ 11 w 55"/>
                <a:gd name="T19" fmla="*/ 41 h 62"/>
                <a:gd name="T20" fmla="*/ 16 w 55"/>
                <a:gd name="T21" fmla="*/ 45 h 62"/>
                <a:gd name="T22" fmla="*/ 21 w 55"/>
                <a:gd name="T23" fmla="*/ 49 h 62"/>
                <a:gd name="T24" fmla="*/ 26 w 55"/>
                <a:gd name="T25" fmla="*/ 53 h 62"/>
                <a:gd name="T26" fmla="*/ 33 w 55"/>
                <a:gd name="T27" fmla="*/ 56 h 62"/>
                <a:gd name="T28" fmla="*/ 38 w 55"/>
                <a:gd name="T29" fmla="*/ 58 h 62"/>
                <a:gd name="T30" fmla="*/ 44 w 55"/>
                <a:gd name="T31" fmla="*/ 60 h 62"/>
                <a:gd name="T32" fmla="*/ 49 w 55"/>
                <a:gd name="T33" fmla="*/ 61 h 62"/>
                <a:gd name="T34" fmla="*/ 55 w 55"/>
                <a:gd name="T35" fmla="*/ 62 h 62"/>
                <a:gd name="T36" fmla="*/ 54 w 55"/>
                <a:gd name="T37" fmla="*/ 53 h 62"/>
                <a:gd name="T38" fmla="*/ 53 w 55"/>
                <a:gd name="T39" fmla="*/ 46 h 62"/>
                <a:gd name="T40" fmla="*/ 49 w 55"/>
                <a:gd name="T41" fmla="*/ 40 h 62"/>
                <a:gd name="T42" fmla="*/ 46 w 55"/>
                <a:gd name="T43" fmla="*/ 35 h 62"/>
                <a:gd name="T44" fmla="*/ 43 w 55"/>
                <a:gd name="T45" fmla="*/ 31 h 62"/>
                <a:gd name="T46" fmla="*/ 38 w 55"/>
                <a:gd name="T47" fmla="*/ 28 h 62"/>
                <a:gd name="T48" fmla="*/ 33 w 55"/>
                <a:gd name="T49" fmla="*/ 26 h 62"/>
                <a:gd name="T50" fmla="*/ 29 w 55"/>
                <a:gd name="T51" fmla="*/ 2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9" name="Freeform 209">
              <a:extLst>
                <a:ext uri="{FF2B5EF4-FFF2-40B4-BE49-F238E27FC236}">
                  <a16:creationId xmlns:a16="http://schemas.microsoft.com/office/drawing/2014/main" id="{9DBE6DB3-5DA5-4569-839D-C663EC0EC2FA}"/>
                </a:ext>
              </a:extLst>
            </p:cNvPr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3906838" y="5227639"/>
              <a:ext cx="11112" cy="58737"/>
            </a:xfrm>
            <a:custGeom>
              <a:avLst/>
              <a:gdLst>
                <a:gd name="T0" fmla="*/ 33 w 35"/>
                <a:gd name="T1" fmla="*/ 13 h 43"/>
                <a:gd name="T2" fmla="*/ 7 w 35"/>
                <a:gd name="T3" fmla="*/ 0 h 43"/>
                <a:gd name="T4" fmla="*/ 4 w 35"/>
                <a:gd name="T5" fmla="*/ 8 h 43"/>
                <a:gd name="T6" fmla="*/ 0 w 35"/>
                <a:gd name="T7" fmla="*/ 19 h 43"/>
                <a:gd name="T8" fmla="*/ 2 w 35"/>
                <a:gd name="T9" fmla="*/ 28 h 43"/>
                <a:gd name="T10" fmla="*/ 5 w 35"/>
                <a:gd name="T11" fmla="*/ 36 h 43"/>
                <a:gd name="T12" fmla="*/ 6 w 35"/>
                <a:gd name="T13" fmla="*/ 39 h 43"/>
                <a:gd name="T14" fmla="*/ 8 w 35"/>
                <a:gd name="T15" fmla="*/ 41 h 43"/>
                <a:gd name="T16" fmla="*/ 11 w 35"/>
                <a:gd name="T17" fmla="*/ 43 h 43"/>
                <a:gd name="T18" fmla="*/ 14 w 35"/>
                <a:gd name="T19" fmla="*/ 43 h 43"/>
                <a:gd name="T20" fmla="*/ 18 w 35"/>
                <a:gd name="T21" fmla="*/ 43 h 43"/>
                <a:gd name="T22" fmla="*/ 22 w 35"/>
                <a:gd name="T23" fmla="*/ 42 h 43"/>
                <a:gd name="T24" fmla="*/ 26 w 35"/>
                <a:gd name="T25" fmla="*/ 41 h 43"/>
                <a:gd name="T26" fmla="*/ 28 w 35"/>
                <a:gd name="T27" fmla="*/ 39 h 43"/>
                <a:gd name="T28" fmla="*/ 31 w 35"/>
                <a:gd name="T29" fmla="*/ 35 h 43"/>
                <a:gd name="T30" fmla="*/ 33 w 35"/>
                <a:gd name="T31" fmla="*/ 30 h 43"/>
                <a:gd name="T32" fmla="*/ 35 w 35"/>
                <a:gd name="T33" fmla="*/ 20 h 43"/>
                <a:gd name="T34" fmla="*/ 33 w 35"/>
                <a:gd name="T35" fmla="*/ 1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0" name="Freeform 210">
              <a:extLst>
                <a:ext uri="{FF2B5EF4-FFF2-40B4-BE49-F238E27FC236}">
                  <a16:creationId xmlns:a16="http://schemas.microsoft.com/office/drawing/2014/main" id="{E7A943BA-F825-4619-9975-644D93172A79}"/>
                </a:ext>
              </a:extLst>
            </p:cNvPr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3903664" y="5260976"/>
              <a:ext cx="20637" cy="55563"/>
            </a:xfrm>
            <a:custGeom>
              <a:avLst/>
              <a:gdLst>
                <a:gd name="T0" fmla="*/ 53 w 53"/>
                <a:gd name="T1" fmla="*/ 0 h 21"/>
                <a:gd name="T2" fmla="*/ 41 w 53"/>
                <a:gd name="T3" fmla="*/ 1 h 21"/>
                <a:gd name="T4" fmla="*/ 32 w 53"/>
                <a:gd name="T5" fmla="*/ 2 h 21"/>
                <a:gd name="T6" fmla="*/ 25 w 53"/>
                <a:gd name="T7" fmla="*/ 5 h 21"/>
                <a:gd name="T8" fmla="*/ 21 w 53"/>
                <a:gd name="T9" fmla="*/ 7 h 21"/>
                <a:gd name="T10" fmla="*/ 17 w 53"/>
                <a:gd name="T11" fmla="*/ 10 h 21"/>
                <a:gd name="T12" fmla="*/ 13 w 53"/>
                <a:gd name="T13" fmla="*/ 13 h 21"/>
                <a:gd name="T14" fmla="*/ 8 w 53"/>
                <a:gd name="T15" fmla="*/ 16 h 21"/>
                <a:gd name="T16" fmla="*/ 0 w 53"/>
                <a:gd name="T17" fmla="*/ 18 h 21"/>
                <a:gd name="T18" fmla="*/ 5 w 53"/>
                <a:gd name="T19" fmla="*/ 20 h 21"/>
                <a:gd name="T20" fmla="*/ 11 w 53"/>
                <a:gd name="T21" fmla="*/ 21 h 21"/>
                <a:gd name="T22" fmla="*/ 17 w 53"/>
                <a:gd name="T23" fmla="*/ 21 h 21"/>
                <a:gd name="T24" fmla="*/ 24 w 53"/>
                <a:gd name="T25" fmla="*/ 21 h 21"/>
                <a:gd name="T26" fmla="*/ 38 w 53"/>
                <a:gd name="T27" fmla="*/ 19 h 21"/>
                <a:gd name="T28" fmla="*/ 53 w 53"/>
                <a:gd name="T29" fmla="*/ 18 h 21"/>
                <a:gd name="T30" fmla="*/ 53 w 53"/>
                <a:gd name="T31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1" name="Freeform 211">
              <a:extLst>
                <a:ext uri="{FF2B5EF4-FFF2-40B4-BE49-F238E27FC236}">
                  <a16:creationId xmlns:a16="http://schemas.microsoft.com/office/drawing/2014/main" id="{1AF73BF2-2309-4D3C-9A81-91AFF6F7E2F7}"/>
                </a:ext>
              </a:extLst>
            </p:cNvPr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3927476" y="5275263"/>
              <a:ext cx="17463" cy="57150"/>
            </a:xfrm>
            <a:custGeom>
              <a:avLst/>
              <a:gdLst>
                <a:gd name="T0" fmla="*/ 22 w 43"/>
                <a:gd name="T1" fmla="*/ 0 h 38"/>
                <a:gd name="T2" fmla="*/ 12 w 43"/>
                <a:gd name="T3" fmla="*/ 0 h 38"/>
                <a:gd name="T4" fmla="*/ 2 w 43"/>
                <a:gd name="T5" fmla="*/ 0 h 38"/>
                <a:gd name="T6" fmla="*/ 1 w 43"/>
                <a:gd name="T7" fmla="*/ 0 h 38"/>
                <a:gd name="T8" fmla="*/ 0 w 43"/>
                <a:gd name="T9" fmla="*/ 1 h 38"/>
                <a:gd name="T10" fmla="*/ 0 w 43"/>
                <a:gd name="T11" fmla="*/ 3 h 38"/>
                <a:gd name="T12" fmla="*/ 0 w 43"/>
                <a:gd name="T13" fmla="*/ 6 h 38"/>
                <a:gd name="T14" fmla="*/ 1 w 43"/>
                <a:gd name="T15" fmla="*/ 10 h 38"/>
                <a:gd name="T16" fmla="*/ 2 w 43"/>
                <a:gd name="T17" fmla="*/ 12 h 38"/>
                <a:gd name="T18" fmla="*/ 3 w 43"/>
                <a:gd name="T19" fmla="*/ 18 h 38"/>
                <a:gd name="T20" fmla="*/ 5 w 43"/>
                <a:gd name="T21" fmla="*/ 25 h 38"/>
                <a:gd name="T22" fmla="*/ 10 w 43"/>
                <a:gd name="T23" fmla="*/ 30 h 38"/>
                <a:gd name="T24" fmla="*/ 15 w 43"/>
                <a:gd name="T25" fmla="*/ 34 h 38"/>
                <a:gd name="T26" fmla="*/ 21 w 43"/>
                <a:gd name="T27" fmla="*/ 37 h 38"/>
                <a:gd name="T28" fmla="*/ 27 w 43"/>
                <a:gd name="T29" fmla="*/ 38 h 38"/>
                <a:gd name="T30" fmla="*/ 35 w 43"/>
                <a:gd name="T31" fmla="*/ 38 h 38"/>
                <a:gd name="T32" fmla="*/ 43 w 43"/>
                <a:gd name="T33" fmla="*/ 37 h 38"/>
                <a:gd name="T34" fmla="*/ 40 w 43"/>
                <a:gd name="T35" fmla="*/ 29 h 38"/>
                <a:gd name="T36" fmla="*/ 36 w 43"/>
                <a:gd name="T37" fmla="*/ 23 h 38"/>
                <a:gd name="T38" fmla="*/ 33 w 43"/>
                <a:gd name="T39" fmla="*/ 17 h 38"/>
                <a:gd name="T40" fmla="*/ 30 w 43"/>
                <a:gd name="T41" fmla="*/ 13 h 38"/>
                <a:gd name="T42" fmla="*/ 27 w 43"/>
                <a:gd name="T43" fmla="*/ 10 h 38"/>
                <a:gd name="T44" fmla="*/ 24 w 43"/>
                <a:gd name="T45" fmla="*/ 7 h 38"/>
                <a:gd name="T46" fmla="*/ 23 w 43"/>
                <a:gd name="T47" fmla="*/ 4 h 38"/>
                <a:gd name="T48" fmla="*/ 22 w 43"/>
                <a:gd name="T4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2" name="Freeform 212">
              <a:extLst>
                <a:ext uri="{FF2B5EF4-FFF2-40B4-BE49-F238E27FC236}">
                  <a16:creationId xmlns:a16="http://schemas.microsoft.com/office/drawing/2014/main" id="{CCCB4E3E-DA6E-444D-B82A-54606F67530C}"/>
                </a:ext>
              </a:extLst>
            </p:cNvPr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3929063" y="5303838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1 w 20"/>
                <a:gd name="T3" fmla="*/ 2 h 5"/>
                <a:gd name="T4" fmla="*/ 2 w 20"/>
                <a:gd name="T5" fmla="*/ 3 h 5"/>
                <a:gd name="T6" fmla="*/ 4 w 20"/>
                <a:gd name="T7" fmla="*/ 4 h 5"/>
                <a:gd name="T8" fmla="*/ 7 w 20"/>
                <a:gd name="T9" fmla="*/ 5 h 5"/>
                <a:gd name="T10" fmla="*/ 11 w 20"/>
                <a:gd name="T11" fmla="*/ 4 h 5"/>
                <a:gd name="T12" fmla="*/ 14 w 20"/>
                <a:gd name="T13" fmla="*/ 3 h 5"/>
                <a:gd name="T14" fmla="*/ 17 w 20"/>
                <a:gd name="T15" fmla="*/ 2 h 5"/>
                <a:gd name="T16" fmla="*/ 20 w 20"/>
                <a:gd name="T17" fmla="*/ 0 h 5"/>
                <a:gd name="T18" fmla="*/ 0 w 20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3" name="Freeform 213">
              <a:extLst>
                <a:ext uri="{FF2B5EF4-FFF2-40B4-BE49-F238E27FC236}">
                  <a16:creationId xmlns:a16="http://schemas.microsoft.com/office/drawing/2014/main" id="{2B3812A5-6F1F-4D96-9BD2-A26A77A1EB20}"/>
                </a:ext>
              </a:extLst>
            </p:cNvPr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4003676" y="5373688"/>
              <a:ext cx="34925" cy="57150"/>
            </a:xfrm>
            <a:custGeom>
              <a:avLst/>
              <a:gdLst>
                <a:gd name="T0" fmla="*/ 40 w 73"/>
                <a:gd name="T1" fmla="*/ 0 h 22"/>
                <a:gd name="T2" fmla="*/ 32 w 73"/>
                <a:gd name="T3" fmla="*/ 1 h 22"/>
                <a:gd name="T4" fmla="*/ 26 w 73"/>
                <a:gd name="T5" fmla="*/ 2 h 22"/>
                <a:gd name="T6" fmla="*/ 20 w 73"/>
                <a:gd name="T7" fmla="*/ 5 h 22"/>
                <a:gd name="T8" fmla="*/ 15 w 73"/>
                <a:gd name="T9" fmla="*/ 8 h 22"/>
                <a:gd name="T10" fmla="*/ 6 w 73"/>
                <a:gd name="T11" fmla="*/ 14 h 22"/>
                <a:gd name="T12" fmla="*/ 0 w 73"/>
                <a:gd name="T13" fmla="*/ 19 h 22"/>
                <a:gd name="T14" fmla="*/ 20 w 73"/>
                <a:gd name="T15" fmla="*/ 20 h 22"/>
                <a:gd name="T16" fmla="*/ 39 w 73"/>
                <a:gd name="T17" fmla="*/ 22 h 22"/>
                <a:gd name="T18" fmla="*/ 49 w 73"/>
                <a:gd name="T19" fmla="*/ 22 h 22"/>
                <a:gd name="T20" fmla="*/ 57 w 73"/>
                <a:gd name="T21" fmla="*/ 22 h 22"/>
                <a:gd name="T22" fmla="*/ 65 w 73"/>
                <a:gd name="T23" fmla="*/ 21 h 22"/>
                <a:gd name="T24" fmla="*/ 73 w 73"/>
                <a:gd name="T25" fmla="*/ 19 h 22"/>
                <a:gd name="T26" fmla="*/ 64 w 73"/>
                <a:gd name="T27" fmla="*/ 14 h 22"/>
                <a:gd name="T28" fmla="*/ 56 w 73"/>
                <a:gd name="T29" fmla="*/ 8 h 22"/>
                <a:gd name="T30" fmla="*/ 53 w 73"/>
                <a:gd name="T31" fmla="*/ 5 h 22"/>
                <a:gd name="T32" fmla="*/ 49 w 73"/>
                <a:gd name="T33" fmla="*/ 2 h 22"/>
                <a:gd name="T34" fmla="*/ 44 w 73"/>
                <a:gd name="T35" fmla="*/ 1 h 22"/>
                <a:gd name="T36" fmla="*/ 40 w 73"/>
                <a:gd name="T3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4" name="Freeform 214">
              <a:extLst>
                <a:ext uri="{FF2B5EF4-FFF2-40B4-BE49-F238E27FC236}">
                  <a16:creationId xmlns:a16="http://schemas.microsoft.com/office/drawing/2014/main" id="{A83EB5CC-0234-42E7-8E78-1FA3ACC103B0}"/>
                </a:ext>
              </a:extLst>
            </p:cNvPr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4041776" y="5314951"/>
              <a:ext cx="123825" cy="100013"/>
            </a:xfrm>
            <a:custGeom>
              <a:avLst/>
              <a:gdLst>
                <a:gd name="T0" fmla="*/ 235 w 281"/>
                <a:gd name="T1" fmla="*/ 168 h 193"/>
                <a:gd name="T2" fmla="*/ 188 w 281"/>
                <a:gd name="T3" fmla="*/ 171 h 193"/>
                <a:gd name="T4" fmla="*/ 168 w 281"/>
                <a:gd name="T5" fmla="*/ 168 h 193"/>
                <a:gd name="T6" fmla="*/ 155 w 281"/>
                <a:gd name="T7" fmla="*/ 164 h 193"/>
                <a:gd name="T8" fmla="*/ 130 w 281"/>
                <a:gd name="T9" fmla="*/ 135 h 193"/>
                <a:gd name="T10" fmla="*/ 104 w 281"/>
                <a:gd name="T11" fmla="*/ 94 h 193"/>
                <a:gd name="T12" fmla="*/ 94 w 281"/>
                <a:gd name="T13" fmla="*/ 74 h 193"/>
                <a:gd name="T14" fmla="*/ 87 w 281"/>
                <a:gd name="T15" fmla="*/ 51 h 193"/>
                <a:gd name="T16" fmla="*/ 83 w 281"/>
                <a:gd name="T17" fmla="*/ 27 h 193"/>
                <a:gd name="T18" fmla="*/ 43 w 281"/>
                <a:gd name="T19" fmla="*/ 0 h 193"/>
                <a:gd name="T20" fmla="*/ 28 w 281"/>
                <a:gd name="T21" fmla="*/ 52 h 193"/>
                <a:gd name="T22" fmla="*/ 18 w 281"/>
                <a:gd name="T23" fmla="*/ 61 h 193"/>
                <a:gd name="T24" fmla="*/ 6 w 281"/>
                <a:gd name="T25" fmla="*/ 69 h 193"/>
                <a:gd name="T26" fmla="*/ 0 w 281"/>
                <a:gd name="T27" fmla="*/ 73 h 193"/>
                <a:gd name="T28" fmla="*/ 1 w 281"/>
                <a:gd name="T29" fmla="*/ 75 h 193"/>
                <a:gd name="T30" fmla="*/ 9 w 281"/>
                <a:gd name="T31" fmla="*/ 81 h 193"/>
                <a:gd name="T32" fmla="*/ 37 w 281"/>
                <a:gd name="T33" fmla="*/ 111 h 193"/>
                <a:gd name="T34" fmla="*/ 45 w 281"/>
                <a:gd name="T35" fmla="*/ 122 h 193"/>
                <a:gd name="T36" fmla="*/ 53 w 281"/>
                <a:gd name="T37" fmla="*/ 129 h 193"/>
                <a:gd name="T38" fmla="*/ 62 w 281"/>
                <a:gd name="T39" fmla="*/ 134 h 193"/>
                <a:gd name="T40" fmla="*/ 71 w 281"/>
                <a:gd name="T41" fmla="*/ 136 h 193"/>
                <a:gd name="T42" fmla="*/ 76 w 281"/>
                <a:gd name="T43" fmla="*/ 141 h 193"/>
                <a:gd name="T44" fmla="*/ 79 w 281"/>
                <a:gd name="T45" fmla="*/ 148 h 193"/>
                <a:gd name="T46" fmla="*/ 86 w 281"/>
                <a:gd name="T47" fmla="*/ 153 h 193"/>
                <a:gd name="T48" fmla="*/ 99 w 281"/>
                <a:gd name="T49" fmla="*/ 154 h 193"/>
                <a:gd name="T50" fmla="*/ 106 w 281"/>
                <a:gd name="T51" fmla="*/ 157 h 193"/>
                <a:gd name="T52" fmla="*/ 109 w 281"/>
                <a:gd name="T53" fmla="*/ 163 h 193"/>
                <a:gd name="T54" fmla="*/ 109 w 281"/>
                <a:gd name="T55" fmla="*/ 179 h 193"/>
                <a:gd name="T56" fmla="*/ 111 w 281"/>
                <a:gd name="T57" fmla="*/ 189 h 193"/>
                <a:gd name="T58" fmla="*/ 115 w 281"/>
                <a:gd name="T59" fmla="*/ 193 h 193"/>
                <a:gd name="T60" fmla="*/ 129 w 281"/>
                <a:gd name="T61" fmla="*/ 193 h 193"/>
                <a:gd name="T62" fmla="*/ 164 w 281"/>
                <a:gd name="T63" fmla="*/ 191 h 193"/>
                <a:gd name="T64" fmla="*/ 180 w 281"/>
                <a:gd name="T65" fmla="*/ 189 h 193"/>
                <a:gd name="T66" fmla="*/ 192 w 281"/>
                <a:gd name="T67" fmla="*/ 186 h 193"/>
                <a:gd name="T68" fmla="*/ 212 w 281"/>
                <a:gd name="T69" fmla="*/ 188 h 193"/>
                <a:gd name="T70" fmla="*/ 281 w 281"/>
                <a:gd name="T71" fmla="*/ 167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5" name="Freeform 215">
              <a:extLst>
                <a:ext uri="{FF2B5EF4-FFF2-40B4-BE49-F238E27FC236}">
                  <a16:creationId xmlns:a16="http://schemas.microsoft.com/office/drawing/2014/main" id="{BB75DB63-4E03-469F-8F27-FDE34BFE6CDB}"/>
                </a:ext>
              </a:extLst>
            </p:cNvPr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3594100" y="3081339"/>
              <a:ext cx="52388" cy="58737"/>
            </a:xfrm>
            <a:custGeom>
              <a:avLst/>
              <a:gdLst>
                <a:gd name="T0" fmla="*/ 0 w 120"/>
                <a:gd name="T1" fmla="*/ 18 h 56"/>
                <a:gd name="T2" fmla="*/ 4 w 120"/>
                <a:gd name="T3" fmla="*/ 26 h 56"/>
                <a:gd name="T4" fmla="*/ 10 w 120"/>
                <a:gd name="T5" fmla="*/ 33 h 56"/>
                <a:gd name="T6" fmla="*/ 15 w 120"/>
                <a:gd name="T7" fmla="*/ 37 h 56"/>
                <a:gd name="T8" fmla="*/ 21 w 120"/>
                <a:gd name="T9" fmla="*/ 41 h 56"/>
                <a:gd name="T10" fmla="*/ 27 w 120"/>
                <a:gd name="T11" fmla="*/ 44 h 56"/>
                <a:gd name="T12" fmla="*/ 35 w 120"/>
                <a:gd name="T13" fmla="*/ 46 h 56"/>
                <a:gd name="T14" fmla="*/ 43 w 120"/>
                <a:gd name="T15" fmla="*/ 48 h 56"/>
                <a:gd name="T16" fmla="*/ 51 w 120"/>
                <a:gd name="T17" fmla="*/ 49 h 56"/>
                <a:gd name="T18" fmla="*/ 67 w 120"/>
                <a:gd name="T19" fmla="*/ 50 h 56"/>
                <a:gd name="T20" fmla="*/ 85 w 120"/>
                <a:gd name="T21" fmla="*/ 51 h 56"/>
                <a:gd name="T22" fmla="*/ 102 w 120"/>
                <a:gd name="T23" fmla="*/ 52 h 56"/>
                <a:gd name="T24" fmla="*/ 120 w 120"/>
                <a:gd name="T25" fmla="*/ 56 h 56"/>
                <a:gd name="T26" fmla="*/ 120 w 120"/>
                <a:gd name="T27" fmla="*/ 37 h 56"/>
                <a:gd name="T28" fmla="*/ 111 w 120"/>
                <a:gd name="T29" fmla="*/ 34 h 56"/>
                <a:gd name="T30" fmla="*/ 102 w 120"/>
                <a:gd name="T31" fmla="*/ 30 h 56"/>
                <a:gd name="T32" fmla="*/ 94 w 120"/>
                <a:gd name="T33" fmla="*/ 24 h 56"/>
                <a:gd name="T34" fmla="*/ 88 w 120"/>
                <a:gd name="T35" fmla="*/ 18 h 56"/>
                <a:gd name="T36" fmla="*/ 81 w 120"/>
                <a:gd name="T37" fmla="*/ 13 h 56"/>
                <a:gd name="T38" fmla="*/ 75 w 120"/>
                <a:gd name="T39" fmla="*/ 7 h 56"/>
                <a:gd name="T40" fmla="*/ 67 w 120"/>
                <a:gd name="T41" fmla="*/ 3 h 56"/>
                <a:gd name="T42" fmla="*/ 60 w 120"/>
                <a:gd name="T43" fmla="*/ 0 h 56"/>
                <a:gd name="T44" fmla="*/ 55 w 120"/>
                <a:gd name="T45" fmla="*/ 1 h 56"/>
                <a:gd name="T46" fmla="*/ 48 w 120"/>
                <a:gd name="T47" fmla="*/ 3 h 56"/>
                <a:gd name="T48" fmla="*/ 41 w 120"/>
                <a:gd name="T49" fmla="*/ 6 h 56"/>
                <a:gd name="T50" fmla="*/ 33 w 120"/>
                <a:gd name="T51" fmla="*/ 9 h 56"/>
                <a:gd name="T52" fmla="*/ 24 w 120"/>
                <a:gd name="T53" fmla="*/ 13 h 56"/>
                <a:gd name="T54" fmla="*/ 16 w 120"/>
                <a:gd name="T55" fmla="*/ 15 h 56"/>
                <a:gd name="T56" fmla="*/ 8 w 120"/>
                <a:gd name="T57" fmla="*/ 18 h 56"/>
                <a:gd name="T58" fmla="*/ 0 w 120"/>
                <a:gd name="T59" fmla="*/ 1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6" name="Freeform 216">
              <a:extLst>
                <a:ext uri="{FF2B5EF4-FFF2-40B4-BE49-F238E27FC236}">
                  <a16:creationId xmlns:a16="http://schemas.microsoft.com/office/drawing/2014/main" id="{B85A5727-3176-4A5E-BE70-B56137D177D2}"/>
                </a:ext>
              </a:extLst>
            </p:cNvPr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3451226" y="2943225"/>
              <a:ext cx="250825" cy="109538"/>
            </a:xfrm>
            <a:custGeom>
              <a:avLst/>
              <a:gdLst>
                <a:gd name="T0" fmla="*/ 127 w 574"/>
                <a:gd name="T1" fmla="*/ 1 h 204"/>
                <a:gd name="T2" fmla="*/ 95 w 574"/>
                <a:gd name="T3" fmla="*/ 6 h 204"/>
                <a:gd name="T4" fmla="*/ 66 w 574"/>
                <a:gd name="T5" fmla="*/ 16 h 204"/>
                <a:gd name="T6" fmla="*/ 43 w 574"/>
                <a:gd name="T7" fmla="*/ 26 h 204"/>
                <a:gd name="T8" fmla="*/ 30 w 574"/>
                <a:gd name="T9" fmla="*/ 35 h 204"/>
                <a:gd name="T10" fmla="*/ 16 w 574"/>
                <a:gd name="T11" fmla="*/ 51 h 204"/>
                <a:gd name="T12" fmla="*/ 4 w 574"/>
                <a:gd name="T13" fmla="*/ 71 h 204"/>
                <a:gd name="T14" fmla="*/ 0 w 574"/>
                <a:gd name="T15" fmla="*/ 82 h 204"/>
                <a:gd name="T16" fmla="*/ 1 w 574"/>
                <a:gd name="T17" fmla="*/ 86 h 204"/>
                <a:gd name="T18" fmla="*/ 13 w 574"/>
                <a:gd name="T19" fmla="*/ 86 h 204"/>
                <a:gd name="T20" fmla="*/ 29 w 574"/>
                <a:gd name="T21" fmla="*/ 83 h 204"/>
                <a:gd name="T22" fmla="*/ 52 w 574"/>
                <a:gd name="T23" fmla="*/ 75 h 204"/>
                <a:gd name="T24" fmla="*/ 80 w 574"/>
                <a:gd name="T25" fmla="*/ 58 h 204"/>
                <a:gd name="T26" fmla="*/ 102 w 574"/>
                <a:gd name="T27" fmla="*/ 46 h 204"/>
                <a:gd name="T28" fmla="*/ 119 w 574"/>
                <a:gd name="T29" fmla="*/ 40 h 204"/>
                <a:gd name="T30" fmla="*/ 175 w 574"/>
                <a:gd name="T31" fmla="*/ 37 h 204"/>
                <a:gd name="T32" fmla="*/ 176 w 574"/>
                <a:gd name="T33" fmla="*/ 48 h 204"/>
                <a:gd name="T34" fmla="*/ 180 w 574"/>
                <a:gd name="T35" fmla="*/ 55 h 204"/>
                <a:gd name="T36" fmla="*/ 184 w 574"/>
                <a:gd name="T37" fmla="*/ 59 h 204"/>
                <a:gd name="T38" fmla="*/ 190 w 574"/>
                <a:gd name="T39" fmla="*/ 61 h 204"/>
                <a:gd name="T40" fmla="*/ 229 w 574"/>
                <a:gd name="T41" fmla="*/ 61 h 204"/>
                <a:gd name="T42" fmla="*/ 269 w 574"/>
                <a:gd name="T43" fmla="*/ 78 h 204"/>
                <a:gd name="T44" fmla="*/ 302 w 574"/>
                <a:gd name="T45" fmla="*/ 95 h 204"/>
                <a:gd name="T46" fmla="*/ 336 w 574"/>
                <a:gd name="T47" fmla="*/ 111 h 204"/>
                <a:gd name="T48" fmla="*/ 375 w 574"/>
                <a:gd name="T49" fmla="*/ 123 h 204"/>
                <a:gd name="T50" fmla="*/ 376 w 574"/>
                <a:gd name="T51" fmla="*/ 134 h 204"/>
                <a:gd name="T52" fmla="*/ 382 w 574"/>
                <a:gd name="T53" fmla="*/ 142 h 204"/>
                <a:gd name="T54" fmla="*/ 396 w 574"/>
                <a:gd name="T55" fmla="*/ 152 h 204"/>
                <a:gd name="T56" fmla="*/ 428 w 574"/>
                <a:gd name="T57" fmla="*/ 166 h 204"/>
                <a:gd name="T58" fmla="*/ 402 w 574"/>
                <a:gd name="T59" fmla="*/ 191 h 204"/>
                <a:gd name="T60" fmla="*/ 407 w 574"/>
                <a:gd name="T61" fmla="*/ 197 h 204"/>
                <a:gd name="T62" fmla="*/ 414 w 574"/>
                <a:gd name="T63" fmla="*/ 201 h 204"/>
                <a:gd name="T64" fmla="*/ 429 w 574"/>
                <a:gd name="T65" fmla="*/ 204 h 204"/>
                <a:gd name="T66" fmla="*/ 461 w 574"/>
                <a:gd name="T67" fmla="*/ 204 h 204"/>
                <a:gd name="T68" fmla="*/ 555 w 574"/>
                <a:gd name="T69" fmla="*/ 189 h 204"/>
                <a:gd name="T70" fmla="*/ 559 w 574"/>
                <a:gd name="T71" fmla="*/ 183 h 204"/>
                <a:gd name="T72" fmla="*/ 565 w 574"/>
                <a:gd name="T73" fmla="*/ 177 h 204"/>
                <a:gd name="T74" fmla="*/ 572 w 574"/>
                <a:gd name="T75" fmla="*/ 173 h 204"/>
                <a:gd name="T76" fmla="*/ 574 w 574"/>
                <a:gd name="T77" fmla="*/ 161 h 204"/>
                <a:gd name="T78" fmla="*/ 561 w 574"/>
                <a:gd name="T79" fmla="*/ 153 h 204"/>
                <a:gd name="T80" fmla="*/ 532 w 574"/>
                <a:gd name="T81" fmla="*/ 148 h 204"/>
                <a:gd name="T82" fmla="*/ 504 w 574"/>
                <a:gd name="T83" fmla="*/ 138 h 204"/>
                <a:gd name="T84" fmla="*/ 475 w 574"/>
                <a:gd name="T85" fmla="*/ 124 h 204"/>
                <a:gd name="T86" fmla="*/ 433 w 574"/>
                <a:gd name="T87" fmla="*/ 100 h 204"/>
                <a:gd name="T88" fmla="*/ 383 w 574"/>
                <a:gd name="T89" fmla="*/ 68 h 204"/>
                <a:gd name="T90" fmla="*/ 358 w 574"/>
                <a:gd name="T91" fmla="*/ 54 h 204"/>
                <a:gd name="T92" fmla="*/ 348 w 574"/>
                <a:gd name="T93" fmla="*/ 52 h 204"/>
                <a:gd name="T94" fmla="*/ 330 w 574"/>
                <a:gd name="T95" fmla="*/ 52 h 204"/>
                <a:gd name="T96" fmla="*/ 312 w 574"/>
                <a:gd name="T97" fmla="*/ 51 h 204"/>
                <a:gd name="T98" fmla="*/ 302 w 574"/>
                <a:gd name="T99" fmla="*/ 49 h 204"/>
                <a:gd name="T100" fmla="*/ 294 w 574"/>
                <a:gd name="T101" fmla="*/ 43 h 204"/>
                <a:gd name="T102" fmla="*/ 290 w 574"/>
                <a:gd name="T103" fmla="*/ 32 h 204"/>
                <a:gd name="T104" fmla="*/ 142 w 574"/>
                <a:gd name="T10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7" name="Freeform 217">
              <a:extLst>
                <a:ext uri="{FF2B5EF4-FFF2-40B4-BE49-F238E27FC236}">
                  <a16:creationId xmlns:a16="http://schemas.microsoft.com/office/drawing/2014/main" id="{D356501D-FBBD-4CA6-8ED0-982D5CF2AB48}"/>
                </a:ext>
              </a:extLst>
            </p:cNvPr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3756025" y="3046413"/>
              <a:ext cx="88900" cy="69850"/>
            </a:xfrm>
            <a:custGeom>
              <a:avLst/>
              <a:gdLst>
                <a:gd name="T0" fmla="*/ 41 w 207"/>
                <a:gd name="T1" fmla="*/ 129 h 129"/>
                <a:gd name="T2" fmla="*/ 50 w 207"/>
                <a:gd name="T3" fmla="*/ 121 h 129"/>
                <a:gd name="T4" fmla="*/ 60 w 207"/>
                <a:gd name="T5" fmla="*/ 115 h 129"/>
                <a:gd name="T6" fmla="*/ 70 w 207"/>
                <a:gd name="T7" fmla="*/ 110 h 129"/>
                <a:gd name="T8" fmla="*/ 81 w 207"/>
                <a:gd name="T9" fmla="*/ 105 h 129"/>
                <a:gd name="T10" fmla="*/ 105 w 207"/>
                <a:gd name="T11" fmla="*/ 99 h 129"/>
                <a:gd name="T12" fmla="*/ 129 w 207"/>
                <a:gd name="T13" fmla="*/ 92 h 129"/>
                <a:gd name="T14" fmla="*/ 152 w 207"/>
                <a:gd name="T15" fmla="*/ 87 h 129"/>
                <a:gd name="T16" fmla="*/ 173 w 207"/>
                <a:gd name="T17" fmla="*/ 81 h 129"/>
                <a:gd name="T18" fmla="*/ 182 w 207"/>
                <a:gd name="T19" fmla="*/ 77 h 129"/>
                <a:gd name="T20" fmla="*/ 191 w 207"/>
                <a:gd name="T21" fmla="*/ 73 h 129"/>
                <a:gd name="T22" fmla="*/ 200 w 207"/>
                <a:gd name="T23" fmla="*/ 67 h 129"/>
                <a:gd name="T24" fmla="*/ 207 w 207"/>
                <a:gd name="T25" fmla="*/ 61 h 129"/>
                <a:gd name="T26" fmla="*/ 198 w 207"/>
                <a:gd name="T27" fmla="*/ 54 h 129"/>
                <a:gd name="T28" fmla="*/ 188 w 207"/>
                <a:gd name="T29" fmla="*/ 47 h 129"/>
                <a:gd name="T30" fmla="*/ 179 w 207"/>
                <a:gd name="T31" fmla="*/ 42 h 129"/>
                <a:gd name="T32" fmla="*/ 169 w 207"/>
                <a:gd name="T33" fmla="*/ 36 h 129"/>
                <a:gd name="T34" fmla="*/ 150 w 207"/>
                <a:gd name="T35" fmla="*/ 29 h 129"/>
                <a:gd name="T36" fmla="*/ 129 w 207"/>
                <a:gd name="T37" fmla="*/ 23 h 129"/>
                <a:gd name="T38" fmla="*/ 107 w 207"/>
                <a:gd name="T39" fmla="*/ 18 h 129"/>
                <a:gd name="T40" fmla="*/ 85 w 207"/>
                <a:gd name="T41" fmla="*/ 13 h 129"/>
                <a:gd name="T42" fmla="*/ 63 w 207"/>
                <a:gd name="T43" fmla="*/ 7 h 129"/>
                <a:gd name="T44" fmla="*/ 41 w 207"/>
                <a:gd name="T45" fmla="*/ 0 h 129"/>
                <a:gd name="T46" fmla="*/ 0 w 207"/>
                <a:gd name="T47" fmla="*/ 0 h 129"/>
                <a:gd name="T48" fmla="*/ 1 w 207"/>
                <a:gd name="T49" fmla="*/ 6 h 129"/>
                <a:gd name="T50" fmla="*/ 2 w 207"/>
                <a:gd name="T51" fmla="*/ 13 h 129"/>
                <a:gd name="T52" fmla="*/ 4 w 207"/>
                <a:gd name="T53" fmla="*/ 19 h 129"/>
                <a:gd name="T54" fmla="*/ 6 w 207"/>
                <a:gd name="T55" fmla="*/ 25 h 129"/>
                <a:gd name="T56" fmla="*/ 10 w 207"/>
                <a:gd name="T57" fmla="*/ 35 h 129"/>
                <a:gd name="T58" fmla="*/ 13 w 207"/>
                <a:gd name="T59" fmla="*/ 46 h 129"/>
                <a:gd name="T60" fmla="*/ 17 w 207"/>
                <a:gd name="T61" fmla="*/ 54 h 129"/>
                <a:gd name="T62" fmla="*/ 18 w 207"/>
                <a:gd name="T63" fmla="*/ 62 h 129"/>
                <a:gd name="T64" fmla="*/ 17 w 207"/>
                <a:gd name="T65" fmla="*/ 65 h 129"/>
                <a:gd name="T66" fmla="*/ 14 w 207"/>
                <a:gd name="T67" fmla="*/ 68 h 129"/>
                <a:gd name="T68" fmla="*/ 11 w 207"/>
                <a:gd name="T69" fmla="*/ 71 h 129"/>
                <a:gd name="T70" fmla="*/ 7 w 207"/>
                <a:gd name="T71" fmla="*/ 73 h 129"/>
                <a:gd name="T72" fmla="*/ 0 w 207"/>
                <a:gd name="T73" fmla="*/ 104 h 129"/>
                <a:gd name="T74" fmla="*/ 4 w 207"/>
                <a:gd name="T75" fmla="*/ 106 h 129"/>
                <a:gd name="T76" fmla="*/ 13 w 207"/>
                <a:gd name="T77" fmla="*/ 110 h 129"/>
                <a:gd name="T78" fmla="*/ 19 w 207"/>
                <a:gd name="T79" fmla="*/ 113 h 129"/>
                <a:gd name="T80" fmla="*/ 25 w 207"/>
                <a:gd name="T81" fmla="*/ 117 h 129"/>
                <a:gd name="T82" fmla="*/ 33 w 207"/>
                <a:gd name="T83" fmla="*/ 122 h 129"/>
                <a:gd name="T84" fmla="*/ 41 w 207"/>
                <a:gd name="T85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48" name="Freeform 218">
              <a:extLst>
                <a:ext uri="{FF2B5EF4-FFF2-40B4-BE49-F238E27FC236}">
                  <a16:creationId xmlns:a16="http://schemas.microsoft.com/office/drawing/2014/main" id="{7E03D590-D469-411B-98FB-6A98715B3CD8}"/>
                </a:ext>
              </a:extLst>
            </p:cNvPr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3324225" y="3106739"/>
              <a:ext cx="33338" cy="84137"/>
            </a:xfrm>
            <a:custGeom>
              <a:avLst/>
              <a:gdLst>
                <a:gd name="T0" fmla="*/ 72 w 72"/>
                <a:gd name="T1" fmla="*/ 0 h 154"/>
                <a:gd name="T2" fmla="*/ 69 w 72"/>
                <a:gd name="T3" fmla="*/ 4 h 154"/>
                <a:gd name="T4" fmla="*/ 67 w 72"/>
                <a:gd name="T5" fmla="*/ 9 h 154"/>
                <a:gd name="T6" fmla="*/ 66 w 72"/>
                <a:gd name="T7" fmla="*/ 13 h 154"/>
                <a:gd name="T8" fmla="*/ 66 w 72"/>
                <a:gd name="T9" fmla="*/ 18 h 154"/>
                <a:gd name="T10" fmla="*/ 66 w 72"/>
                <a:gd name="T11" fmla="*/ 27 h 154"/>
                <a:gd name="T12" fmla="*/ 66 w 72"/>
                <a:gd name="T13" fmla="*/ 37 h 154"/>
                <a:gd name="T14" fmla="*/ 69 w 72"/>
                <a:gd name="T15" fmla="*/ 43 h 154"/>
                <a:gd name="T16" fmla="*/ 71 w 72"/>
                <a:gd name="T17" fmla="*/ 50 h 154"/>
                <a:gd name="T18" fmla="*/ 71 w 72"/>
                <a:gd name="T19" fmla="*/ 57 h 154"/>
                <a:gd name="T20" fmla="*/ 71 w 72"/>
                <a:gd name="T21" fmla="*/ 65 h 154"/>
                <a:gd name="T22" fmla="*/ 69 w 72"/>
                <a:gd name="T23" fmla="*/ 73 h 154"/>
                <a:gd name="T24" fmla="*/ 67 w 72"/>
                <a:gd name="T25" fmla="*/ 82 h 154"/>
                <a:gd name="T26" fmla="*/ 65 w 72"/>
                <a:gd name="T27" fmla="*/ 91 h 154"/>
                <a:gd name="T28" fmla="*/ 61 w 72"/>
                <a:gd name="T29" fmla="*/ 100 h 154"/>
                <a:gd name="T30" fmla="*/ 53 w 72"/>
                <a:gd name="T31" fmla="*/ 116 h 154"/>
                <a:gd name="T32" fmla="*/ 44 w 72"/>
                <a:gd name="T33" fmla="*/ 131 h 154"/>
                <a:gd name="T34" fmla="*/ 34 w 72"/>
                <a:gd name="T35" fmla="*/ 144 h 154"/>
                <a:gd name="T36" fmla="*/ 26 w 72"/>
                <a:gd name="T37" fmla="*/ 154 h 154"/>
                <a:gd name="T38" fmla="*/ 26 w 72"/>
                <a:gd name="T39" fmla="*/ 141 h 154"/>
                <a:gd name="T40" fmla="*/ 15 w 72"/>
                <a:gd name="T41" fmla="*/ 144 h 154"/>
                <a:gd name="T42" fmla="*/ 0 w 72"/>
                <a:gd name="T43" fmla="*/ 148 h 154"/>
                <a:gd name="T44" fmla="*/ 3 w 72"/>
                <a:gd name="T45" fmla="*/ 129 h 154"/>
                <a:gd name="T46" fmla="*/ 8 w 72"/>
                <a:gd name="T47" fmla="*/ 105 h 154"/>
                <a:gd name="T48" fmla="*/ 9 w 72"/>
                <a:gd name="T49" fmla="*/ 92 h 154"/>
                <a:gd name="T50" fmla="*/ 12 w 72"/>
                <a:gd name="T51" fmla="*/ 77 h 154"/>
                <a:gd name="T52" fmla="*/ 15 w 72"/>
                <a:gd name="T53" fmla="*/ 63 h 154"/>
                <a:gd name="T54" fmla="*/ 20 w 72"/>
                <a:gd name="T55" fmla="*/ 49 h 154"/>
                <a:gd name="T56" fmla="*/ 20 w 72"/>
                <a:gd name="T57" fmla="*/ 0 h 154"/>
                <a:gd name="T58" fmla="*/ 25 w 72"/>
                <a:gd name="T59" fmla="*/ 0 h 154"/>
                <a:gd name="T60" fmla="*/ 38 w 72"/>
                <a:gd name="T61" fmla="*/ 0 h 154"/>
                <a:gd name="T62" fmla="*/ 56 w 72"/>
                <a:gd name="T63" fmla="*/ 0 h 154"/>
                <a:gd name="T64" fmla="*/ 72 w 72"/>
                <a:gd name="T6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9" name="Freeform 219">
              <a:extLst>
                <a:ext uri="{FF2B5EF4-FFF2-40B4-BE49-F238E27FC236}">
                  <a16:creationId xmlns:a16="http://schemas.microsoft.com/office/drawing/2014/main" id="{B81AE8EF-AD85-4C32-88B9-FC44E5A118CF}"/>
                </a:ext>
              </a:extLst>
            </p:cNvPr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3244851" y="3106738"/>
              <a:ext cx="93663" cy="146050"/>
            </a:xfrm>
            <a:custGeom>
              <a:avLst/>
              <a:gdLst>
                <a:gd name="T0" fmla="*/ 8 w 214"/>
                <a:gd name="T1" fmla="*/ 207 h 271"/>
                <a:gd name="T2" fmla="*/ 12 w 214"/>
                <a:gd name="T3" fmla="*/ 181 h 271"/>
                <a:gd name="T4" fmla="*/ 24 w 214"/>
                <a:gd name="T5" fmla="*/ 148 h 271"/>
                <a:gd name="T6" fmla="*/ 35 w 214"/>
                <a:gd name="T7" fmla="*/ 118 h 271"/>
                <a:gd name="T8" fmla="*/ 44 w 214"/>
                <a:gd name="T9" fmla="*/ 112 h 271"/>
                <a:gd name="T10" fmla="*/ 65 w 214"/>
                <a:gd name="T11" fmla="*/ 111 h 271"/>
                <a:gd name="T12" fmla="*/ 89 w 214"/>
                <a:gd name="T13" fmla="*/ 111 h 271"/>
                <a:gd name="T14" fmla="*/ 106 w 214"/>
                <a:gd name="T15" fmla="*/ 110 h 271"/>
                <a:gd name="T16" fmla="*/ 120 w 214"/>
                <a:gd name="T17" fmla="*/ 105 h 271"/>
                <a:gd name="T18" fmla="*/ 130 w 214"/>
                <a:gd name="T19" fmla="*/ 94 h 271"/>
                <a:gd name="T20" fmla="*/ 113 w 214"/>
                <a:gd name="T21" fmla="*/ 73 h 271"/>
                <a:gd name="T22" fmla="*/ 86 w 214"/>
                <a:gd name="T23" fmla="*/ 58 h 271"/>
                <a:gd name="T24" fmla="*/ 77 w 214"/>
                <a:gd name="T25" fmla="*/ 49 h 271"/>
                <a:gd name="T26" fmla="*/ 74 w 214"/>
                <a:gd name="T27" fmla="*/ 41 h 271"/>
                <a:gd name="T28" fmla="*/ 75 w 214"/>
                <a:gd name="T29" fmla="*/ 34 h 271"/>
                <a:gd name="T30" fmla="*/ 82 w 214"/>
                <a:gd name="T31" fmla="*/ 28 h 271"/>
                <a:gd name="T32" fmla="*/ 101 w 214"/>
                <a:gd name="T33" fmla="*/ 19 h 271"/>
                <a:gd name="T34" fmla="*/ 150 w 214"/>
                <a:gd name="T35" fmla="*/ 3 h 271"/>
                <a:gd name="T36" fmla="*/ 180 w 214"/>
                <a:gd name="T37" fmla="*/ 0 h 271"/>
                <a:gd name="T38" fmla="*/ 198 w 214"/>
                <a:gd name="T39" fmla="*/ 0 h 271"/>
                <a:gd name="T40" fmla="*/ 207 w 214"/>
                <a:gd name="T41" fmla="*/ 49 h 271"/>
                <a:gd name="T42" fmla="*/ 199 w 214"/>
                <a:gd name="T43" fmla="*/ 77 h 271"/>
                <a:gd name="T44" fmla="*/ 195 w 214"/>
                <a:gd name="T45" fmla="*/ 105 h 271"/>
                <a:gd name="T46" fmla="*/ 187 w 214"/>
                <a:gd name="T47" fmla="*/ 148 h 271"/>
                <a:gd name="T48" fmla="*/ 213 w 214"/>
                <a:gd name="T49" fmla="*/ 154 h 271"/>
                <a:gd name="T50" fmla="*/ 214 w 214"/>
                <a:gd name="T51" fmla="*/ 166 h 271"/>
                <a:gd name="T52" fmla="*/ 210 w 214"/>
                <a:gd name="T53" fmla="*/ 174 h 271"/>
                <a:gd name="T54" fmla="*/ 207 w 214"/>
                <a:gd name="T55" fmla="*/ 177 h 271"/>
                <a:gd name="T56" fmla="*/ 200 w 214"/>
                <a:gd name="T57" fmla="*/ 178 h 271"/>
                <a:gd name="T58" fmla="*/ 192 w 214"/>
                <a:gd name="T59" fmla="*/ 196 h 271"/>
                <a:gd name="T60" fmla="*/ 181 w 214"/>
                <a:gd name="T61" fmla="*/ 214 h 271"/>
                <a:gd name="T62" fmla="*/ 155 w 214"/>
                <a:gd name="T63" fmla="*/ 243 h 271"/>
                <a:gd name="T64" fmla="*/ 120 w 214"/>
                <a:gd name="T65" fmla="*/ 271 h 271"/>
                <a:gd name="T66" fmla="*/ 87 w 214"/>
                <a:gd name="T67" fmla="*/ 261 h 271"/>
                <a:gd name="T68" fmla="*/ 55 w 214"/>
                <a:gd name="T69" fmla="*/ 248 h 271"/>
                <a:gd name="T70" fmla="*/ 0 w 214"/>
                <a:gd name="T71" fmla="*/ 22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0" name="Freeform 220">
              <a:extLst>
                <a:ext uri="{FF2B5EF4-FFF2-40B4-BE49-F238E27FC236}">
                  <a16:creationId xmlns:a16="http://schemas.microsoft.com/office/drawing/2014/main" id="{2E6B0A99-8A68-4A25-8374-DF78E91A4425}"/>
                </a:ext>
              </a:extLst>
            </p:cNvPr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3292475" y="3217863"/>
              <a:ext cx="71438" cy="57150"/>
            </a:xfrm>
            <a:custGeom>
              <a:avLst/>
              <a:gdLst>
                <a:gd name="T0" fmla="*/ 60 w 153"/>
                <a:gd name="T1" fmla="*/ 0 h 80"/>
                <a:gd name="T2" fmla="*/ 83 w 153"/>
                <a:gd name="T3" fmla="*/ 14 h 80"/>
                <a:gd name="T4" fmla="*/ 104 w 153"/>
                <a:gd name="T5" fmla="*/ 24 h 80"/>
                <a:gd name="T6" fmla="*/ 115 w 153"/>
                <a:gd name="T7" fmla="*/ 28 h 80"/>
                <a:gd name="T8" fmla="*/ 126 w 153"/>
                <a:gd name="T9" fmla="*/ 31 h 80"/>
                <a:gd name="T10" fmla="*/ 133 w 153"/>
                <a:gd name="T11" fmla="*/ 32 h 80"/>
                <a:gd name="T12" fmla="*/ 139 w 153"/>
                <a:gd name="T13" fmla="*/ 32 h 80"/>
                <a:gd name="T14" fmla="*/ 146 w 153"/>
                <a:gd name="T15" fmla="*/ 31 h 80"/>
                <a:gd name="T16" fmla="*/ 153 w 153"/>
                <a:gd name="T17" fmla="*/ 30 h 80"/>
                <a:gd name="T18" fmla="*/ 153 w 153"/>
                <a:gd name="T19" fmla="*/ 56 h 80"/>
                <a:gd name="T20" fmla="*/ 149 w 153"/>
                <a:gd name="T21" fmla="*/ 60 h 80"/>
                <a:gd name="T22" fmla="*/ 145 w 153"/>
                <a:gd name="T23" fmla="*/ 65 h 80"/>
                <a:gd name="T24" fmla="*/ 138 w 153"/>
                <a:gd name="T25" fmla="*/ 69 h 80"/>
                <a:gd name="T26" fmla="*/ 132 w 153"/>
                <a:gd name="T27" fmla="*/ 72 h 80"/>
                <a:gd name="T28" fmla="*/ 125 w 153"/>
                <a:gd name="T29" fmla="*/ 75 h 80"/>
                <a:gd name="T30" fmla="*/ 119 w 153"/>
                <a:gd name="T31" fmla="*/ 78 h 80"/>
                <a:gd name="T32" fmla="*/ 112 w 153"/>
                <a:gd name="T33" fmla="*/ 79 h 80"/>
                <a:gd name="T34" fmla="*/ 106 w 153"/>
                <a:gd name="T35" fmla="*/ 80 h 80"/>
                <a:gd name="T36" fmla="*/ 90 w 153"/>
                <a:gd name="T37" fmla="*/ 74 h 80"/>
                <a:gd name="T38" fmla="*/ 76 w 153"/>
                <a:gd name="T39" fmla="*/ 71 h 80"/>
                <a:gd name="T40" fmla="*/ 63 w 153"/>
                <a:gd name="T41" fmla="*/ 69 h 80"/>
                <a:gd name="T42" fmla="*/ 50 w 153"/>
                <a:gd name="T43" fmla="*/ 69 h 80"/>
                <a:gd name="T44" fmla="*/ 39 w 153"/>
                <a:gd name="T45" fmla="*/ 68 h 80"/>
                <a:gd name="T46" fmla="*/ 27 w 153"/>
                <a:gd name="T47" fmla="*/ 67 h 80"/>
                <a:gd name="T48" fmla="*/ 14 w 153"/>
                <a:gd name="T49" fmla="*/ 65 h 80"/>
                <a:gd name="T50" fmla="*/ 0 w 153"/>
                <a:gd name="T51" fmla="*/ 62 h 80"/>
                <a:gd name="T52" fmla="*/ 7 w 153"/>
                <a:gd name="T53" fmla="*/ 58 h 80"/>
                <a:gd name="T54" fmla="*/ 23 w 153"/>
                <a:gd name="T55" fmla="*/ 45 h 80"/>
                <a:gd name="T56" fmla="*/ 34 w 153"/>
                <a:gd name="T57" fmla="*/ 37 h 80"/>
                <a:gd name="T58" fmla="*/ 45 w 153"/>
                <a:gd name="T59" fmla="*/ 28 h 80"/>
                <a:gd name="T60" fmla="*/ 56 w 153"/>
                <a:gd name="T61" fmla="*/ 17 h 80"/>
                <a:gd name="T62" fmla="*/ 67 w 153"/>
                <a:gd name="T63" fmla="*/ 6 h 80"/>
                <a:gd name="T64" fmla="*/ 60 w 153"/>
                <a:gd name="T6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1" name="Freeform 221">
              <a:extLst>
                <a:ext uri="{FF2B5EF4-FFF2-40B4-BE49-F238E27FC236}">
                  <a16:creationId xmlns:a16="http://schemas.microsoft.com/office/drawing/2014/main" id="{D8397E5F-C6E4-4640-B99C-D18E06AF8D5D}"/>
                </a:ext>
              </a:extLst>
            </p:cNvPr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3324226" y="3179763"/>
              <a:ext cx="142875" cy="87312"/>
            </a:xfrm>
            <a:custGeom>
              <a:avLst/>
              <a:gdLst>
                <a:gd name="T0" fmla="*/ 0 w 332"/>
                <a:gd name="T1" fmla="*/ 77 h 169"/>
                <a:gd name="T2" fmla="*/ 44 w 332"/>
                <a:gd name="T3" fmla="*/ 101 h 169"/>
                <a:gd name="T4" fmla="*/ 66 w 332"/>
                <a:gd name="T5" fmla="*/ 108 h 169"/>
                <a:gd name="T6" fmla="*/ 79 w 332"/>
                <a:gd name="T7" fmla="*/ 109 h 169"/>
                <a:gd name="T8" fmla="*/ 93 w 332"/>
                <a:gd name="T9" fmla="*/ 107 h 169"/>
                <a:gd name="T10" fmla="*/ 90 w 332"/>
                <a:gd name="T11" fmla="*/ 144 h 169"/>
                <a:gd name="T12" fmla="*/ 95 w 332"/>
                <a:gd name="T13" fmla="*/ 154 h 169"/>
                <a:gd name="T14" fmla="*/ 99 w 332"/>
                <a:gd name="T15" fmla="*/ 163 h 169"/>
                <a:gd name="T16" fmla="*/ 107 w 332"/>
                <a:gd name="T17" fmla="*/ 168 h 169"/>
                <a:gd name="T18" fmla="*/ 117 w 332"/>
                <a:gd name="T19" fmla="*/ 169 h 169"/>
                <a:gd name="T20" fmla="*/ 123 w 332"/>
                <a:gd name="T21" fmla="*/ 166 h 169"/>
                <a:gd name="T22" fmla="*/ 132 w 332"/>
                <a:gd name="T23" fmla="*/ 157 h 169"/>
                <a:gd name="T24" fmla="*/ 146 w 332"/>
                <a:gd name="T25" fmla="*/ 136 h 169"/>
                <a:gd name="T26" fmla="*/ 174 w 332"/>
                <a:gd name="T27" fmla="*/ 115 h 169"/>
                <a:gd name="T28" fmla="*/ 214 w 332"/>
                <a:gd name="T29" fmla="*/ 96 h 169"/>
                <a:gd name="T30" fmla="*/ 256 w 332"/>
                <a:gd name="T31" fmla="*/ 80 h 169"/>
                <a:gd name="T32" fmla="*/ 304 w 332"/>
                <a:gd name="T33" fmla="*/ 65 h 169"/>
                <a:gd name="T34" fmla="*/ 332 w 332"/>
                <a:gd name="T35" fmla="*/ 46 h 169"/>
                <a:gd name="T36" fmla="*/ 332 w 332"/>
                <a:gd name="T37" fmla="*/ 22 h 169"/>
                <a:gd name="T38" fmla="*/ 320 w 332"/>
                <a:gd name="T39" fmla="*/ 2 h 169"/>
                <a:gd name="T40" fmla="*/ 283 w 332"/>
                <a:gd name="T41" fmla="*/ 1 h 169"/>
                <a:gd name="T42" fmla="*/ 234 w 332"/>
                <a:gd name="T43" fmla="*/ 0 h 169"/>
                <a:gd name="T44" fmla="*/ 180 w 332"/>
                <a:gd name="T45" fmla="*/ 1 h 169"/>
                <a:gd name="T46" fmla="*/ 131 w 332"/>
                <a:gd name="T47" fmla="*/ 4 h 169"/>
                <a:gd name="T48" fmla="*/ 90 w 332"/>
                <a:gd name="T49" fmla="*/ 10 h 169"/>
                <a:gd name="T50" fmla="*/ 59 w 332"/>
                <a:gd name="T51" fmla="*/ 19 h 169"/>
                <a:gd name="T52" fmla="*/ 42 w 332"/>
                <a:gd name="T53" fmla="*/ 22 h 169"/>
                <a:gd name="T54" fmla="*/ 35 w 332"/>
                <a:gd name="T55" fmla="*/ 23 h 169"/>
                <a:gd name="T56" fmla="*/ 34 w 332"/>
                <a:gd name="T57" fmla="*/ 26 h 169"/>
                <a:gd name="T58" fmla="*/ 33 w 332"/>
                <a:gd name="T59" fmla="*/ 38 h 169"/>
                <a:gd name="T60" fmla="*/ 29 w 332"/>
                <a:gd name="T61" fmla="*/ 44 h 169"/>
                <a:gd name="T62" fmla="*/ 23 w 332"/>
                <a:gd name="T63" fmla="*/ 46 h 169"/>
                <a:gd name="T64" fmla="*/ 19 w 332"/>
                <a:gd name="T65" fmla="*/ 55 h 169"/>
                <a:gd name="T66" fmla="*/ 11 w 332"/>
                <a:gd name="T67" fmla="*/ 72 h 169"/>
                <a:gd name="T68" fmla="*/ 7 w 332"/>
                <a:gd name="T69" fmla="*/ 8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2" name="Freeform 222">
              <a:extLst>
                <a:ext uri="{FF2B5EF4-FFF2-40B4-BE49-F238E27FC236}">
                  <a16:creationId xmlns:a16="http://schemas.microsoft.com/office/drawing/2014/main" id="{884E9D43-E7A9-4D3D-AA62-887DEB5342E7}"/>
                </a:ext>
              </a:extLst>
            </p:cNvPr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3341688" y="3209925"/>
              <a:ext cx="125412" cy="122238"/>
            </a:xfrm>
            <a:custGeom>
              <a:avLst/>
              <a:gdLst>
                <a:gd name="T0" fmla="*/ 44 w 286"/>
                <a:gd name="T1" fmla="*/ 86 h 235"/>
                <a:gd name="T2" fmla="*/ 49 w 286"/>
                <a:gd name="T3" fmla="*/ 96 h 235"/>
                <a:gd name="T4" fmla="*/ 53 w 286"/>
                <a:gd name="T5" fmla="*/ 105 h 235"/>
                <a:gd name="T6" fmla="*/ 61 w 286"/>
                <a:gd name="T7" fmla="*/ 110 h 235"/>
                <a:gd name="T8" fmla="*/ 71 w 286"/>
                <a:gd name="T9" fmla="*/ 111 h 235"/>
                <a:gd name="T10" fmla="*/ 77 w 286"/>
                <a:gd name="T11" fmla="*/ 108 h 235"/>
                <a:gd name="T12" fmla="*/ 86 w 286"/>
                <a:gd name="T13" fmla="*/ 99 h 235"/>
                <a:gd name="T14" fmla="*/ 100 w 286"/>
                <a:gd name="T15" fmla="*/ 78 h 235"/>
                <a:gd name="T16" fmla="*/ 128 w 286"/>
                <a:gd name="T17" fmla="*/ 57 h 235"/>
                <a:gd name="T18" fmla="*/ 168 w 286"/>
                <a:gd name="T19" fmla="*/ 38 h 235"/>
                <a:gd name="T20" fmla="*/ 210 w 286"/>
                <a:gd name="T21" fmla="*/ 22 h 235"/>
                <a:gd name="T22" fmla="*/ 258 w 286"/>
                <a:gd name="T23" fmla="*/ 7 h 235"/>
                <a:gd name="T24" fmla="*/ 286 w 286"/>
                <a:gd name="T25" fmla="*/ 11 h 235"/>
                <a:gd name="T26" fmla="*/ 282 w 286"/>
                <a:gd name="T27" fmla="*/ 32 h 235"/>
                <a:gd name="T28" fmla="*/ 272 w 286"/>
                <a:gd name="T29" fmla="*/ 70 h 235"/>
                <a:gd name="T30" fmla="*/ 254 w 286"/>
                <a:gd name="T31" fmla="*/ 128 h 235"/>
                <a:gd name="T32" fmla="*/ 244 w 286"/>
                <a:gd name="T33" fmla="*/ 174 h 235"/>
                <a:gd name="T34" fmla="*/ 240 w 286"/>
                <a:gd name="T35" fmla="*/ 206 h 235"/>
                <a:gd name="T36" fmla="*/ 146 w 286"/>
                <a:gd name="T37" fmla="*/ 216 h 235"/>
                <a:gd name="T38" fmla="*/ 138 w 286"/>
                <a:gd name="T39" fmla="*/ 218 h 235"/>
                <a:gd name="T40" fmla="*/ 132 w 286"/>
                <a:gd name="T41" fmla="*/ 223 h 235"/>
                <a:gd name="T42" fmla="*/ 127 w 286"/>
                <a:gd name="T43" fmla="*/ 235 h 235"/>
                <a:gd name="T44" fmla="*/ 109 w 286"/>
                <a:gd name="T45" fmla="*/ 217 h 235"/>
                <a:gd name="T46" fmla="*/ 94 w 286"/>
                <a:gd name="T47" fmla="*/ 199 h 235"/>
                <a:gd name="T48" fmla="*/ 69 w 286"/>
                <a:gd name="T49" fmla="*/ 160 h 235"/>
                <a:gd name="T50" fmla="*/ 55 w 286"/>
                <a:gd name="T51" fmla="*/ 142 h 235"/>
                <a:gd name="T52" fmla="*/ 41 w 286"/>
                <a:gd name="T53" fmla="*/ 125 h 235"/>
                <a:gd name="T54" fmla="*/ 22 w 286"/>
                <a:gd name="T55" fmla="*/ 110 h 235"/>
                <a:gd name="T56" fmla="*/ 0 w 286"/>
                <a:gd name="T57" fmla="*/ 99 h 235"/>
                <a:gd name="T58" fmla="*/ 13 w 286"/>
                <a:gd name="T59" fmla="*/ 97 h 235"/>
                <a:gd name="T60" fmla="*/ 26 w 286"/>
                <a:gd name="T61" fmla="*/ 91 h 235"/>
                <a:gd name="T62" fmla="*/ 39 w 286"/>
                <a:gd name="T63" fmla="*/ 84 h 235"/>
                <a:gd name="T64" fmla="*/ 47 w 286"/>
                <a:gd name="T65" fmla="*/ 7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3" name="Freeform 223">
              <a:extLst>
                <a:ext uri="{FF2B5EF4-FFF2-40B4-BE49-F238E27FC236}">
                  <a16:creationId xmlns:a16="http://schemas.microsoft.com/office/drawing/2014/main" id="{E7D26A2A-88DE-43B2-92C8-A7B05F496D4E}"/>
                </a:ext>
              </a:extLst>
            </p:cNvPr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3392489" y="3322638"/>
              <a:ext cx="84137" cy="100012"/>
            </a:xfrm>
            <a:custGeom>
              <a:avLst/>
              <a:gdLst>
                <a:gd name="T0" fmla="*/ 188 w 205"/>
                <a:gd name="T1" fmla="*/ 185 h 191"/>
                <a:gd name="T2" fmla="*/ 175 w 205"/>
                <a:gd name="T3" fmla="*/ 185 h 191"/>
                <a:gd name="T4" fmla="*/ 158 w 205"/>
                <a:gd name="T5" fmla="*/ 185 h 191"/>
                <a:gd name="T6" fmla="*/ 144 w 205"/>
                <a:gd name="T7" fmla="*/ 180 h 191"/>
                <a:gd name="T8" fmla="*/ 136 w 205"/>
                <a:gd name="T9" fmla="*/ 173 h 191"/>
                <a:gd name="T10" fmla="*/ 129 w 205"/>
                <a:gd name="T11" fmla="*/ 163 h 191"/>
                <a:gd name="T12" fmla="*/ 120 w 205"/>
                <a:gd name="T13" fmla="*/ 147 h 191"/>
                <a:gd name="T14" fmla="*/ 110 w 205"/>
                <a:gd name="T15" fmla="*/ 131 h 191"/>
                <a:gd name="T16" fmla="*/ 99 w 205"/>
                <a:gd name="T17" fmla="*/ 121 h 191"/>
                <a:gd name="T18" fmla="*/ 93 w 205"/>
                <a:gd name="T19" fmla="*/ 126 h 191"/>
                <a:gd name="T20" fmla="*/ 90 w 205"/>
                <a:gd name="T21" fmla="*/ 135 h 191"/>
                <a:gd name="T22" fmla="*/ 84 w 205"/>
                <a:gd name="T23" fmla="*/ 130 h 191"/>
                <a:gd name="T24" fmla="*/ 72 w 205"/>
                <a:gd name="T25" fmla="*/ 113 h 191"/>
                <a:gd name="T26" fmla="*/ 56 w 205"/>
                <a:gd name="T27" fmla="*/ 87 h 191"/>
                <a:gd name="T28" fmla="*/ 41 w 205"/>
                <a:gd name="T29" fmla="*/ 67 h 191"/>
                <a:gd name="T30" fmla="*/ 31 w 205"/>
                <a:gd name="T31" fmla="*/ 58 h 191"/>
                <a:gd name="T32" fmla="*/ 26 w 205"/>
                <a:gd name="T33" fmla="*/ 60 h 191"/>
                <a:gd name="T34" fmla="*/ 29 w 205"/>
                <a:gd name="T35" fmla="*/ 69 h 191"/>
                <a:gd name="T36" fmla="*/ 34 w 205"/>
                <a:gd name="T37" fmla="*/ 78 h 191"/>
                <a:gd name="T38" fmla="*/ 41 w 205"/>
                <a:gd name="T39" fmla="*/ 84 h 191"/>
                <a:gd name="T40" fmla="*/ 46 w 205"/>
                <a:gd name="T41" fmla="*/ 105 h 191"/>
                <a:gd name="T42" fmla="*/ 13 w 205"/>
                <a:gd name="T43" fmla="*/ 98 h 191"/>
                <a:gd name="T44" fmla="*/ 4 w 205"/>
                <a:gd name="T45" fmla="*/ 84 h 191"/>
                <a:gd name="T46" fmla="*/ 0 w 205"/>
                <a:gd name="T47" fmla="*/ 60 h 191"/>
                <a:gd name="T48" fmla="*/ 0 w 205"/>
                <a:gd name="T49" fmla="*/ 38 h 191"/>
                <a:gd name="T50" fmla="*/ 3 w 205"/>
                <a:gd name="T51" fmla="*/ 28 h 191"/>
                <a:gd name="T52" fmla="*/ 8 w 205"/>
                <a:gd name="T53" fmla="*/ 22 h 191"/>
                <a:gd name="T54" fmla="*/ 14 w 205"/>
                <a:gd name="T55" fmla="*/ 13 h 191"/>
                <a:gd name="T56" fmla="*/ 20 w 205"/>
                <a:gd name="T57" fmla="*/ 4 h 191"/>
                <a:gd name="T58" fmla="*/ 28 w 205"/>
                <a:gd name="T59" fmla="*/ 0 h 191"/>
                <a:gd name="T60" fmla="*/ 126 w 205"/>
                <a:gd name="T61" fmla="*/ 6 h 191"/>
                <a:gd name="T62" fmla="*/ 127 w 205"/>
                <a:gd name="T63" fmla="*/ 21 h 191"/>
                <a:gd name="T64" fmla="*/ 130 w 205"/>
                <a:gd name="T65" fmla="*/ 37 h 191"/>
                <a:gd name="T66" fmla="*/ 143 w 205"/>
                <a:gd name="T67" fmla="*/ 70 h 191"/>
                <a:gd name="T68" fmla="*/ 165 w 205"/>
                <a:gd name="T69" fmla="*/ 102 h 191"/>
                <a:gd name="T70" fmla="*/ 177 w 205"/>
                <a:gd name="T71" fmla="*/ 117 h 191"/>
                <a:gd name="T72" fmla="*/ 192 w 205"/>
                <a:gd name="T73" fmla="*/ 130 h 191"/>
                <a:gd name="T74" fmla="*/ 189 w 205"/>
                <a:gd name="T75" fmla="*/ 143 h 191"/>
                <a:gd name="T76" fmla="*/ 189 w 205"/>
                <a:gd name="T77" fmla="*/ 156 h 191"/>
                <a:gd name="T78" fmla="*/ 192 w 205"/>
                <a:gd name="T79" fmla="*/ 191 h 191"/>
                <a:gd name="T80" fmla="*/ 205 w 205"/>
                <a:gd name="T81" fmla="*/ 18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4" name="Freeform 224">
              <a:extLst>
                <a:ext uri="{FF2B5EF4-FFF2-40B4-BE49-F238E27FC236}">
                  <a16:creationId xmlns:a16="http://schemas.microsoft.com/office/drawing/2014/main" id="{52A0B9F9-0746-45D9-9428-D24C9C3478E5}"/>
                </a:ext>
              </a:extLst>
            </p:cNvPr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3473451" y="3376614"/>
              <a:ext cx="142875" cy="79375"/>
            </a:xfrm>
            <a:custGeom>
              <a:avLst/>
              <a:gdLst>
                <a:gd name="T0" fmla="*/ 3 w 329"/>
                <a:gd name="T1" fmla="*/ 58 h 154"/>
                <a:gd name="T2" fmla="*/ 0 w 329"/>
                <a:gd name="T3" fmla="*/ 42 h 154"/>
                <a:gd name="T4" fmla="*/ 2 w 329"/>
                <a:gd name="T5" fmla="*/ 31 h 154"/>
                <a:gd name="T6" fmla="*/ 17 w 329"/>
                <a:gd name="T7" fmla="*/ 33 h 154"/>
                <a:gd name="T8" fmla="*/ 36 w 329"/>
                <a:gd name="T9" fmla="*/ 41 h 154"/>
                <a:gd name="T10" fmla="*/ 49 w 329"/>
                <a:gd name="T11" fmla="*/ 43 h 154"/>
                <a:gd name="T12" fmla="*/ 67 w 329"/>
                <a:gd name="T13" fmla="*/ 43 h 154"/>
                <a:gd name="T14" fmla="*/ 86 w 329"/>
                <a:gd name="T15" fmla="*/ 39 h 154"/>
                <a:gd name="T16" fmla="*/ 110 w 329"/>
                <a:gd name="T17" fmla="*/ 30 h 154"/>
                <a:gd name="T18" fmla="*/ 140 w 329"/>
                <a:gd name="T19" fmla="*/ 13 h 154"/>
                <a:gd name="T20" fmla="*/ 162 w 329"/>
                <a:gd name="T21" fmla="*/ 4 h 154"/>
                <a:gd name="T22" fmla="*/ 179 w 329"/>
                <a:gd name="T23" fmla="*/ 0 h 154"/>
                <a:gd name="T24" fmla="*/ 203 w 329"/>
                <a:gd name="T25" fmla="*/ 0 h 154"/>
                <a:gd name="T26" fmla="*/ 224 w 329"/>
                <a:gd name="T27" fmla="*/ 6 h 154"/>
                <a:gd name="T28" fmla="*/ 243 w 329"/>
                <a:gd name="T29" fmla="*/ 15 h 154"/>
                <a:gd name="T30" fmla="*/ 259 w 329"/>
                <a:gd name="T31" fmla="*/ 28 h 154"/>
                <a:gd name="T32" fmla="*/ 280 w 329"/>
                <a:gd name="T33" fmla="*/ 46 h 154"/>
                <a:gd name="T34" fmla="*/ 302 w 329"/>
                <a:gd name="T35" fmla="*/ 61 h 154"/>
                <a:gd name="T36" fmla="*/ 319 w 329"/>
                <a:gd name="T37" fmla="*/ 67 h 154"/>
                <a:gd name="T38" fmla="*/ 313 w 329"/>
                <a:gd name="T39" fmla="*/ 82 h 154"/>
                <a:gd name="T40" fmla="*/ 293 w 329"/>
                <a:gd name="T41" fmla="*/ 106 h 154"/>
                <a:gd name="T42" fmla="*/ 277 w 329"/>
                <a:gd name="T43" fmla="*/ 138 h 154"/>
                <a:gd name="T44" fmla="*/ 265 w 329"/>
                <a:gd name="T45" fmla="*/ 153 h 154"/>
                <a:gd name="T46" fmla="*/ 253 w 329"/>
                <a:gd name="T47" fmla="*/ 146 h 154"/>
                <a:gd name="T48" fmla="*/ 240 w 329"/>
                <a:gd name="T49" fmla="*/ 136 h 154"/>
                <a:gd name="T50" fmla="*/ 230 w 329"/>
                <a:gd name="T51" fmla="*/ 126 h 154"/>
                <a:gd name="T52" fmla="*/ 230 w 329"/>
                <a:gd name="T53" fmla="*/ 114 h 154"/>
                <a:gd name="T54" fmla="*/ 235 w 329"/>
                <a:gd name="T55" fmla="*/ 100 h 154"/>
                <a:gd name="T56" fmla="*/ 249 w 329"/>
                <a:gd name="T57" fmla="*/ 86 h 154"/>
                <a:gd name="T58" fmla="*/ 233 w 329"/>
                <a:gd name="T59" fmla="*/ 68 h 154"/>
                <a:gd name="T60" fmla="*/ 207 w 329"/>
                <a:gd name="T61" fmla="*/ 55 h 154"/>
                <a:gd name="T62" fmla="*/ 195 w 329"/>
                <a:gd name="T63" fmla="*/ 41 h 154"/>
                <a:gd name="T64" fmla="*/ 179 w 329"/>
                <a:gd name="T65" fmla="*/ 34 h 154"/>
                <a:gd name="T66" fmla="*/ 163 w 329"/>
                <a:gd name="T67" fmla="*/ 41 h 154"/>
                <a:gd name="T68" fmla="*/ 150 w 329"/>
                <a:gd name="T69" fmla="*/ 50 h 154"/>
                <a:gd name="T70" fmla="*/ 140 w 329"/>
                <a:gd name="T71" fmla="*/ 61 h 154"/>
                <a:gd name="T72" fmla="*/ 132 w 329"/>
                <a:gd name="T73" fmla="*/ 74 h 154"/>
                <a:gd name="T74" fmla="*/ 128 w 329"/>
                <a:gd name="T75" fmla="*/ 88 h 154"/>
                <a:gd name="T76" fmla="*/ 123 w 329"/>
                <a:gd name="T77" fmla="*/ 109 h 154"/>
                <a:gd name="T78" fmla="*/ 122 w 329"/>
                <a:gd name="T79" fmla="*/ 125 h 154"/>
                <a:gd name="T80" fmla="*/ 118 w 329"/>
                <a:gd name="T81" fmla="*/ 129 h 154"/>
                <a:gd name="T82" fmla="*/ 108 w 329"/>
                <a:gd name="T83" fmla="*/ 135 h 154"/>
                <a:gd name="T84" fmla="*/ 96 w 329"/>
                <a:gd name="T85" fmla="*/ 135 h 154"/>
                <a:gd name="T86" fmla="*/ 83 w 329"/>
                <a:gd name="T87" fmla="*/ 129 h 154"/>
                <a:gd name="T88" fmla="*/ 66 w 329"/>
                <a:gd name="T89" fmla="*/ 116 h 154"/>
                <a:gd name="T90" fmla="*/ 48 w 329"/>
                <a:gd name="T91" fmla="*/ 94 h 154"/>
                <a:gd name="T92" fmla="*/ 33 w 329"/>
                <a:gd name="T93" fmla="*/ 80 h 154"/>
                <a:gd name="T94" fmla="*/ 22 w 329"/>
                <a:gd name="T95" fmla="*/ 74 h 154"/>
                <a:gd name="T96" fmla="*/ 3 w 329"/>
                <a:gd name="T97" fmla="*/ 7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5" name="Freeform 225">
              <a:extLst>
                <a:ext uri="{FF2B5EF4-FFF2-40B4-BE49-F238E27FC236}">
                  <a16:creationId xmlns:a16="http://schemas.microsoft.com/office/drawing/2014/main" id="{8B585636-F77D-4156-A3A2-AA2E705FE9B7}"/>
                </a:ext>
              </a:extLst>
            </p:cNvPr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4154488" y="4630739"/>
              <a:ext cx="133350" cy="155575"/>
            </a:xfrm>
            <a:custGeom>
              <a:avLst/>
              <a:gdLst>
                <a:gd name="T0" fmla="*/ 297 w 306"/>
                <a:gd name="T1" fmla="*/ 181 h 293"/>
                <a:gd name="T2" fmla="*/ 296 w 306"/>
                <a:gd name="T3" fmla="*/ 185 h 293"/>
                <a:gd name="T4" fmla="*/ 291 w 306"/>
                <a:gd name="T5" fmla="*/ 194 h 293"/>
                <a:gd name="T6" fmla="*/ 282 w 306"/>
                <a:gd name="T7" fmla="*/ 199 h 293"/>
                <a:gd name="T8" fmla="*/ 272 w 306"/>
                <a:gd name="T9" fmla="*/ 201 h 293"/>
                <a:gd name="T10" fmla="*/ 263 w 306"/>
                <a:gd name="T11" fmla="*/ 207 h 293"/>
                <a:gd name="T12" fmla="*/ 253 w 306"/>
                <a:gd name="T13" fmla="*/ 229 h 293"/>
                <a:gd name="T14" fmla="*/ 242 w 306"/>
                <a:gd name="T15" fmla="*/ 254 h 293"/>
                <a:gd name="T16" fmla="*/ 231 w 306"/>
                <a:gd name="T17" fmla="*/ 267 h 293"/>
                <a:gd name="T18" fmla="*/ 221 w 306"/>
                <a:gd name="T19" fmla="*/ 273 h 293"/>
                <a:gd name="T20" fmla="*/ 200 w 306"/>
                <a:gd name="T21" fmla="*/ 281 h 293"/>
                <a:gd name="T22" fmla="*/ 164 w 306"/>
                <a:gd name="T23" fmla="*/ 290 h 293"/>
                <a:gd name="T24" fmla="*/ 139 w 306"/>
                <a:gd name="T25" fmla="*/ 293 h 293"/>
                <a:gd name="T26" fmla="*/ 123 w 306"/>
                <a:gd name="T27" fmla="*/ 293 h 293"/>
                <a:gd name="T28" fmla="*/ 106 w 306"/>
                <a:gd name="T29" fmla="*/ 290 h 293"/>
                <a:gd name="T30" fmla="*/ 92 w 306"/>
                <a:gd name="T31" fmla="*/ 286 h 293"/>
                <a:gd name="T32" fmla="*/ 80 w 306"/>
                <a:gd name="T33" fmla="*/ 278 h 293"/>
                <a:gd name="T34" fmla="*/ 71 w 306"/>
                <a:gd name="T35" fmla="*/ 268 h 293"/>
                <a:gd name="T36" fmla="*/ 1 w 306"/>
                <a:gd name="T37" fmla="*/ 236 h 293"/>
                <a:gd name="T38" fmla="*/ 0 w 306"/>
                <a:gd name="T39" fmla="*/ 88 h 293"/>
                <a:gd name="T40" fmla="*/ 1 w 306"/>
                <a:gd name="T41" fmla="*/ 49 h 293"/>
                <a:gd name="T42" fmla="*/ 4 w 306"/>
                <a:gd name="T43" fmla="*/ 35 h 293"/>
                <a:gd name="T44" fmla="*/ 11 w 306"/>
                <a:gd name="T45" fmla="*/ 21 h 293"/>
                <a:gd name="T46" fmla="*/ 20 w 306"/>
                <a:gd name="T47" fmla="*/ 8 h 293"/>
                <a:gd name="T48" fmla="*/ 41 w 306"/>
                <a:gd name="T49" fmla="*/ 2 h 293"/>
                <a:gd name="T50" fmla="*/ 53 w 306"/>
                <a:gd name="T51" fmla="*/ 0 h 293"/>
                <a:gd name="T52" fmla="*/ 72 w 306"/>
                <a:gd name="T53" fmla="*/ 6 h 293"/>
                <a:gd name="T54" fmla="*/ 80 w 306"/>
                <a:gd name="T55" fmla="*/ 7 h 293"/>
                <a:gd name="T56" fmla="*/ 84 w 306"/>
                <a:gd name="T57" fmla="*/ 4 h 293"/>
                <a:gd name="T58" fmla="*/ 87 w 306"/>
                <a:gd name="T59" fmla="*/ 5 h 293"/>
                <a:gd name="T60" fmla="*/ 90 w 306"/>
                <a:gd name="T61" fmla="*/ 11 h 293"/>
                <a:gd name="T62" fmla="*/ 99 w 306"/>
                <a:gd name="T63" fmla="*/ 19 h 293"/>
                <a:gd name="T64" fmla="*/ 121 w 306"/>
                <a:gd name="T65" fmla="*/ 31 h 293"/>
                <a:gd name="T66" fmla="*/ 148 w 306"/>
                <a:gd name="T67" fmla="*/ 41 h 293"/>
                <a:gd name="T68" fmla="*/ 182 w 306"/>
                <a:gd name="T69" fmla="*/ 59 h 293"/>
                <a:gd name="T70" fmla="*/ 210 w 306"/>
                <a:gd name="T71" fmla="*/ 79 h 293"/>
                <a:gd name="T72" fmla="*/ 241 w 306"/>
                <a:gd name="T73" fmla="*/ 102 h 293"/>
                <a:gd name="T74" fmla="*/ 261 w 306"/>
                <a:gd name="T75" fmla="*/ 117 h 293"/>
                <a:gd name="T76" fmla="*/ 266 w 306"/>
                <a:gd name="T77" fmla="*/ 124 h 293"/>
                <a:gd name="T78" fmla="*/ 280 w 306"/>
                <a:gd name="T79" fmla="*/ 135 h 293"/>
                <a:gd name="T80" fmla="*/ 299 w 306"/>
                <a:gd name="T81" fmla="*/ 151 h 293"/>
                <a:gd name="T82" fmla="*/ 306 w 306"/>
                <a:gd name="T83" fmla="*/ 161 h 293"/>
                <a:gd name="T84" fmla="*/ 304 w 306"/>
                <a:gd name="T85" fmla="*/ 166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6" name="Freeform 226">
              <a:extLst>
                <a:ext uri="{FF2B5EF4-FFF2-40B4-BE49-F238E27FC236}">
                  <a16:creationId xmlns:a16="http://schemas.microsoft.com/office/drawing/2014/main" id="{8837382B-44DE-4B8C-8067-A7A5437A09B7}"/>
                </a:ext>
              </a:extLst>
            </p:cNvPr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5700714" y="1247776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7" name="Freeform 227">
              <a:extLst>
                <a:ext uri="{FF2B5EF4-FFF2-40B4-BE49-F238E27FC236}">
                  <a16:creationId xmlns:a16="http://schemas.microsoft.com/office/drawing/2014/main" id="{EA2F4458-6488-489E-9CE2-5ADC236A4643}"/>
                </a:ext>
              </a:extLst>
            </p:cNvPr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5627688" y="1477963"/>
              <a:ext cx="449262" cy="361950"/>
            </a:xfrm>
            <a:custGeom>
              <a:avLst/>
              <a:gdLst>
                <a:gd name="T0" fmla="*/ 240 w 1037"/>
                <a:gd name="T1" fmla="*/ 622 h 690"/>
                <a:gd name="T2" fmla="*/ 155 w 1037"/>
                <a:gd name="T3" fmla="*/ 683 h 690"/>
                <a:gd name="T4" fmla="*/ 32 w 1037"/>
                <a:gd name="T5" fmla="*/ 654 h 690"/>
                <a:gd name="T6" fmla="*/ 67 w 1037"/>
                <a:gd name="T7" fmla="*/ 634 h 690"/>
                <a:gd name="T8" fmla="*/ 18 w 1037"/>
                <a:gd name="T9" fmla="*/ 596 h 690"/>
                <a:gd name="T10" fmla="*/ 44 w 1037"/>
                <a:gd name="T11" fmla="*/ 595 h 690"/>
                <a:gd name="T12" fmla="*/ 67 w 1037"/>
                <a:gd name="T13" fmla="*/ 567 h 690"/>
                <a:gd name="T14" fmla="*/ 8 w 1037"/>
                <a:gd name="T15" fmla="*/ 546 h 690"/>
                <a:gd name="T16" fmla="*/ 74 w 1037"/>
                <a:gd name="T17" fmla="*/ 523 h 690"/>
                <a:gd name="T18" fmla="*/ 0 w 1037"/>
                <a:gd name="T19" fmla="*/ 499 h 690"/>
                <a:gd name="T20" fmla="*/ 20 w 1037"/>
                <a:gd name="T21" fmla="*/ 456 h 690"/>
                <a:gd name="T22" fmla="*/ 37 w 1037"/>
                <a:gd name="T23" fmla="*/ 461 h 690"/>
                <a:gd name="T24" fmla="*/ 77 w 1037"/>
                <a:gd name="T25" fmla="*/ 449 h 690"/>
                <a:gd name="T26" fmla="*/ 92 w 1037"/>
                <a:gd name="T27" fmla="*/ 424 h 690"/>
                <a:gd name="T28" fmla="*/ 130 w 1037"/>
                <a:gd name="T29" fmla="*/ 409 h 690"/>
                <a:gd name="T30" fmla="*/ 220 w 1037"/>
                <a:gd name="T31" fmla="*/ 382 h 690"/>
                <a:gd name="T32" fmla="*/ 227 w 1037"/>
                <a:gd name="T33" fmla="*/ 339 h 690"/>
                <a:gd name="T34" fmla="*/ 283 w 1037"/>
                <a:gd name="T35" fmla="*/ 325 h 690"/>
                <a:gd name="T36" fmla="*/ 282 w 1037"/>
                <a:gd name="T37" fmla="*/ 310 h 690"/>
                <a:gd name="T38" fmla="*/ 298 w 1037"/>
                <a:gd name="T39" fmla="*/ 285 h 690"/>
                <a:gd name="T40" fmla="*/ 335 w 1037"/>
                <a:gd name="T41" fmla="*/ 243 h 690"/>
                <a:gd name="T42" fmla="*/ 343 w 1037"/>
                <a:gd name="T43" fmla="*/ 226 h 690"/>
                <a:gd name="T44" fmla="*/ 390 w 1037"/>
                <a:gd name="T45" fmla="*/ 200 h 690"/>
                <a:gd name="T46" fmla="*/ 387 w 1037"/>
                <a:gd name="T47" fmla="*/ 157 h 690"/>
                <a:gd name="T48" fmla="*/ 373 w 1037"/>
                <a:gd name="T49" fmla="*/ 142 h 690"/>
                <a:gd name="T50" fmla="*/ 334 w 1037"/>
                <a:gd name="T51" fmla="*/ 154 h 690"/>
                <a:gd name="T52" fmla="*/ 390 w 1037"/>
                <a:gd name="T53" fmla="*/ 103 h 690"/>
                <a:gd name="T54" fmla="*/ 411 w 1037"/>
                <a:gd name="T55" fmla="*/ 96 h 690"/>
                <a:gd name="T56" fmla="*/ 463 w 1037"/>
                <a:gd name="T57" fmla="*/ 114 h 690"/>
                <a:gd name="T58" fmla="*/ 466 w 1037"/>
                <a:gd name="T59" fmla="*/ 91 h 690"/>
                <a:gd name="T60" fmla="*/ 558 w 1037"/>
                <a:gd name="T61" fmla="*/ 61 h 690"/>
                <a:gd name="T62" fmla="*/ 591 w 1037"/>
                <a:gd name="T63" fmla="*/ 63 h 690"/>
                <a:gd name="T64" fmla="*/ 645 w 1037"/>
                <a:gd name="T65" fmla="*/ 55 h 690"/>
                <a:gd name="T66" fmla="*/ 645 w 1037"/>
                <a:gd name="T67" fmla="*/ 33 h 690"/>
                <a:gd name="T68" fmla="*/ 699 w 1037"/>
                <a:gd name="T69" fmla="*/ 13 h 690"/>
                <a:gd name="T70" fmla="*/ 705 w 1037"/>
                <a:gd name="T71" fmla="*/ 29 h 690"/>
                <a:gd name="T72" fmla="*/ 712 w 1037"/>
                <a:gd name="T73" fmla="*/ 40 h 690"/>
                <a:gd name="T74" fmla="*/ 758 w 1037"/>
                <a:gd name="T75" fmla="*/ 12 h 690"/>
                <a:gd name="T76" fmla="*/ 817 w 1037"/>
                <a:gd name="T77" fmla="*/ 6 h 690"/>
                <a:gd name="T78" fmla="*/ 844 w 1037"/>
                <a:gd name="T79" fmla="*/ 8 h 690"/>
                <a:gd name="T80" fmla="*/ 862 w 1037"/>
                <a:gd name="T81" fmla="*/ 11 h 690"/>
                <a:gd name="T82" fmla="*/ 924 w 1037"/>
                <a:gd name="T83" fmla="*/ 6 h 690"/>
                <a:gd name="T84" fmla="*/ 1037 w 1037"/>
                <a:gd name="T85" fmla="*/ 43 h 690"/>
                <a:gd name="T86" fmla="*/ 1005 w 1037"/>
                <a:gd name="T87" fmla="*/ 79 h 690"/>
                <a:gd name="T88" fmla="*/ 930 w 1037"/>
                <a:gd name="T89" fmla="*/ 55 h 690"/>
                <a:gd name="T90" fmla="*/ 873 w 1037"/>
                <a:gd name="T91" fmla="*/ 74 h 690"/>
                <a:gd name="T92" fmla="*/ 848 w 1037"/>
                <a:gd name="T93" fmla="*/ 116 h 690"/>
                <a:gd name="T94" fmla="*/ 811 w 1037"/>
                <a:gd name="T95" fmla="*/ 111 h 690"/>
                <a:gd name="T96" fmla="*/ 745 w 1037"/>
                <a:gd name="T97" fmla="*/ 128 h 690"/>
                <a:gd name="T98" fmla="*/ 694 w 1037"/>
                <a:gd name="T99" fmla="*/ 92 h 690"/>
                <a:gd name="T100" fmla="*/ 620 w 1037"/>
                <a:gd name="T101" fmla="*/ 112 h 690"/>
                <a:gd name="T102" fmla="*/ 534 w 1037"/>
                <a:gd name="T103" fmla="*/ 134 h 690"/>
                <a:gd name="T104" fmla="*/ 486 w 1037"/>
                <a:gd name="T105" fmla="*/ 210 h 690"/>
                <a:gd name="T106" fmla="*/ 430 w 1037"/>
                <a:gd name="T107" fmla="*/ 279 h 690"/>
                <a:gd name="T108" fmla="*/ 399 w 1037"/>
                <a:gd name="T109" fmla="*/ 364 h 690"/>
                <a:gd name="T110" fmla="*/ 333 w 1037"/>
                <a:gd name="T111" fmla="*/ 425 h 690"/>
                <a:gd name="T112" fmla="*/ 355 w 1037"/>
                <a:gd name="T113" fmla="*/ 497 h 690"/>
                <a:gd name="T114" fmla="*/ 354 w 1037"/>
                <a:gd name="T115" fmla="*/ 558 h 690"/>
                <a:gd name="T116" fmla="*/ 331 w 1037"/>
                <a:gd name="T117" fmla="*/ 615 h 690"/>
                <a:gd name="T118" fmla="*/ 295 w 1037"/>
                <a:gd name="T119" fmla="*/ 645 h 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58" name="Freeform 228">
              <a:extLst>
                <a:ext uri="{FF2B5EF4-FFF2-40B4-BE49-F238E27FC236}">
                  <a16:creationId xmlns:a16="http://schemas.microsoft.com/office/drawing/2014/main" id="{927A16DD-FCB2-4E50-BE34-ADA8E3EE8E57}"/>
                </a:ext>
              </a:extLst>
            </p:cNvPr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5967413" y="2319339"/>
              <a:ext cx="49212" cy="90487"/>
            </a:xfrm>
            <a:custGeom>
              <a:avLst/>
              <a:gdLst>
                <a:gd name="T0" fmla="*/ 120 w 120"/>
                <a:gd name="T1" fmla="*/ 99 h 173"/>
                <a:gd name="T2" fmla="*/ 92 w 120"/>
                <a:gd name="T3" fmla="*/ 60 h 173"/>
                <a:gd name="T4" fmla="*/ 70 w 120"/>
                <a:gd name="T5" fmla="*/ 28 h 173"/>
                <a:gd name="T6" fmla="*/ 60 w 120"/>
                <a:gd name="T7" fmla="*/ 16 h 173"/>
                <a:gd name="T8" fmla="*/ 53 w 120"/>
                <a:gd name="T9" fmla="*/ 8 h 173"/>
                <a:gd name="T10" fmla="*/ 48 w 120"/>
                <a:gd name="T11" fmla="*/ 4 h 173"/>
                <a:gd name="T12" fmla="*/ 45 w 120"/>
                <a:gd name="T13" fmla="*/ 2 h 173"/>
                <a:gd name="T14" fmla="*/ 43 w 120"/>
                <a:gd name="T15" fmla="*/ 1 h 173"/>
                <a:gd name="T16" fmla="*/ 39 w 120"/>
                <a:gd name="T17" fmla="*/ 0 h 173"/>
                <a:gd name="T18" fmla="*/ 33 w 120"/>
                <a:gd name="T19" fmla="*/ 0 h 173"/>
                <a:gd name="T20" fmla="*/ 27 w 120"/>
                <a:gd name="T21" fmla="*/ 1 h 173"/>
                <a:gd name="T22" fmla="*/ 24 w 120"/>
                <a:gd name="T23" fmla="*/ 3 h 173"/>
                <a:gd name="T24" fmla="*/ 21 w 120"/>
                <a:gd name="T25" fmla="*/ 5 h 173"/>
                <a:gd name="T26" fmla="*/ 19 w 120"/>
                <a:gd name="T27" fmla="*/ 8 h 173"/>
                <a:gd name="T28" fmla="*/ 16 w 120"/>
                <a:gd name="T29" fmla="*/ 12 h 173"/>
                <a:gd name="T30" fmla="*/ 15 w 120"/>
                <a:gd name="T31" fmla="*/ 15 h 173"/>
                <a:gd name="T32" fmla="*/ 15 w 120"/>
                <a:gd name="T33" fmla="*/ 20 h 173"/>
                <a:gd name="T34" fmla="*/ 14 w 120"/>
                <a:gd name="T35" fmla="*/ 30 h 173"/>
                <a:gd name="T36" fmla="*/ 12 w 120"/>
                <a:gd name="T37" fmla="*/ 42 h 173"/>
                <a:gd name="T38" fmla="*/ 10 w 120"/>
                <a:gd name="T39" fmla="*/ 48 h 173"/>
                <a:gd name="T40" fmla="*/ 8 w 120"/>
                <a:gd name="T41" fmla="*/ 54 h 173"/>
                <a:gd name="T42" fmla="*/ 4 w 120"/>
                <a:gd name="T43" fmla="*/ 61 h 173"/>
                <a:gd name="T44" fmla="*/ 0 w 120"/>
                <a:gd name="T45" fmla="*/ 68 h 173"/>
                <a:gd name="T46" fmla="*/ 5 w 120"/>
                <a:gd name="T47" fmla="*/ 82 h 173"/>
                <a:gd name="T48" fmla="*/ 10 w 120"/>
                <a:gd name="T49" fmla="*/ 99 h 173"/>
                <a:gd name="T50" fmla="*/ 15 w 120"/>
                <a:gd name="T51" fmla="*/ 115 h 173"/>
                <a:gd name="T52" fmla="*/ 20 w 120"/>
                <a:gd name="T53" fmla="*/ 129 h 173"/>
                <a:gd name="T54" fmla="*/ 24 w 120"/>
                <a:gd name="T55" fmla="*/ 134 h 173"/>
                <a:gd name="T56" fmla="*/ 30 w 120"/>
                <a:gd name="T57" fmla="*/ 139 h 173"/>
                <a:gd name="T58" fmla="*/ 37 w 120"/>
                <a:gd name="T59" fmla="*/ 145 h 173"/>
                <a:gd name="T60" fmla="*/ 46 w 120"/>
                <a:gd name="T61" fmla="*/ 151 h 173"/>
                <a:gd name="T62" fmla="*/ 54 w 120"/>
                <a:gd name="T63" fmla="*/ 157 h 173"/>
                <a:gd name="T64" fmla="*/ 60 w 120"/>
                <a:gd name="T65" fmla="*/ 163 h 173"/>
                <a:gd name="T66" fmla="*/ 62 w 120"/>
                <a:gd name="T67" fmla="*/ 165 h 173"/>
                <a:gd name="T68" fmla="*/ 65 w 120"/>
                <a:gd name="T69" fmla="*/ 168 h 173"/>
                <a:gd name="T70" fmla="*/ 66 w 120"/>
                <a:gd name="T71" fmla="*/ 170 h 173"/>
                <a:gd name="T72" fmla="*/ 67 w 120"/>
                <a:gd name="T73" fmla="*/ 173 h 173"/>
                <a:gd name="T74" fmla="*/ 76 w 120"/>
                <a:gd name="T75" fmla="*/ 167 h 173"/>
                <a:gd name="T76" fmla="*/ 86 w 120"/>
                <a:gd name="T77" fmla="*/ 160 h 173"/>
                <a:gd name="T78" fmla="*/ 93 w 120"/>
                <a:gd name="T79" fmla="*/ 152 h 173"/>
                <a:gd name="T80" fmla="*/ 101 w 120"/>
                <a:gd name="T81" fmla="*/ 142 h 173"/>
                <a:gd name="T82" fmla="*/ 106 w 120"/>
                <a:gd name="T83" fmla="*/ 132 h 173"/>
                <a:gd name="T84" fmla="*/ 112 w 120"/>
                <a:gd name="T85" fmla="*/ 121 h 173"/>
                <a:gd name="T86" fmla="*/ 116 w 120"/>
                <a:gd name="T87" fmla="*/ 110 h 173"/>
                <a:gd name="T88" fmla="*/ 120 w 120"/>
                <a:gd name="T89" fmla="*/ 99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9" name="Freeform 229">
              <a:extLst>
                <a:ext uri="{FF2B5EF4-FFF2-40B4-BE49-F238E27FC236}">
                  <a16:creationId xmlns:a16="http://schemas.microsoft.com/office/drawing/2014/main" id="{79F58FA9-41E7-4E47-A2A1-7D93C3760354}"/>
                </a:ext>
              </a:extLst>
            </p:cNvPr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5675314" y="2159000"/>
              <a:ext cx="84137" cy="58738"/>
            </a:xfrm>
            <a:custGeom>
              <a:avLst/>
              <a:gdLst>
                <a:gd name="T0" fmla="*/ 200 w 200"/>
                <a:gd name="T1" fmla="*/ 55 h 98"/>
                <a:gd name="T2" fmla="*/ 195 w 200"/>
                <a:gd name="T3" fmla="*/ 56 h 98"/>
                <a:gd name="T4" fmla="*/ 186 w 200"/>
                <a:gd name="T5" fmla="*/ 60 h 98"/>
                <a:gd name="T6" fmla="*/ 177 w 200"/>
                <a:gd name="T7" fmla="*/ 65 h 98"/>
                <a:gd name="T8" fmla="*/ 166 w 200"/>
                <a:gd name="T9" fmla="*/ 73 h 98"/>
                <a:gd name="T10" fmla="*/ 155 w 200"/>
                <a:gd name="T11" fmla="*/ 80 h 98"/>
                <a:gd name="T12" fmla="*/ 145 w 200"/>
                <a:gd name="T13" fmla="*/ 87 h 98"/>
                <a:gd name="T14" fmla="*/ 137 w 200"/>
                <a:gd name="T15" fmla="*/ 93 h 98"/>
                <a:gd name="T16" fmla="*/ 133 w 200"/>
                <a:gd name="T17" fmla="*/ 98 h 98"/>
                <a:gd name="T18" fmla="*/ 127 w 200"/>
                <a:gd name="T19" fmla="*/ 98 h 98"/>
                <a:gd name="T20" fmla="*/ 122 w 200"/>
                <a:gd name="T21" fmla="*/ 98 h 98"/>
                <a:gd name="T22" fmla="*/ 116 w 200"/>
                <a:gd name="T23" fmla="*/ 97 h 98"/>
                <a:gd name="T24" fmla="*/ 111 w 200"/>
                <a:gd name="T25" fmla="*/ 95 h 98"/>
                <a:gd name="T26" fmla="*/ 106 w 200"/>
                <a:gd name="T27" fmla="*/ 93 h 98"/>
                <a:gd name="T28" fmla="*/ 103 w 200"/>
                <a:gd name="T29" fmla="*/ 88 h 98"/>
                <a:gd name="T30" fmla="*/ 101 w 200"/>
                <a:gd name="T31" fmla="*/ 82 h 98"/>
                <a:gd name="T32" fmla="*/ 100 w 200"/>
                <a:gd name="T33" fmla="*/ 74 h 98"/>
                <a:gd name="T34" fmla="*/ 91 w 200"/>
                <a:gd name="T35" fmla="*/ 80 h 98"/>
                <a:gd name="T36" fmla="*/ 82 w 200"/>
                <a:gd name="T37" fmla="*/ 86 h 98"/>
                <a:gd name="T38" fmla="*/ 78 w 200"/>
                <a:gd name="T39" fmla="*/ 90 h 98"/>
                <a:gd name="T40" fmla="*/ 72 w 200"/>
                <a:gd name="T41" fmla="*/ 93 h 98"/>
                <a:gd name="T42" fmla="*/ 67 w 200"/>
                <a:gd name="T43" fmla="*/ 96 h 98"/>
                <a:gd name="T44" fmla="*/ 60 w 200"/>
                <a:gd name="T45" fmla="*/ 98 h 98"/>
                <a:gd name="T46" fmla="*/ 39 w 200"/>
                <a:gd name="T47" fmla="*/ 98 h 98"/>
                <a:gd name="T48" fmla="*/ 34 w 200"/>
                <a:gd name="T49" fmla="*/ 98 h 98"/>
                <a:gd name="T50" fmla="*/ 28 w 200"/>
                <a:gd name="T51" fmla="*/ 95 h 98"/>
                <a:gd name="T52" fmla="*/ 22 w 200"/>
                <a:gd name="T53" fmla="*/ 92 h 98"/>
                <a:gd name="T54" fmla="*/ 15 w 200"/>
                <a:gd name="T55" fmla="*/ 89 h 98"/>
                <a:gd name="T56" fmla="*/ 9 w 200"/>
                <a:gd name="T57" fmla="*/ 85 h 98"/>
                <a:gd name="T58" fmla="*/ 4 w 200"/>
                <a:gd name="T59" fmla="*/ 81 h 98"/>
                <a:gd name="T60" fmla="*/ 1 w 200"/>
                <a:gd name="T61" fmla="*/ 77 h 98"/>
                <a:gd name="T62" fmla="*/ 0 w 200"/>
                <a:gd name="T63" fmla="*/ 74 h 98"/>
                <a:gd name="T64" fmla="*/ 5 w 200"/>
                <a:gd name="T65" fmla="*/ 71 h 98"/>
                <a:gd name="T66" fmla="*/ 10 w 200"/>
                <a:gd name="T67" fmla="*/ 67 h 98"/>
                <a:gd name="T68" fmla="*/ 14 w 200"/>
                <a:gd name="T69" fmla="*/ 60 h 98"/>
                <a:gd name="T70" fmla="*/ 20 w 200"/>
                <a:gd name="T71" fmla="*/ 53 h 98"/>
                <a:gd name="T72" fmla="*/ 23 w 200"/>
                <a:gd name="T73" fmla="*/ 45 h 98"/>
                <a:gd name="T74" fmla="*/ 27 w 200"/>
                <a:gd name="T75" fmla="*/ 37 h 98"/>
                <a:gd name="T76" fmla="*/ 30 w 200"/>
                <a:gd name="T77" fmla="*/ 28 h 98"/>
                <a:gd name="T78" fmla="*/ 33 w 200"/>
                <a:gd name="T79" fmla="*/ 19 h 98"/>
                <a:gd name="T80" fmla="*/ 66 w 200"/>
                <a:gd name="T81" fmla="*/ 14 h 98"/>
                <a:gd name="T82" fmla="*/ 103 w 200"/>
                <a:gd name="T83" fmla="*/ 9 h 98"/>
                <a:gd name="T84" fmla="*/ 145 w 200"/>
                <a:gd name="T85" fmla="*/ 4 h 98"/>
                <a:gd name="T86" fmla="*/ 193 w 200"/>
                <a:gd name="T87" fmla="*/ 0 h 98"/>
                <a:gd name="T88" fmla="*/ 166 w 200"/>
                <a:gd name="T89" fmla="*/ 31 h 98"/>
                <a:gd name="T90" fmla="*/ 166 w 200"/>
                <a:gd name="T91" fmla="*/ 34 h 98"/>
                <a:gd name="T92" fmla="*/ 164 w 200"/>
                <a:gd name="T93" fmla="*/ 37 h 98"/>
                <a:gd name="T94" fmla="*/ 162 w 200"/>
                <a:gd name="T95" fmla="*/ 39 h 98"/>
                <a:gd name="T96" fmla="*/ 161 w 200"/>
                <a:gd name="T97" fmla="*/ 41 h 98"/>
                <a:gd name="T98" fmla="*/ 157 w 200"/>
                <a:gd name="T99" fmla="*/ 45 h 98"/>
                <a:gd name="T100" fmla="*/ 156 w 200"/>
                <a:gd name="T101" fmla="*/ 47 h 98"/>
                <a:gd name="T102" fmla="*/ 156 w 200"/>
                <a:gd name="T103" fmla="*/ 49 h 98"/>
                <a:gd name="T104" fmla="*/ 157 w 200"/>
                <a:gd name="T105" fmla="*/ 50 h 98"/>
                <a:gd name="T106" fmla="*/ 159 w 200"/>
                <a:gd name="T107" fmla="*/ 50 h 98"/>
                <a:gd name="T108" fmla="*/ 163 w 200"/>
                <a:gd name="T109" fmla="*/ 51 h 98"/>
                <a:gd name="T110" fmla="*/ 177 w 200"/>
                <a:gd name="T111" fmla="*/ 53 h 98"/>
                <a:gd name="T112" fmla="*/ 200 w 200"/>
                <a:gd name="T113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0" name="Freeform 230">
              <a:extLst>
                <a:ext uri="{FF2B5EF4-FFF2-40B4-BE49-F238E27FC236}">
                  <a16:creationId xmlns:a16="http://schemas.microsoft.com/office/drawing/2014/main" id="{A86328A5-7D8B-439D-A60C-A752C4A717CE}"/>
                </a:ext>
              </a:extLst>
            </p:cNvPr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5613400" y="1978026"/>
              <a:ext cx="84138" cy="73025"/>
            </a:xfrm>
            <a:custGeom>
              <a:avLst/>
              <a:gdLst>
                <a:gd name="T0" fmla="*/ 0 w 186"/>
                <a:gd name="T1" fmla="*/ 112 h 142"/>
                <a:gd name="T2" fmla="*/ 2 w 186"/>
                <a:gd name="T3" fmla="*/ 116 h 142"/>
                <a:gd name="T4" fmla="*/ 3 w 186"/>
                <a:gd name="T5" fmla="*/ 107 h 142"/>
                <a:gd name="T6" fmla="*/ 3 w 186"/>
                <a:gd name="T7" fmla="*/ 93 h 142"/>
                <a:gd name="T8" fmla="*/ 9 w 186"/>
                <a:gd name="T9" fmla="*/ 82 h 142"/>
                <a:gd name="T10" fmla="*/ 17 w 186"/>
                <a:gd name="T11" fmla="*/ 69 h 142"/>
                <a:gd name="T12" fmla="*/ 20 w 186"/>
                <a:gd name="T13" fmla="*/ 56 h 142"/>
                <a:gd name="T14" fmla="*/ 23 w 186"/>
                <a:gd name="T15" fmla="*/ 46 h 142"/>
                <a:gd name="T16" fmla="*/ 28 w 186"/>
                <a:gd name="T17" fmla="*/ 37 h 142"/>
                <a:gd name="T18" fmla="*/ 35 w 186"/>
                <a:gd name="T19" fmla="*/ 32 h 142"/>
                <a:gd name="T20" fmla="*/ 41 w 186"/>
                <a:gd name="T21" fmla="*/ 38 h 142"/>
                <a:gd name="T22" fmla="*/ 43 w 186"/>
                <a:gd name="T23" fmla="*/ 49 h 142"/>
                <a:gd name="T24" fmla="*/ 47 w 186"/>
                <a:gd name="T25" fmla="*/ 58 h 142"/>
                <a:gd name="T26" fmla="*/ 55 w 186"/>
                <a:gd name="T27" fmla="*/ 65 h 142"/>
                <a:gd name="T28" fmla="*/ 87 w 186"/>
                <a:gd name="T29" fmla="*/ 67 h 142"/>
                <a:gd name="T30" fmla="*/ 79 w 186"/>
                <a:gd name="T31" fmla="*/ 41 h 142"/>
                <a:gd name="T32" fmla="*/ 69 w 186"/>
                <a:gd name="T33" fmla="*/ 36 h 142"/>
                <a:gd name="T34" fmla="*/ 63 w 186"/>
                <a:gd name="T35" fmla="*/ 30 h 142"/>
                <a:gd name="T36" fmla="*/ 61 w 186"/>
                <a:gd name="T37" fmla="*/ 23 h 142"/>
                <a:gd name="T38" fmla="*/ 70 w 186"/>
                <a:gd name="T39" fmla="*/ 17 h 142"/>
                <a:gd name="T40" fmla="*/ 87 w 186"/>
                <a:gd name="T41" fmla="*/ 14 h 142"/>
                <a:gd name="T42" fmla="*/ 98 w 186"/>
                <a:gd name="T43" fmla="*/ 10 h 142"/>
                <a:gd name="T44" fmla="*/ 111 w 186"/>
                <a:gd name="T45" fmla="*/ 6 h 142"/>
                <a:gd name="T46" fmla="*/ 130 w 186"/>
                <a:gd name="T47" fmla="*/ 3 h 142"/>
                <a:gd name="T48" fmla="*/ 147 w 186"/>
                <a:gd name="T49" fmla="*/ 1 h 142"/>
                <a:gd name="T50" fmla="*/ 159 w 186"/>
                <a:gd name="T51" fmla="*/ 2 h 142"/>
                <a:gd name="T52" fmla="*/ 176 w 186"/>
                <a:gd name="T53" fmla="*/ 1 h 142"/>
                <a:gd name="T54" fmla="*/ 183 w 186"/>
                <a:gd name="T55" fmla="*/ 10 h 142"/>
                <a:gd name="T56" fmla="*/ 178 w 186"/>
                <a:gd name="T57" fmla="*/ 26 h 142"/>
                <a:gd name="T58" fmla="*/ 169 w 186"/>
                <a:gd name="T59" fmla="*/ 40 h 142"/>
                <a:gd name="T60" fmla="*/ 159 w 186"/>
                <a:gd name="T61" fmla="*/ 51 h 142"/>
                <a:gd name="T62" fmla="*/ 155 w 186"/>
                <a:gd name="T63" fmla="*/ 63 h 142"/>
                <a:gd name="T64" fmla="*/ 153 w 186"/>
                <a:gd name="T65" fmla="*/ 76 h 142"/>
                <a:gd name="T66" fmla="*/ 120 w 186"/>
                <a:gd name="T67" fmla="*/ 142 h 142"/>
                <a:gd name="T68" fmla="*/ 80 w 186"/>
                <a:gd name="T69" fmla="*/ 122 h 142"/>
                <a:gd name="T70" fmla="*/ 35 w 186"/>
                <a:gd name="T71" fmla="*/ 117 h 142"/>
                <a:gd name="T72" fmla="*/ 8 w 186"/>
                <a:gd name="T73" fmla="*/ 113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1" name="Freeform 231">
              <a:extLst>
                <a:ext uri="{FF2B5EF4-FFF2-40B4-BE49-F238E27FC236}">
                  <a16:creationId xmlns:a16="http://schemas.microsoft.com/office/drawing/2014/main" id="{6ED0ADBE-BD6C-43E7-A521-B14414ABABB2}"/>
                </a:ext>
              </a:extLst>
            </p:cNvPr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5594350" y="2041525"/>
              <a:ext cx="84138" cy="57150"/>
            </a:xfrm>
            <a:custGeom>
              <a:avLst/>
              <a:gdLst>
                <a:gd name="T0" fmla="*/ 192 w 192"/>
                <a:gd name="T1" fmla="*/ 61 h 105"/>
                <a:gd name="T2" fmla="*/ 189 w 192"/>
                <a:gd name="T3" fmla="*/ 62 h 105"/>
                <a:gd name="T4" fmla="*/ 184 w 192"/>
                <a:gd name="T5" fmla="*/ 63 h 105"/>
                <a:gd name="T6" fmla="*/ 180 w 192"/>
                <a:gd name="T7" fmla="*/ 64 h 105"/>
                <a:gd name="T8" fmla="*/ 177 w 192"/>
                <a:gd name="T9" fmla="*/ 67 h 105"/>
                <a:gd name="T10" fmla="*/ 168 w 192"/>
                <a:gd name="T11" fmla="*/ 72 h 105"/>
                <a:gd name="T12" fmla="*/ 160 w 192"/>
                <a:gd name="T13" fmla="*/ 79 h 105"/>
                <a:gd name="T14" fmla="*/ 154 w 192"/>
                <a:gd name="T15" fmla="*/ 86 h 105"/>
                <a:gd name="T16" fmla="*/ 147 w 192"/>
                <a:gd name="T17" fmla="*/ 93 h 105"/>
                <a:gd name="T18" fmla="*/ 143 w 192"/>
                <a:gd name="T19" fmla="*/ 99 h 105"/>
                <a:gd name="T20" fmla="*/ 139 w 192"/>
                <a:gd name="T21" fmla="*/ 105 h 105"/>
                <a:gd name="T22" fmla="*/ 120 w 192"/>
                <a:gd name="T23" fmla="*/ 97 h 105"/>
                <a:gd name="T24" fmla="*/ 102 w 192"/>
                <a:gd name="T25" fmla="*/ 89 h 105"/>
                <a:gd name="T26" fmla="*/ 86 w 192"/>
                <a:gd name="T27" fmla="*/ 80 h 105"/>
                <a:gd name="T28" fmla="*/ 69 w 192"/>
                <a:gd name="T29" fmla="*/ 71 h 105"/>
                <a:gd name="T30" fmla="*/ 53 w 192"/>
                <a:gd name="T31" fmla="*/ 61 h 105"/>
                <a:gd name="T32" fmla="*/ 36 w 192"/>
                <a:gd name="T33" fmla="*/ 53 h 105"/>
                <a:gd name="T34" fmla="*/ 19 w 192"/>
                <a:gd name="T35" fmla="*/ 44 h 105"/>
                <a:gd name="T36" fmla="*/ 0 w 192"/>
                <a:gd name="T37" fmla="*/ 37 h 105"/>
                <a:gd name="T38" fmla="*/ 0 w 192"/>
                <a:gd name="T39" fmla="*/ 13 h 105"/>
                <a:gd name="T40" fmla="*/ 7 w 192"/>
                <a:gd name="T41" fmla="*/ 7 h 105"/>
                <a:gd name="T42" fmla="*/ 16 w 192"/>
                <a:gd name="T43" fmla="*/ 4 h 105"/>
                <a:gd name="T44" fmla="*/ 29 w 192"/>
                <a:gd name="T45" fmla="*/ 1 h 105"/>
                <a:gd name="T46" fmla="*/ 40 w 192"/>
                <a:gd name="T47" fmla="*/ 0 h 105"/>
                <a:gd name="T48" fmla="*/ 60 w 192"/>
                <a:gd name="T49" fmla="*/ 2 h 105"/>
                <a:gd name="T50" fmla="*/ 93 w 192"/>
                <a:gd name="T51" fmla="*/ 5 h 105"/>
                <a:gd name="T52" fmla="*/ 111 w 192"/>
                <a:gd name="T53" fmla="*/ 7 h 105"/>
                <a:gd name="T54" fmla="*/ 128 w 192"/>
                <a:gd name="T55" fmla="*/ 7 h 105"/>
                <a:gd name="T56" fmla="*/ 143 w 192"/>
                <a:gd name="T57" fmla="*/ 7 h 105"/>
                <a:gd name="T58" fmla="*/ 153 w 192"/>
                <a:gd name="T59" fmla="*/ 6 h 105"/>
                <a:gd name="T60" fmla="*/ 155 w 192"/>
                <a:gd name="T61" fmla="*/ 11 h 105"/>
                <a:gd name="T62" fmla="*/ 159 w 192"/>
                <a:gd name="T63" fmla="*/ 17 h 105"/>
                <a:gd name="T64" fmla="*/ 161 w 192"/>
                <a:gd name="T65" fmla="*/ 20 h 105"/>
                <a:gd name="T66" fmla="*/ 164 w 192"/>
                <a:gd name="T67" fmla="*/ 23 h 105"/>
                <a:gd name="T68" fmla="*/ 165 w 192"/>
                <a:gd name="T69" fmla="*/ 27 h 105"/>
                <a:gd name="T70" fmla="*/ 166 w 192"/>
                <a:gd name="T71" fmla="*/ 31 h 105"/>
                <a:gd name="T72" fmla="*/ 170 w 192"/>
                <a:gd name="T73" fmla="*/ 32 h 105"/>
                <a:gd name="T74" fmla="*/ 177 w 192"/>
                <a:gd name="T75" fmla="*/ 33 h 105"/>
                <a:gd name="T76" fmla="*/ 180 w 192"/>
                <a:gd name="T77" fmla="*/ 34 h 105"/>
                <a:gd name="T78" fmla="*/ 183 w 192"/>
                <a:gd name="T79" fmla="*/ 34 h 105"/>
                <a:gd name="T80" fmla="*/ 188 w 192"/>
                <a:gd name="T81" fmla="*/ 33 h 105"/>
                <a:gd name="T82" fmla="*/ 192 w 192"/>
                <a:gd name="T83" fmla="*/ 31 h 105"/>
                <a:gd name="T84" fmla="*/ 192 w 192"/>
                <a:gd name="T85" fmla="*/ 6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2" name="Freeform 232">
              <a:extLst>
                <a:ext uri="{FF2B5EF4-FFF2-40B4-BE49-F238E27FC236}">
                  <a16:creationId xmlns:a16="http://schemas.microsoft.com/office/drawing/2014/main" id="{EC60592C-2933-408C-963A-8FCC6222985C}"/>
                </a:ext>
              </a:extLst>
            </p:cNvPr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6354764" y="2595563"/>
              <a:ext cx="33337" cy="131762"/>
            </a:xfrm>
            <a:custGeom>
              <a:avLst/>
              <a:gdLst>
                <a:gd name="T0" fmla="*/ 33 w 80"/>
                <a:gd name="T1" fmla="*/ 0 h 254"/>
                <a:gd name="T2" fmla="*/ 37 w 80"/>
                <a:gd name="T3" fmla="*/ 2 h 254"/>
                <a:gd name="T4" fmla="*/ 40 w 80"/>
                <a:gd name="T5" fmla="*/ 4 h 254"/>
                <a:gd name="T6" fmla="*/ 43 w 80"/>
                <a:gd name="T7" fmla="*/ 7 h 254"/>
                <a:gd name="T8" fmla="*/ 46 w 80"/>
                <a:gd name="T9" fmla="*/ 10 h 254"/>
                <a:gd name="T10" fmla="*/ 52 w 80"/>
                <a:gd name="T11" fmla="*/ 18 h 254"/>
                <a:gd name="T12" fmla="*/ 56 w 80"/>
                <a:gd name="T13" fmla="*/ 25 h 254"/>
                <a:gd name="T14" fmla="*/ 62 w 80"/>
                <a:gd name="T15" fmla="*/ 32 h 254"/>
                <a:gd name="T16" fmla="*/ 67 w 80"/>
                <a:gd name="T17" fmla="*/ 38 h 254"/>
                <a:gd name="T18" fmla="*/ 70 w 80"/>
                <a:gd name="T19" fmla="*/ 40 h 254"/>
                <a:gd name="T20" fmla="*/ 73 w 80"/>
                <a:gd name="T21" fmla="*/ 42 h 254"/>
                <a:gd name="T22" fmla="*/ 76 w 80"/>
                <a:gd name="T23" fmla="*/ 43 h 254"/>
                <a:gd name="T24" fmla="*/ 80 w 80"/>
                <a:gd name="T25" fmla="*/ 44 h 254"/>
                <a:gd name="T26" fmla="*/ 80 w 80"/>
                <a:gd name="T27" fmla="*/ 53 h 254"/>
                <a:gd name="T28" fmla="*/ 80 w 80"/>
                <a:gd name="T29" fmla="*/ 62 h 254"/>
                <a:gd name="T30" fmla="*/ 53 w 80"/>
                <a:gd name="T31" fmla="*/ 254 h 254"/>
                <a:gd name="T32" fmla="*/ 0 w 80"/>
                <a:gd name="T33" fmla="*/ 93 h 254"/>
                <a:gd name="T34" fmla="*/ 4 w 80"/>
                <a:gd name="T35" fmla="*/ 88 h 254"/>
                <a:gd name="T36" fmla="*/ 11 w 80"/>
                <a:gd name="T37" fmla="*/ 71 h 254"/>
                <a:gd name="T38" fmla="*/ 17 w 80"/>
                <a:gd name="T39" fmla="*/ 57 h 254"/>
                <a:gd name="T40" fmla="*/ 22 w 80"/>
                <a:gd name="T41" fmla="*/ 41 h 254"/>
                <a:gd name="T42" fmla="*/ 28 w 80"/>
                <a:gd name="T43" fmla="*/ 23 h 254"/>
                <a:gd name="T44" fmla="*/ 33 w 80"/>
                <a:gd name="T45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63" name="Freeform 233">
              <a:extLst>
                <a:ext uri="{FF2B5EF4-FFF2-40B4-BE49-F238E27FC236}">
                  <a16:creationId xmlns:a16="http://schemas.microsoft.com/office/drawing/2014/main" id="{78C7CF49-30AB-4DC7-A8FB-22BC8488A55B}"/>
                </a:ext>
              </a:extLst>
            </p:cNvPr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6303963" y="2647951"/>
              <a:ext cx="69850" cy="130175"/>
            </a:xfrm>
            <a:custGeom>
              <a:avLst/>
              <a:gdLst>
                <a:gd name="T0" fmla="*/ 114 w 167"/>
                <a:gd name="T1" fmla="*/ 0 h 259"/>
                <a:gd name="T2" fmla="*/ 167 w 167"/>
                <a:gd name="T3" fmla="*/ 155 h 259"/>
                <a:gd name="T4" fmla="*/ 121 w 167"/>
                <a:gd name="T5" fmla="*/ 259 h 259"/>
                <a:gd name="T6" fmla="*/ 113 w 167"/>
                <a:gd name="T7" fmla="*/ 259 h 259"/>
                <a:gd name="T8" fmla="*/ 107 w 167"/>
                <a:gd name="T9" fmla="*/ 257 h 259"/>
                <a:gd name="T10" fmla="*/ 100 w 167"/>
                <a:gd name="T11" fmla="*/ 254 h 259"/>
                <a:gd name="T12" fmla="*/ 95 w 167"/>
                <a:gd name="T13" fmla="*/ 251 h 259"/>
                <a:gd name="T14" fmla="*/ 89 w 167"/>
                <a:gd name="T15" fmla="*/ 245 h 259"/>
                <a:gd name="T16" fmla="*/ 85 w 167"/>
                <a:gd name="T17" fmla="*/ 240 h 259"/>
                <a:gd name="T18" fmla="*/ 80 w 167"/>
                <a:gd name="T19" fmla="*/ 235 h 259"/>
                <a:gd name="T20" fmla="*/ 76 w 167"/>
                <a:gd name="T21" fmla="*/ 229 h 259"/>
                <a:gd name="T22" fmla="*/ 69 w 167"/>
                <a:gd name="T23" fmla="*/ 217 h 259"/>
                <a:gd name="T24" fmla="*/ 65 w 167"/>
                <a:gd name="T25" fmla="*/ 205 h 259"/>
                <a:gd name="T26" fmla="*/ 62 w 167"/>
                <a:gd name="T27" fmla="*/ 194 h 259"/>
                <a:gd name="T28" fmla="*/ 62 w 167"/>
                <a:gd name="T29" fmla="*/ 185 h 259"/>
                <a:gd name="T30" fmla="*/ 55 w 167"/>
                <a:gd name="T31" fmla="*/ 184 h 259"/>
                <a:gd name="T32" fmla="*/ 51 w 167"/>
                <a:gd name="T33" fmla="*/ 183 h 259"/>
                <a:gd name="T34" fmla="*/ 45 w 167"/>
                <a:gd name="T35" fmla="*/ 182 h 259"/>
                <a:gd name="T36" fmla="*/ 42 w 167"/>
                <a:gd name="T37" fmla="*/ 180 h 259"/>
                <a:gd name="T38" fmla="*/ 39 w 167"/>
                <a:gd name="T39" fmla="*/ 177 h 259"/>
                <a:gd name="T40" fmla="*/ 36 w 167"/>
                <a:gd name="T41" fmla="*/ 174 h 259"/>
                <a:gd name="T42" fmla="*/ 34 w 167"/>
                <a:gd name="T43" fmla="*/ 170 h 259"/>
                <a:gd name="T44" fmla="*/ 32 w 167"/>
                <a:gd name="T45" fmla="*/ 167 h 259"/>
                <a:gd name="T46" fmla="*/ 30 w 167"/>
                <a:gd name="T47" fmla="*/ 158 h 259"/>
                <a:gd name="T48" fmla="*/ 29 w 167"/>
                <a:gd name="T49" fmla="*/ 149 h 259"/>
                <a:gd name="T50" fmla="*/ 28 w 167"/>
                <a:gd name="T51" fmla="*/ 140 h 259"/>
                <a:gd name="T52" fmla="*/ 28 w 167"/>
                <a:gd name="T53" fmla="*/ 129 h 259"/>
                <a:gd name="T54" fmla="*/ 21 w 167"/>
                <a:gd name="T55" fmla="*/ 129 h 259"/>
                <a:gd name="T56" fmla="*/ 16 w 167"/>
                <a:gd name="T57" fmla="*/ 127 h 259"/>
                <a:gd name="T58" fmla="*/ 11 w 167"/>
                <a:gd name="T59" fmla="*/ 125 h 259"/>
                <a:gd name="T60" fmla="*/ 7 w 167"/>
                <a:gd name="T61" fmla="*/ 121 h 259"/>
                <a:gd name="T62" fmla="*/ 5 w 167"/>
                <a:gd name="T63" fmla="*/ 117 h 259"/>
                <a:gd name="T64" fmla="*/ 2 w 167"/>
                <a:gd name="T65" fmla="*/ 112 h 259"/>
                <a:gd name="T66" fmla="*/ 0 w 167"/>
                <a:gd name="T67" fmla="*/ 107 h 259"/>
                <a:gd name="T68" fmla="*/ 0 w 167"/>
                <a:gd name="T69" fmla="*/ 101 h 259"/>
                <a:gd name="T70" fmla="*/ 0 w 167"/>
                <a:gd name="T71" fmla="*/ 75 h 259"/>
                <a:gd name="T72" fmla="*/ 1 w 167"/>
                <a:gd name="T73" fmla="*/ 50 h 259"/>
                <a:gd name="T74" fmla="*/ 12 w 167"/>
                <a:gd name="T75" fmla="*/ 52 h 259"/>
                <a:gd name="T76" fmla="*/ 22 w 167"/>
                <a:gd name="T77" fmla="*/ 53 h 259"/>
                <a:gd name="T78" fmla="*/ 32 w 167"/>
                <a:gd name="T79" fmla="*/ 53 h 259"/>
                <a:gd name="T80" fmla="*/ 42 w 167"/>
                <a:gd name="T81" fmla="*/ 52 h 259"/>
                <a:gd name="T82" fmla="*/ 50 w 167"/>
                <a:gd name="T83" fmla="*/ 51 h 259"/>
                <a:gd name="T84" fmla="*/ 58 w 167"/>
                <a:gd name="T85" fmla="*/ 49 h 259"/>
                <a:gd name="T86" fmla="*/ 66 w 167"/>
                <a:gd name="T87" fmla="*/ 47 h 259"/>
                <a:gd name="T88" fmla="*/ 73 w 167"/>
                <a:gd name="T89" fmla="*/ 44 h 259"/>
                <a:gd name="T90" fmla="*/ 79 w 167"/>
                <a:gd name="T91" fmla="*/ 40 h 259"/>
                <a:gd name="T92" fmla="*/ 86 w 167"/>
                <a:gd name="T93" fmla="*/ 36 h 259"/>
                <a:gd name="T94" fmla="*/ 91 w 167"/>
                <a:gd name="T95" fmla="*/ 31 h 259"/>
                <a:gd name="T96" fmla="*/ 97 w 167"/>
                <a:gd name="T97" fmla="*/ 26 h 259"/>
                <a:gd name="T98" fmla="*/ 107 w 167"/>
                <a:gd name="T99" fmla="*/ 13 h 259"/>
                <a:gd name="T100" fmla="*/ 114 w 167"/>
                <a:gd name="T101" fmla="*/ 0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64" name="Freeform 234">
              <a:extLst>
                <a:ext uri="{FF2B5EF4-FFF2-40B4-BE49-F238E27FC236}">
                  <a16:creationId xmlns:a16="http://schemas.microsoft.com/office/drawing/2014/main" id="{4CB783FB-D180-4AE0-8220-B6E17120AE5B}"/>
                </a:ext>
              </a:extLst>
            </p:cNvPr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5305425" y="1901826"/>
              <a:ext cx="96838" cy="144463"/>
            </a:xfrm>
            <a:custGeom>
              <a:avLst/>
              <a:gdLst>
                <a:gd name="T0" fmla="*/ 185 w 225"/>
                <a:gd name="T1" fmla="*/ 67 h 273"/>
                <a:gd name="T2" fmla="*/ 173 w 225"/>
                <a:gd name="T3" fmla="*/ 78 h 273"/>
                <a:gd name="T4" fmla="*/ 159 w 225"/>
                <a:gd name="T5" fmla="*/ 82 h 273"/>
                <a:gd name="T6" fmla="*/ 163 w 225"/>
                <a:gd name="T7" fmla="*/ 93 h 273"/>
                <a:gd name="T8" fmla="*/ 174 w 225"/>
                <a:gd name="T9" fmla="*/ 101 h 273"/>
                <a:gd name="T10" fmla="*/ 195 w 225"/>
                <a:gd name="T11" fmla="*/ 105 h 273"/>
                <a:gd name="T12" fmla="*/ 225 w 225"/>
                <a:gd name="T13" fmla="*/ 106 h 273"/>
                <a:gd name="T14" fmla="*/ 225 w 225"/>
                <a:gd name="T15" fmla="*/ 152 h 273"/>
                <a:gd name="T16" fmla="*/ 224 w 225"/>
                <a:gd name="T17" fmla="*/ 176 h 273"/>
                <a:gd name="T18" fmla="*/ 215 w 225"/>
                <a:gd name="T19" fmla="*/ 187 h 273"/>
                <a:gd name="T20" fmla="*/ 197 w 225"/>
                <a:gd name="T21" fmla="*/ 205 h 273"/>
                <a:gd name="T22" fmla="*/ 192 w 225"/>
                <a:gd name="T23" fmla="*/ 214 h 273"/>
                <a:gd name="T24" fmla="*/ 179 w 225"/>
                <a:gd name="T25" fmla="*/ 218 h 273"/>
                <a:gd name="T26" fmla="*/ 164 w 225"/>
                <a:gd name="T27" fmla="*/ 225 h 273"/>
                <a:gd name="T28" fmla="*/ 159 w 225"/>
                <a:gd name="T29" fmla="*/ 236 h 273"/>
                <a:gd name="T30" fmla="*/ 140 w 225"/>
                <a:gd name="T31" fmla="*/ 242 h 273"/>
                <a:gd name="T32" fmla="*/ 128 w 225"/>
                <a:gd name="T33" fmla="*/ 252 h 273"/>
                <a:gd name="T34" fmla="*/ 101 w 225"/>
                <a:gd name="T35" fmla="*/ 255 h 273"/>
                <a:gd name="T36" fmla="*/ 60 w 225"/>
                <a:gd name="T37" fmla="*/ 261 h 273"/>
                <a:gd name="T38" fmla="*/ 19 w 225"/>
                <a:gd name="T39" fmla="*/ 261 h 273"/>
                <a:gd name="T40" fmla="*/ 0 w 225"/>
                <a:gd name="T41" fmla="*/ 217 h 273"/>
                <a:gd name="T42" fmla="*/ 21 w 225"/>
                <a:gd name="T43" fmla="*/ 212 h 273"/>
                <a:gd name="T44" fmla="*/ 26 w 225"/>
                <a:gd name="T45" fmla="*/ 205 h 273"/>
                <a:gd name="T46" fmla="*/ 60 w 225"/>
                <a:gd name="T47" fmla="*/ 202 h 273"/>
                <a:gd name="T48" fmla="*/ 72 w 225"/>
                <a:gd name="T49" fmla="*/ 193 h 273"/>
                <a:gd name="T50" fmla="*/ 48 w 225"/>
                <a:gd name="T51" fmla="*/ 198 h 273"/>
                <a:gd name="T52" fmla="*/ 40 w 225"/>
                <a:gd name="T53" fmla="*/ 197 h 273"/>
                <a:gd name="T54" fmla="*/ 39 w 225"/>
                <a:gd name="T55" fmla="*/ 188 h 273"/>
                <a:gd name="T56" fmla="*/ 46 w 225"/>
                <a:gd name="T57" fmla="*/ 173 h 273"/>
                <a:gd name="T58" fmla="*/ 39 w 225"/>
                <a:gd name="T59" fmla="*/ 160 h 273"/>
                <a:gd name="T60" fmla="*/ 14 w 225"/>
                <a:gd name="T61" fmla="*/ 150 h 273"/>
                <a:gd name="T62" fmla="*/ 6 w 225"/>
                <a:gd name="T63" fmla="*/ 130 h 273"/>
                <a:gd name="T64" fmla="*/ 22 w 225"/>
                <a:gd name="T65" fmla="*/ 115 h 273"/>
                <a:gd name="T66" fmla="*/ 35 w 225"/>
                <a:gd name="T67" fmla="*/ 102 h 273"/>
                <a:gd name="T68" fmla="*/ 68 w 225"/>
                <a:gd name="T69" fmla="*/ 94 h 273"/>
                <a:gd name="T70" fmla="*/ 90 w 225"/>
                <a:gd name="T71" fmla="*/ 94 h 273"/>
                <a:gd name="T72" fmla="*/ 100 w 225"/>
                <a:gd name="T73" fmla="*/ 88 h 273"/>
                <a:gd name="T74" fmla="*/ 108 w 225"/>
                <a:gd name="T75" fmla="*/ 52 h 273"/>
                <a:gd name="T76" fmla="*/ 120 w 225"/>
                <a:gd name="T77" fmla="*/ 31 h 273"/>
                <a:gd name="T78" fmla="*/ 130 w 225"/>
                <a:gd name="T79" fmla="*/ 20 h 273"/>
                <a:gd name="T80" fmla="*/ 141 w 225"/>
                <a:gd name="T81" fmla="*/ 7 h 273"/>
                <a:gd name="T82" fmla="*/ 155 w 225"/>
                <a:gd name="T83" fmla="*/ 1 h 273"/>
                <a:gd name="T84" fmla="*/ 179 w 225"/>
                <a:gd name="T85" fmla="*/ 3 h 273"/>
                <a:gd name="T86" fmla="*/ 195 w 225"/>
                <a:gd name="T87" fmla="*/ 38 h 273"/>
                <a:gd name="T88" fmla="*/ 196 w 225"/>
                <a:gd name="T89" fmla="*/ 47 h 273"/>
                <a:gd name="T90" fmla="*/ 190 w 225"/>
                <a:gd name="T91" fmla="*/ 56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65" name="Freeform 235">
              <a:extLst>
                <a:ext uri="{FF2B5EF4-FFF2-40B4-BE49-F238E27FC236}">
                  <a16:creationId xmlns:a16="http://schemas.microsoft.com/office/drawing/2014/main" id="{1300EE60-0856-4E30-BBA9-E0E6EE2B2E6B}"/>
                </a:ext>
              </a:extLst>
            </p:cNvPr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5118100" y="2813051"/>
              <a:ext cx="306388" cy="390525"/>
            </a:xfrm>
            <a:custGeom>
              <a:avLst/>
              <a:gdLst>
                <a:gd name="T0" fmla="*/ 94 w 232"/>
                <a:gd name="T1" fmla="*/ 246 h 248"/>
                <a:gd name="T2" fmla="*/ 96 w 232"/>
                <a:gd name="T3" fmla="*/ 243 h 248"/>
                <a:gd name="T4" fmla="*/ 98 w 232"/>
                <a:gd name="T5" fmla="*/ 238 h 248"/>
                <a:gd name="T6" fmla="*/ 100 w 232"/>
                <a:gd name="T7" fmla="*/ 232 h 248"/>
                <a:gd name="T8" fmla="*/ 103 w 232"/>
                <a:gd name="T9" fmla="*/ 231 h 248"/>
                <a:gd name="T10" fmla="*/ 104 w 232"/>
                <a:gd name="T11" fmla="*/ 238 h 248"/>
                <a:gd name="T12" fmla="*/ 106 w 232"/>
                <a:gd name="T13" fmla="*/ 241 h 248"/>
                <a:gd name="T14" fmla="*/ 108 w 232"/>
                <a:gd name="T15" fmla="*/ 242 h 248"/>
                <a:gd name="T16" fmla="*/ 110 w 232"/>
                <a:gd name="T17" fmla="*/ 242 h 248"/>
                <a:gd name="T18" fmla="*/ 113 w 232"/>
                <a:gd name="T19" fmla="*/ 241 h 248"/>
                <a:gd name="T20" fmla="*/ 116 w 232"/>
                <a:gd name="T21" fmla="*/ 238 h 248"/>
                <a:gd name="T22" fmla="*/ 216 w 232"/>
                <a:gd name="T23" fmla="*/ 234 h 248"/>
                <a:gd name="T24" fmla="*/ 213 w 232"/>
                <a:gd name="T25" fmla="*/ 204 h 248"/>
                <a:gd name="T26" fmla="*/ 207 w 232"/>
                <a:gd name="T27" fmla="*/ 138 h 248"/>
                <a:gd name="T28" fmla="*/ 201 w 232"/>
                <a:gd name="T29" fmla="*/ 73 h 248"/>
                <a:gd name="T30" fmla="*/ 198 w 232"/>
                <a:gd name="T31" fmla="*/ 43 h 248"/>
                <a:gd name="T32" fmla="*/ 215 w 232"/>
                <a:gd name="T33" fmla="*/ 44 h 248"/>
                <a:gd name="T34" fmla="*/ 232 w 232"/>
                <a:gd name="T35" fmla="*/ 46 h 248"/>
                <a:gd name="T36" fmla="*/ 161 w 232"/>
                <a:gd name="T37" fmla="*/ 2 h 248"/>
                <a:gd name="T38" fmla="*/ 160 w 232"/>
                <a:gd name="T39" fmla="*/ 8 h 248"/>
                <a:gd name="T40" fmla="*/ 161 w 232"/>
                <a:gd name="T41" fmla="*/ 18 h 248"/>
                <a:gd name="T42" fmla="*/ 98 w 232"/>
                <a:gd name="T43" fmla="*/ 24 h 248"/>
                <a:gd name="T44" fmla="*/ 98 w 232"/>
                <a:gd name="T45" fmla="*/ 74 h 248"/>
                <a:gd name="T46" fmla="*/ 95 w 232"/>
                <a:gd name="T47" fmla="*/ 76 h 248"/>
                <a:gd name="T48" fmla="*/ 87 w 232"/>
                <a:gd name="T49" fmla="*/ 78 h 248"/>
                <a:gd name="T50" fmla="*/ 72 w 232"/>
                <a:gd name="T51" fmla="*/ 82 h 248"/>
                <a:gd name="T52" fmla="*/ 74 w 232"/>
                <a:gd name="T53" fmla="*/ 88 h 248"/>
                <a:gd name="T54" fmla="*/ 78 w 232"/>
                <a:gd name="T55" fmla="*/ 96 h 248"/>
                <a:gd name="T56" fmla="*/ 80 w 232"/>
                <a:gd name="T57" fmla="*/ 105 h 248"/>
                <a:gd name="T58" fmla="*/ 81 w 232"/>
                <a:gd name="T59" fmla="*/ 115 h 248"/>
                <a:gd name="T60" fmla="*/ 9 w 232"/>
                <a:gd name="T61" fmla="*/ 119 h 248"/>
                <a:gd name="T62" fmla="*/ 5 w 232"/>
                <a:gd name="T63" fmla="*/ 130 h 248"/>
                <a:gd name="T64" fmla="*/ 6 w 232"/>
                <a:gd name="T65" fmla="*/ 143 h 248"/>
                <a:gd name="T66" fmla="*/ 8 w 232"/>
                <a:gd name="T67" fmla="*/ 155 h 248"/>
                <a:gd name="T68" fmla="*/ 9 w 232"/>
                <a:gd name="T69" fmla="*/ 168 h 248"/>
                <a:gd name="T70" fmla="*/ 9 w 232"/>
                <a:gd name="T71" fmla="*/ 182 h 248"/>
                <a:gd name="T72" fmla="*/ 8 w 232"/>
                <a:gd name="T73" fmla="*/ 194 h 248"/>
                <a:gd name="T74" fmla="*/ 6 w 232"/>
                <a:gd name="T75" fmla="*/ 206 h 248"/>
                <a:gd name="T76" fmla="*/ 2 w 232"/>
                <a:gd name="T77" fmla="*/ 216 h 248"/>
                <a:gd name="T78" fmla="*/ 2 w 232"/>
                <a:gd name="T79" fmla="*/ 219 h 248"/>
                <a:gd name="T80" fmla="*/ 3 w 232"/>
                <a:gd name="T81" fmla="*/ 220 h 248"/>
                <a:gd name="T82" fmla="*/ 3 w 232"/>
                <a:gd name="T83" fmla="*/ 222 h 248"/>
                <a:gd name="T84" fmla="*/ 7 w 232"/>
                <a:gd name="T85" fmla="*/ 217 h 248"/>
                <a:gd name="T86" fmla="*/ 18 w 232"/>
                <a:gd name="T87" fmla="*/ 213 h 248"/>
                <a:gd name="T88" fmla="*/ 36 w 232"/>
                <a:gd name="T89" fmla="*/ 207 h 248"/>
                <a:gd name="T90" fmla="*/ 45 w 232"/>
                <a:gd name="T91" fmla="*/ 208 h 248"/>
                <a:gd name="T92" fmla="*/ 51 w 232"/>
                <a:gd name="T93" fmla="*/ 212 h 248"/>
                <a:gd name="T94" fmla="*/ 56 w 232"/>
                <a:gd name="T95" fmla="*/ 214 h 248"/>
                <a:gd name="T96" fmla="*/ 62 w 232"/>
                <a:gd name="T97" fmla="*/ 215 h 248"/>
                <a:gd name="T98" fmla="*/ 66 w 232"/>
                <a:gd name="T99" fmla="*/ 219 h 248"/>
                <a:gd name="T100" fmla="*/ 67 w 232"/>
                <a:gd name="T101" fmla="*/ 225 h 248"/>
                <a:gd name="T102" fmla="*/ 70 w 232"/>
                <a:gd name="T103" fmla="*/ 231 h 248"/>
                <a:gd name="T104" fmla="*/ 74 w 232"/>
                <a:gd name="T105" fmla="*/ 235 h 248"/>
                <a:gd name="T106" fmla="*/ 85 w 232"/>
                <a:gd name="T107" fmla="*/ 243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66" name="Freeform 236">
              <a:extLst>
                <a:ext uri="{FF2B5EF4-FFF2-40B4-BE49-F238E27FC236}">
                  <a16:creationId xmlns:a16="http://schemas.microsoft.com/office/drawing/2014/main" id="{D53F2F70-9A2F-4E30-A75E-1CB0720EE3B8}"/>
                </a:ext>
              </a:extLst>
            </p:cNvPr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5233989" y="2873376"/>
              <a:ext cx="414337" cy="468313"/>
            </a:xfrm>
            <a:custGeom>
              <a:avLst/>
              <a:gdLst>
                <a:gd name="T0" fmla="*/ 90 w 948"/>
                <a:gd name="T1" fmla="*/ 788 h 893"/>
                <a:gd name="T2" fmla="*/ 121 w 948"/>
                <a:gd name="T3" fmla="*/ 788 h 893"/>
                <a:gd name="T4" fmla="*/ 146 w 948"/>
                <a:gd name="T5" fmla="*/ 783 h 893"/>
                <a:gd name="T6" fmla="*/ 186 w 948"/>
                <a:gd name="T7" fmla="*/ 776 h 893"/>
                <a:gd name="T8" fmla="*/ 197 w 948"/>
                <a:gd name="T9" fmla="*/ 813 h 893"/>
                <a:gd name="T10" fmla="*/ 212 w 948"/>
                <a:gd name="T11" fmla="*/ 835 h 893"/>
                <a:gd name="T12" fmla="*/ 226 w 948"/>
                <a:gd name="T13" fmla="*/ 846 h 893"/>
                <a:gd name="T14" fmla="*/ 246 w 948"/>
                <a:gd name="T15" fmla="*/ 850 h 893"/>
                <a:gd name="T16" fmla="*/ 246 w 948"/>
                <a:gd name="T17" fmla="*/ 881 h 893"/>
                <a:gd name="T18" fmla="*/ 326 w 948"/>
                <a:gd name="T19" fmla="*/ 889 h 893"/>
                <a:gd name="T20" fmla="*/ 334 w 948"/>
                <a:gd name="T21" fmla="*/ 876 h 893"/>
                <a:gd name="T22" fmla="*/ 347 w 948"/>
                <a:gd name="T23" fmla="*/ 871 h 893"/>
                <a:gd name="T24" fmla="*/ 348 w 948"/>
                <a:gd name="T25" fmla="*/ 888 h 893"/>
                <a:gd name="T26" fmla="*/ 358 w 948"/>
                <a:gd name="T27" fmla="*/ 893 h 893"/>
                <a:gd name="T28" fmla="*/ 385 w 948"/>
                <a:gd name="T29" fmla="*/ 893 h 893"/>
                <a:gd name="T30" fmla="*/ 401 w 948"/>
                <a:gd name="T31" fmla="*/ 854 h 893"/>
                <a:gd name="T32" fmla="*/ 412 w 948"/>
                <a:gd name="T33" fmla="*/ 788 h 893"/>
                <a:gd name="T34" fmla="*/ 424 w 948"/>
                <a:gd name="T35" fmla="*/ 771 h 893"/>
                <a:gd name="T36" fmla="*/ 452 w 948"/>
                <a:gd name="T37" fmla="*/ 754 h 893"/>
                <a:gd name="T38" fmla="*/ 485 w 948"/>
                <a:gd name="T39" fmla="*/ 743 h 893"/>
                <a:gd name="T40" fmla="*/ 501 w 948"/>
                <a:gd name="T41" fmla="*/ 729 h 893"/>
                <a:gd name="T42" fmla="*/ 515 w 948"/>
                <a:gd name="T43" fmla="*/ 702 h 893"/>
                <a:gd name="T44" fmla="*/ 535 w 948"/>
                <a:gd name="T45" fmla="*/ 668 h 893"/>
                <a:gd name="T46" fmla="*/ 547 w 948"/>
                <a:gd name="T47" fmla="*/ 660 h 893"/>
                <a:gd name="T48" fmla="*/ 572 w 948"/>
                <a:gd name="T49" fmla="*/ 659 h 893"/>
                <a:gd name="T50" fmla="*/ 605 w 948"/>
                <a:gd name="T51" fmla="*/ 644 h 893"/>
                <a:gd name="T52" fmla="*/ 639 w 948"/>
                <a:gd name="T53" fmla="*/ 624 h 893"/>
                <a:gd name="T54" fmla="*/ 674 w 948"/>
                <a:gd name="T55" fmla="*/ 613 h 893"/>
                <a:gd name="T56" fmla="*/ 724 w 948"/>
                <a:gd name="T57" fmla="*/ 610 h 893"/>
                <a:gd name="T58" fmla="*/ 788 w 948"/>
                <a:gd name="T59" fmla="*/ 602 h 893"/>
                <a:gd name="T60" fmla="*/ 815 w 948"/>
                <a:gd name="T61" fmla="*/ 594 h 893"/>
                <a:gd name="T62" fmla="*/ 863 w 948"/>
                <a:gd name="T63" fmla="*/ 590 h 893"/>
                <a:gd name="T64" fmla="*/ 901 w 948"/>
                <a:gd name="T65" fmla="*/ 583 h 893"/>
                <a:gd name="T66" fmla="*/ 913 w 948"/>
                <a:gd name="T67" fmla="*/ 574 h 893"/>
                <a:gd name="T68" fmla="*/ 931 w 948"/>
                <a:gd name="T69" fmla="*/ 544 h 893"/>
                <a:gd name="T70" fmla="*/ 943 w 948"/>
                <a:gd name="T71" fmla="*/ 504 h 893"/>
                <a:gd name="T72" fmla="*/ 948 w 948"/>
                <a:gd name="T73" fmla="*/ 461 h 893"/>
                <a:gd name="T74" fmla="*/ 947 w 948"/>
                <a:gd name="T75" fmla="*/ 421 h 893"/>
                <a:gd name="T76" fmla="*/ 943 w 948"/>
                <a:gd name="T77" fmla="*/ 363 h 893"/>
                <a:gd name="T78" fmla="*/ 922 w 948"/>
                <a:gd name="T79" fmla="*/ 356 h 893"/>
                <a:gd name="T80" fmla="*/ 862 w 948"/>
                <a:gd name="T81" fmla="*/ 322 h 893"/>
                <a:gd name="T82" fmla="*/ 794 w 948"/>
                <a:gd name="T83" fmla="*/ 278 h 893"/>
                <a:gd name="T84" fmla="*/ 738 w 948"/>
                <a:gd name="T85" fmla="*/ 216 h 893"/>
                <a:gd name="T86" fmla="*/ 412 w 948"/>
                <a:gd name="T87" fmla="*/ 12 h 893"/>
                <a:gd name="T88" fmla="*/ 348 w 948"/>
                <a:gd name="T89" fmla="*/ 102 h 893"/>
                <a:gd name="T90" fmla="*/ 379 w 948"/>
                <a:gd name="T91" fmla="*/ 405 h 893"/>
                <a:gd name="T92" fmla="*/ 392 w 948"/>
                <a:gd name="T93" fmla="*/ 565 h 893"/>
                <a:gd name="T94" fmla="*/ 93 w 948"/>
                <a:gd name="T95" fmla="*/ 591 h 893"/>
                <a:gd name="T96" fmla="*/ 79 w 948"/>
                <a:gd name="T97" fmla="*/ 606 h 893"/>
                <a:gd name="T98" fmla="*/ 67 w 948"/>
                <a:gd name="T99" fmla="*/ 610 h 893"/>
                <a:gd name="T100" fmla="*/ 57 w 948"/>
                <a:gd name="T101" fmla="*/ 607 h 893"/>
                <a:gd name="T102" fmla="*/ 49 w 948"/>
                <a:gd name="T103" fmla="*/ 591 h 893"/>
                <a:gd name="T104" fmla="*/ 40 w 948"/>
                <a:gd name="T105" fmla="*/ 581 h 893"/>
                <a:gd name="T106" fmla="*/ 29 w 948"/>
                <a:gd name="T107" fmla="*/ 605 h 893"/>
                <a:gd name="T108" fmla="*/ 15 w 948"/>
                <a:gd name="T109" fmla="*/ 623 h 893"/>
                <a:gd name="T110" fmla="*/ 67 w 948"/>
                <a:gd name="T111" fmla="*/ 733 h 893"/>
                <a:gd name="T112" fmla="*/ 61 w 948"/>
                <a:gd name="T113" fmla="*/ 748 h 893"/>
                <a:gd name="T114" fmla="*/ 62 w 948"/>
                <a:gd name="T115" fmla="*/ 760 h 893"/>
                <a:gd name="T116" fmla="*/ 54 w 948"/>
                <a:gd name="T117" fmla="*/ 788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67" name="Freeform 237">
              <a:extLst>
                <a:ext uri="{FF2B5EF4-FFF2-40B4-BE49-F238E27FC236}">
                  <a16:creationId xmlns:a16="http://schemas.microsoft.com/office/drawing/2014/main" id="{D7BF3B95-0696-4388-A662-4CC8E04BB5C3}"/>
                </a:ext>
              </a:extLst>
            </p:cNvPr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5332413" y="2479675"/>
              <a:ext cx="493712" cy="579438"/>
            </a:xfrm>
            <a:custGeom>
              <a:avLst/>
              <a:gdLst>
                <a:gd name="T0" fmla="*/ 238 w 373"/>
                <a:gd name="T1" fmla="*/ 367 h 370"/>
                <a:gd name="T2" fmla="*/ 244 w 373"/>
                <a:gd name="T3" fmla="*/ 365 h 370"/>
                <a:gd name="T4" fmla="*/ 255 w 373"/>
                <a:gd name="T5" fmla="*/ 368 h 370"/>
                <a:gd name="T6" fmla="*/ 372 w 373"/>
                <a:gd name="T7" fmla="*/ 277 h 370"/>
                <a:gd name="T8" fmla="*/ 369 w 373"/>
                <a:gd name="T9" fmla="*/ 270 h 370"/>
                <a:gd name="T10" fmla="*/ 361 w 373"/>
                <a:gd name="T11" fmla="*/ 264 h 370"/>
                <a:gd name="T12" fmla="*/ 347 w 373"/>
                <a:gd name="T13" fmla="*/ 259 h 370"/>
                <a:gd name="T14" fmla="*/ 339 w 373"/>
                <a:gd name="T15" fmla="*/ 254 h 370"/>
                <a:gd name="T16" fmla="*/ 336 w 373"/>
                <a:gd name="T17" fmla="*/ 247 h 370"/>
                <a:gd name="T18" fmla="*/ 337 w 373"/>
                <a:gd name="T19" fmla="*/ 228 h 370"/>
                <a:gd name="T20" fmla="*/ 337 w 373"/>
                <a:gd name="T21" fmla="*/ 196 h 370"/>
                <a:gd name="T22" fmla="*/ 334 w 373"/>
                <a:gd name="T23" fmla="*/ 168 h 370"/>
                <a:gd name="T24" fmla="*/ 329 w 373"/>
                <a:gd name="T25" fmla="*/ 155 h 370"/>
                <a:gd name="T26" fmla="*/ 323 w 373"/>
                <a:gd name="T27" fmla="*/ 142 h 370"/>
                <a:gd name="T28" fmla="*/ 315 w 373"/>
                <a:gd name="T29" fmla="*/ 109 h 370"/>
                <a:gd name="T30" fmla="*/ 306 w 373"/>
                <a:gd name="T31" fmla="*/ 90 h 370"/>
                <a:gd name="T32" fmla="*/ 297 w 373"/>
                <a:gd name="T33" fmla="*/ 78 h 370"/>
                <a:gd name="T34" fmla="*/ 300 w 373"/>
                <a:gd name="T35" fmla="*/ 63 h 370"/>
                <a:gd name="T36" fmla="*/ 301 w 373"/>
                <a:gd name="T37" fmla="*/ 43 h 370"/>
                <a:gd name="T38" fmla="*/ 302 w 373"/>
                <a:gd name="T39" fmla="*/ 23 h 370"/>
                <a:gd name="T40" fmla="*/ 310 w 373"/>
                <a:gd name="T41" fmla="*/ 7 h 370"/>
                <a:gd name="T42" fmla="*/ 302 w 373"/>
                <a:gd name="T43" fmla="*/ 6 h 370"/>
                <a:gd name="T44" fmla="*/ 278 w 373"/>
                <a:gd name="T45" fmla="*/ 12 h 370"/>
                <a:gd name="T46" fmla="*/ 245 w 373"/>
                <a:gd name="T47" fmla="*/ 12 h 370"/>
                <a:gd name="T48" fmla="*/ 206 w 373"/>
                <a:gd name="T49" fmla="*/ 14 h 370"/>
                <a:gd name="T50" fmla="*/ 168 w 373"/>
                <a:gd name="T51" fmla="*/ 24 h 370"/>
                <a:gd name="T52" fmla="*/ 145 w 373"/>
                <a:gd name="T53" fmla="*/ 32 h 370"/>
                <a:gd name="T54" fmla="*/ 124 w 373"/>
                <a:gd name="T55" fmla="*/ 44 h 370"/>
                <a:gd name="T56" fmla="*/ 123 w 373"/>
                <a:gd name="T57" fmla="*/ 52 h 370"/>
                <a:gd name="T58" fmla="*/ 131 w 373"/>
                <a:gd name="T59" fmla="*/ 89 h 370"/>
                <a:gd name="T60" fmla="*/ 134 w 373"/>
                <a:gd name="T61" fmla="*/ 93 h 370"/>
                <a:gd name="T62" fmla="*/ 141 w 373"/>
                <a:gd name="T63" fmla="*/ 98 h 370"/>
                <a:gd name="T64" fmla="*/ 142 w 373"/>
                <a:gd name="T65" fmla="*/ 102 h 370"/>
                <a:gd name="T66" fmla="*/ 139 w 373"/>
                <a:gd name="T67" fmla="*/ 107 h 370"/>
                <a:gd name="T68" fmla="*/ 128 w 373"/>
                <a:gd name="T69" fmla="*/ 107 h 370"/>
                <a:gd name="T70" fmla="*/ 106 w 373"/>
                <a:gd name="T71" fmla="*/ 113 h 370"/>
                <a:gd name="T72" fmla="*/ 95 w 373"/>
                <a:gd name="T73" fmla="*/ 122 h 370"/>
                <a:gd name="T74" fmla="*/ 90 w 373"/>
                <a:gd name="T75" fmla="*/ 131 h 370"/>
                <a:gd name="T76" fmla="*/ 82 w 373"/>
                <a:gd name="T77" fmla="*/ 137 h 370"/>
                <a:gd name="T78" fmla="*/ 66 w 373"/>
                <a:gd name="T79" fmla="*/ 150 h 370"/>
                <a:gd name="T80" fmla="*/ 51 w 373"/>
                <a:gd name="T81" fmla="*/ 158 h 370"/>
                <a:gd name="T82" fmla="*/ 31 w 373"/>
                <a:gd name="T83" fmla="*/ 160 h 370"/>
                <a:gd name="T84" fmla="*/ 20 w 373"/>
                <a:gd name="T85" fmla="*/ 164 h 370"/>
                <a:gd name="T86" fmla="*/ 8 w 373"/>
                <a:gd name="T87" fmla="*/ 174 h 370"/>
                <a:gd name="T88" fmla="*/ 0 w 373"/>
                <a:gd name="T89" fmla="*/ 200 h 370"/>
                <a:gd name="T90" fmla="*/ 179 w 373"/>
                <a:gd name="T91" fmla="*/ 331 h 370"/>
                <a:gd name="T92" fmla="*/ 201 w 373"/>
                <a:gd name="T93" fmla="*/ 352 h 370"/>
                <a:gd name="T94" fmla="*/ 229 w 373"/>
                <a:gd name="T95" fmla="*/ 368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68" name="Freeform 238">
              <a:extLst>
                <a:ext uri="{FF2B5EF4-FFF2-40B4-BE49-F238E27FC236}">
                  <a16:creationId xmlns:a16="http://schemas.microsoft.com/office/drawing/2014/main" id="{7D097FB1-AE26-4971-92B1-92E032DCF727}"/>
                </a:ext>
              </a:extLst>
            </p:cNvPr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5768976" y="2614613"/>
              <a:ext cx="384175" cy="436562"/>
            </a:xfrm>
            <a:custGeom>
              <a:avLst/>
              <a:gdLst>
                <a:gd name="T0" fmla="*/ 36 w 877"/>
                <a:gd name="T1" fmla="*/ 141 h 826"/>
                <a:gd name="T2" fmla="*/ 46 w 877"/>
                <a:gd name="T3" fmla="*/ 109 h 826"/>
                <a:gd name="T4" fmla="*/ 46 w 877"/>
                <a:gd name="T5" fmla="*/ 70 h 826"/>
                <a:gd name="T6" fmla="*/ 61 w 877"/>
                <a:gd name="T7" fmla="*/ 64 h 826"/>
                <a:gd name="T8" fmla="*/ 89 w 877"/>
                <a:gd name="T9" fmla="*/ 55 h 826"/>
                <a:gd name="T10" fmla="*/ 99 w 877"/>
                <a:gd name="T11" fmla="*/ 20 h 826"/>
                <a:gd name="T12" fmla="*/ 168 w 877"/>
                <a:gd name="T13" fmla="*/ 6 h 826"/>
                <a:gd name="T14" fmla="*/ 242 w 877"/>
                <a:gd name="T15" fmla="*/ 24 h 826"/>
                <a:gd name="T16" fmla="*/ 273 w 877"/>
                <a:gd name="T17" fmla="*/ 43 h 826"/>
                <a:gd name="T18" fmla="*/ 285 w 877"/>
                <a:gd name="T19" fmla="*/ 78 h 826"/>
                <a:gd name="T20" fmla="*/ 295 w 877"/>
                <a:gd name="T21" fmla="*/ 101 h 826"/>
                <a:gd name="T22" fmla="*/ 325 w 877"/>
                <a:gd name="T23" fmla="*/ 110 h 826"/>
                <a:gd name="T24" fmla="*/ 363 w 877"/>
                <a:gd name="T25" fmla="*/ 109 h 826"/>
                <a:gd name="T26" fmla="*/ 421 w 877"/>
                <a:gd name="T27" fmla="*/ 133 h 826"/>
                <a:gd name="T28" fmla="*/ 478 w 877"/>
                <a:gd name="T29" fmla="*/ 162 h 826"/>
                <a:gd name="T30" fmla="*/ 513 w 877"/>
                <a:gd name="T31" fmla="*/ 166 h 826"/>
                <a:gd name="T32" fmla="*/ 538 w 877"/>
                <a:gd name="T33" fmla="*/ 158 h 826"/>
                <a:gd name="T34" fmla="*/ 549 w 877"/>
                <a:gd name="T35" fmla="*/ 126 h 826"/>
                <a:gd name="T36" fmla="*/ 544 w 877"/>
                <a:gd name="T37" fmla="*/ 103 h 826"/>
                <a:gd name="T38" fmla="*/ 531 w 877"/>
                <a:gd name="T39" fmla="*/ 81 h 826"/>
                <a:gd name="T40" fmla="*/ 539 w 877"/>
                <a:gd name="T41" fmla="*/ 49 h 826"/>
                <a:gd name="T42" fmla="*/ 574 w 877"/>
                <a:gd name="T43" fmla="*/ 34 h 826"/>
                <a:gd name="T44" fmla="*/ 617 w 877"/>
                <a:gd name="T45" fmla="*/ 4 h 826"/>
                <a:gd name="T46" fmla="*/ 650 w 877"/>
                <a:gd name="T47" fmla="*/ 0 h 826"/>
                <a:gd name="T48" fmla="*/ 681 w 877"/>
                <a:gd name="T49" fmla="*/ 6 h 826"/>
                <a:gd name="T50" fmla="*/ 695 w 877"/>
                <a:gd name="T51" fmla="*/ 24 h 826"/>
                <a:gd name="T52" fmla="*/ 706 w 877"/>
                <a:gd name="T53" fmla="*/ 50 h 826"/>
                <a:gd name="T54" fmla="*/ 728 w 877"/>
                <a:gd name="T55" fmla="*/ 63 h 826"/>
                <a:gd name="T56" fmla="*/ 798 w 877"/>
                <a:gd name="T57" fmla="*/ 71 h 826"/>
                <a:gd name="T58" fmla="*/ 830 w 877"/>
                <a:gd name="T59" fmla="*/ 97 h 826"/>
                <a:gd name="T60" fmla="*/ 834 w 877"/>
                <a:gd name="T61" fmla="*/ 117 h 826"/>
                <a:gd name="T62" fmla="*/ 843 w 877"/>
                <a:gd name="T63" fmla="*/ 140 h 826"/>
                <a:gd name="T64" fmla="*/ 836 w 877"/>
                <a:gd name="T65" fmla="*/ 159 h 826"/>
                <a:gd name="T66" fmla="*/ 824 w 877"/>
                <a:gd name="T67" fmla="*/ 170 h 826"/>
                <a:gd name="T68" fmla="*/ 829 w 877"/>
                <a:gd name="T69" fmla="*/ 207 h 826"/>
                <a:gd name="T70" fmla="*/ 858 w 877"/>
                <a:gd name="T71" fmla="*/ 245 h 826"/>
                <a:gd name="T72" fmla="*/ 876 w 877"/>
                <a:gd name="T73" fmla="*/ 687 h 826"/>
                <a:gd name="T74" fmla="*/ 877 w 877"/>
                <a:gd name="T75" fmla="*/ 741 h 826"/>
                <a:gd name="T76" fmla="*/ 870 w 877"/>
                <a:gd name="T77" fmla="*/ 775 h 826"/>
                <a:gd name="T78" fmla="*/ 848 w 877"/>
                <a:gd name="T79" fmla="*/ 783 h 826"/>
                <a:gd name="T80" fmla="*/ 830 w 877"/>
                <a:gd name="T81" fmla="*/ 804 h 826"/>
                <a:gd name="T82" fmla="*/ 366 w 877"/>
                <a:gd name="T83" fmla="*/ 593 h 826"/>
                <a:gd name="T84" fmla="*/ 331 w 877"/>
                <a:gd name="T85" fmla="*/ 607 h 826"/>
                <a:gd name="T86" fmla="*/ 292 w 877"/>
                <a:gd name="T87" fmla="*/ 626 h 826"/>
                <a:gd name="T88" fmla="*/ 263 w 877"/>
                <a:gd name="T89" fmla="*/ 627 h 826"/>
                <a:gd name="T90" fmla="*/ 230 w 877"/>
                <a:gd name="T91" fmla="*/ 609 h 826"/>
                <a:gd name="T92" fmla="*/ 193 w 877"/>
                <a:gd name="T93" fmla="*/ 586 h 826"/>
                <a:gd name="T94" fmla="*/ 152 w 877"/>
                <a:gd name="T95" fmla="*/ 578 h 826"/>
                <a:gd name="T96" fmla="*/ 138 w 877"/>
                <a:gd name="T97" fmla="*/ 577 h 826"/>
                <a:gd name="T98" fmla="*/ 130 w 877"/>
                <a:gd name="T99" fmla="*/ 553 h 826"/>
                <a:gd name="T100" fmla="*/ 109 w 877"/>
                <a:gd name="T101" fmla="*/ 535 h 826"/>
                <a:gd name="T102" fmla="*/ 63 w 877"/>
                <a:gd name="T103" fmla="*/ 517 h 826"/>
                <a:gd name="T104" fmla="*/ 28 w 877"/>
                <a:gd name="T105" fmla="*/ 499 h 826"/>
                <a:gd name="T106" fmla="*/ 16 w 877"/>
                <a:gd name="T107" fmla="*/ 482 h 826"/>
                <a:gd name="T108" fmla="*/ 14 w 877"/>
                <a:gd name="T109" fmla="*/ 439 h 826"/>
                <a:gd name="T110" fmla="*/ 19 w 877"/>
                <a:gd name="T111" fmla="*/ 352 h 826"/>
                <a:gd name="T112" fmla="*/ 17 w 877"/>
                <a:gd name="T113" fmla="*/ 258 h 826"/>
                <a:gd name="T114" fmla="*/ 4 w 877"/>
                <a:gd name="T115" fmla="*/ 202 h 8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69" name="Freeform 239">
              <a:extLst>
                <a:ext uri="{FF2B5EF4-FFF2-40B4-BE49-F238E27FC236}">
                  <a16:creationId xmlns:a16="http://schemas.microsoft.com/office/drawing/2014/main" id="{438739B3-91A1-4E52-BFB7-3F42C0D14943}"/>
                </a:ext>
              </a:extLst>
            </p:cNvPr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5721351" y="2479675"/>
              <a:ext cx="93663" cy="236538"/>
            </a:xfrm>
            <a:custGeom>
              <a:avLst/>
              <a:gdLst>
                <a:gd name="T0" fmla="*/ 103 w 206"/>
                <a:gd name="T1" fmla="*/ 441 h 455"/>
                <a:gd name="T2" fmla="*/ 125 w 206"/>
                <a:gd name="T3" fmla="*/ 420 h 455"/>
                <a:gd name="T4" fmla="*/ 140 w 206"/>
                <a:gd name="T5" fmla="*/ 404 h 455"/>
                <a:gd name="T6" fmla="*/ 147 w 206"/>
                <a:gd name="T7" fmla="*/ 390 h 455"/>
                <a:gd name="T8" fmla="*/ 152 w 206"/>
                <a:gd name="T9" fmla="*/ 373 h 455"/>
                <a:gd name="T10" fmla="*/ 154 w 206"/>
                <a:gd name="T11" fmla="*/ 352 h 455"/>
                <a:gd name="T12" fmla="*/ 153 w 206"/>
                <a:gd name="T13" fmla="*/ 335 h 455"/>
                <a:gd name="T14" fmla="*/ 156 w 206"/>
                <a:gd name="T15" fmla="*/ 331 h 455"/>
                <a:gd name="T16" fmla="*/ 168 w 206"/>
                <a:gd name="T17" fmla="*/ 329 h 455"/>
                <a:gd name="T18" fmla="*/ 185 w 206"/>
                <a:gd name="T19" fmla="*/ 325 h 455"/>
                <a:gd name="T20" fmla="*/ 196 w 206"/>
                <a:gd name="T21" fmla="*/ 318 h 455"/>
                <a:gd name="T22" fmla="*/ 203 w 206"/>
                <a:gd name="T23" fmla="*/ 304 h 455"/>
                <a:gd name="T24" fmla="*/ 206 w 206"/>
                <a:gd name="T25" fmla="*/ 280 h 455"/>
                <a:gd name="T26" fmla="*/ 202 w 206"/>
                <a:gd name="T27" fmla="*/ 265 h 455"/>
                <a:gd name="T28" fmla="*/ 193 w 206"/>
                <a:gd name="T29" fmla="*/ 264 h 455"/>
                <a:gd name="T30" fmla="*/ 177 w 206"/>
                <a:gd name="T31" fmla="*/ 256 h 455"/>
                <a:gd name="T32" fmla="*/ 155 w 206"/>
                <a:gd name="T33" fmla="*/ 242 h 455"/>
                <a:gd name="T34" fmla="*/ 140 w 206"/>
                <a:gd name="T35" fmla="*/ 231 h 455"/>
                <a:gd name="T36" fmla="*/ 130 w 206"/>
                <a:gd name="T37" fmla="*/ 228 h 455"/>
                <a:gd name="T38" fmla="*/ 119 w 206"/>
                <a:gd name="T39" fmla="*/ 222 h 455"/>
                <a:gd name="T40" fmla="*/ 101 w 206"/>
                <a:gd name="T41" fmla="*/ 212 h 455"/>
                <a:gd name="T42" fmla="*/ 95 w 206"/>
                <a:gd name="T43" fmla="*/ 206 h 455"/>
                <a:gd name="T44" fmla="*/ 95 w 206"/>
                <a:gd name="T45" fmla="*/ 199 h 455"/>
                <a:gd name="T46" fmla="*/ 104 w 206"/>
                <a:gd name="T47" fmla="*/ 181 h 455"/>
                <a:gd name="T48" fmla="*/ 119 w 206"/>
                <a:gd name="T49" fmla="*/ 158 h 455"/>
                <a:gd name="T50" fmla="*/ 134 w 206"/>
                <a:gd name="T51" fmla="*/ 140 h 455"/>
                <a:gd name="T52" fmla="*/ 136 w 206"/>
                <a:gd name="T53" fmla="*/ 129 h 455"/>
                <a:gd name="T54" fmla="*/ 126 w 206"/>
                <a:gd name="T55" fmla="*/ 116 h 455"/>
                <a:gd name="T56" fmla="*/ 115 w 206"/>
                <a:gd name="T57" fmla="*/ 105 h 455"/>
                <a:gd name="T58" fmla="*/ 108 w 206"/>
                <a:gd name="T59" fmla="*/ 93 h 455"/>
                <a:gd name="T60" fmla="*/ 107 w 206"/>
                <a:gd name="T61" fmla="*/ 84 h 455"/>
                <a:gd name="T62" fmla="*/ 111 w 206"/>
                <a:gd name="T63" fmla="*/ 78 h 455"/>
                <a:gd name="T64" fmla="*/ 116 w 206"/>
                <a:gd name="T65" fmla="*/ 72 h 455"/>
                <a:gd name="T66" fmla="*/ 123 w 206"/>
                <a:gd name="T67" fmla="*/ 69 h 455"/>
                <a:gd name="T68" fmla="*/ 126 w 206"/>
                <a:gd name="T69" fmla="*/ 37 h 455"/>
                <a:gd name="T70" fmla="*/ 110 w 206"/>
                <a:gd name="T71" fmla="*/ 32 h 455"/>
                <a:gd name="T72" fmla="*/ 87 w 206"/>
                <a:gd name="T73" fmla="*/ 21 h 455"/>
                <a:gd name="T74" fmla="*/ 53 w 206"/>
                <a:gd name="T75" fmla="*/ 0 h 455"/>
                <a:gd name="T76" fmla="*/ 47 w 206"/>
                <a:gd name="T77" fmla="*/ 11 h 455"/>
                <a:gd name="T78" fmla="*/ 34 w 206"/>
                <a:gd name="T79" fmla="*/ 44 h 455"/>
                <a:gd name="T80" fmla="*/ 28 w 206"/>
                <a:gd name="T81" fmla="*/ 70 h 455"/>
                <a:gd name="T82" fmla="*/ 22 w 206"/>
                <a:gd name="T83" fmla="*/ 99 h 455"/>
                <a:gd name="T84" fmla="*/ 20 w 206"/>
                <a:gd name="T85" fmla="*/ 133 h 455"/>
                <a:gd name="T86" fmla="*/ 20 w 206"/>
                <a:gd name="T87" fmla="*/ 172 h 455"/>
                <a:gd name="T88" fmla="*/ 12 w 206"/>
                <a:gd name="T89" fmla="*/ 188 h 455"/>
                <a:gd name="T90" fmla="*/ 8 w 206"/>
                <a:gd name="T91" fmla="*/ 206 h 455"/>
                <a:gd name="T92" fmla="*/ 0 w 206"/>
                <a:gd name="T93" fmla="*/ 235 h 455"/>
                <a:gd name="T94" fmla="*/ 22 w 206"/>
                <a:gd name="T95" fmla="*/ 259 h 455"/>
                <a:gd name="T96" fmla="*/ 41 w 206"/>
                <a:gd name="T97" fmla="*/ 281 h 455"/>
                <a:gd name="T98" fmla="*/ 55 w 206"/>
                <a:gd name="T99" fmla="*/ 305 h 455"/>
                <a:gd name="T100" fmla="*/ 66 w 206"/>
                <a:gd name="T101" fmla="*/ 329 h 455"/>
                <a:gd name="T102" fmla="*/ 75 w 206"/>
                <a:gd name="T103" fmla="*/ 355 h 455"/>
                <a:gd name="T104" fmla="*/ 82 w 206"/>
                <a:gd name="T105" fmla="*/ 384 h 455"/>
                <a:gd name="T106" fmla="*/ 93 w 206"/>
                <a:gd name="T107" fmla="*/ 455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70" name="Freeform 240">
              <a:extLst>
                <a:ext uri="{FF2B5EF4-FFF2-40B4-BE49-F238E27FC236}">
                  <a16:creationId xmlns:a16="http://schemas.microsoft.com/office/drawing/2014/main" id="{32A778F3-B34A-4147-9F02-3374A561F5EE}"/>
                </a:ext>
              </a:extLst>
            </p:cNvPr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5103814" y="2790825"/>
              <a:ext cx="231775" cy="215900"/>
            </a:xfrm>
            <a:custGeom>
              <a:avLst/>
              <a:gdLst>
                <a:gd name="T0" fmla="*/ 326 w 518"/>
                <a:gd name="T1" fmla="*/ 110 h 406"/>
                <a:gd name="T2" fmla="*/ 326 w 518"/>
                <a:gd name="T3" fmla="*/ 259 h 406"/>
                <a:gd name="T4" fmla="*/ 315 w 518"/>
                <a:gd name="T5" fmla="*/ 264 h 406"/>
                <a:gd name="T6" fmla="*/ 291 w 518"/>
                <a:gd name="T7" fmla="*/ 271 h 406"/>
                <a:gd name="T8" fmla="*/ 246 w 518"/>
                <a:gd name="T9" fmla="*/ 283 h 406"/>
                <a:gd name="T10" fmla="*/ 253 w 518"/>
                <a:gd name="T11" fmla="*/ 302 h 406"/>
                <a:gd name="T12" fmla="*/ 265 w 518"/>
                <a:gd name="T13" fmla="*/ 326 h 406"/>
                <a:gd name="T14" fmla="*/ 269 w 518"/>
                <a:gd name="T15" fmla="*/ 353 h 406"/>
                <a:gd name="T16" fmla="*/ 272 w 518"/>
                <a:gd name="T17" fmla="*/ 382 h 406"/>
                <a:gd name="T18" fmla="*/ 52 w 518"/>
                <a:gd name="T19" fmla="*/ 394 h 406"/>
                <a:gd name="T20" fmla="*/ 22 w 518"/>
                <a:gd name="T21" fmla="*/ 406 h 406"/>
                <a:gd name="T22" fmla="*/ 5 w 518"/>
                <a:gd name="T23" fmla="*/ 403 h 406"/>
                <a:gd name="T24" fmla="*/ 1 w 518"/>
                <a:gd name="T25" fmla="*/ 398 h 406"/>
                <a:gd name="T26" fmla="*/ 1 w 518"/>
                <a:gd name="T27" fmla="*/ 385 h 406"/>
                <a:gd name="T28" fmla="*/ 4 w 518"/>
                <a:gd name="T29" fmla="*/ 371 h 406"/>
                <a:gd name="T30" fmla="*/ 11 w 518"/>
                <a:gd name="T31" fmla="*/ 354 h 406"/>
                <a:gd name="T32" fmla="*/ 20 w 518"/>
                <a:gd name="T33" fmla="*/ 341 h 406"/>
                <a:gd name="T34" fmla="*/ 30 w 518"/>
                <a:gd name="T35" fmla="*/ 334 h 406"/>
                <a:gd name="T36" fmla="*/ 38 w 518"/>
                <a:gd name="T37" fmla="*/ 326 h 406"/>
                <a:gd name="T38" fmla="*/ 44 w 518"/>
                <a:gd name="T39" fmla="*/ 317 h 406"/>
                <a:gd name="T40" fmla="*/ 49 w 518"/>
                <a:gd name="T41" fmla="*/ 292 h 406"/>
                <a:gd name="T42" fmla="*/ 56 w 518"/>
                <a:gd name="T43" fmla="*/ 265 h 406"/>
                <a:gd name="T44" fmla="*/ 62 w 518"/>
                <a:gd name="T45" fmla="*/ 257 h 406"/>
                <a:gd name="T46" fmla="*/ 74 w 518"/>
                <a:gd name="T47" fmla="*/ 246 h 406"/>
                <a:gd name="T48" fmla="*/ 92 w 518"/>
                <a:gd name="T49" fmla="*/ 238 h 406"/>
                <a:gd name="T50" fmla="*/ 107 w 518"/>
                <a:gd name="T51" fmla="*/ 231 h 406"/>
                <a:gd name="T52" fmla="*/ 122 w 518"/>
                <a:gd name="T53" fmla="*/ 218 h 406"/>
                <a:gd name="T54" fmla="*/ 136 w 518"/>
                <a:gd name="T55" fmla="*/ 195 h 406"/>
                <a:gd name="T56" fmla="*/ 150 w 518"/>
                <a:gd name="T57" fmla="*/ 156 h 406"/>
                <a:gd name="T58" fmla="*/ 162 w 518"/>
                <a:gd name="T59" fmla="*/ 117 h 406"/>
                <a:gd name="T60" fmla="*/ 172 w 518"/>
                <a:gd name="T61" fmla="*/ 94 h 406"/>
                <a:gd name="T62" fmla="*/ 186 w 518"/>
                <a:gd name="T63" fmla="*/ 73 h 406"/>
                <a:gd name="T64" fmla="*/ 201 w 518"/>
                <a:gd name="T65" fmla="*/ 62 h 406"/>
                <a:gd name="T66" fmla="*/ 213 w 518"/>
                <a:gd name="T67" fmla="*/ 57 h 406"/>
                <a:gd name="T68" fmla="*/ 219 w 518"/>
                <a:gd name="T69" fmla="*/ 44 h 406"/>
                <a:gd name="T70" fmla="*/ 223 w 518"/>
                <a:gd name="T71" fmla="*/ 28 h 406"/>
                <a:gd name="T72" fmla="*/ 228 w 518"/>
                <a:gd name="T73" fmla="*/ 16 h 406"/>
                <a:gd name="T74" fmla="*/ 239 w 518"/>
                <a:gd name="T75" fmla="*/ 8 h 406"/>
                <a:gd name="T76" fmla="*/ 511 w 518"/>
                <a:gd name="T77" fmla="*/ 0 h 406"/>
                <a:gd name="T78" fmla="*/ 515 w 518"/>
                <a:gd name="T79" fmla="*/ 46 h 406"/>
                <a:gd name="T80" fmla="*/ 518 w 518"/>
                <a:gd name="T81" fmla="*/ 11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71" name="Freeform 241">
              <a:extLst>
                <a:ext uri="{FF2B5EF4-FFF2-40B4-BE49-F238E27FC236}">
                  <a16:creationId xmlns:a16="http://schemas.microsoft.com/office/drawing/2014/main" id="{58F47CEF-11F3-41F6-BCFC-8CA1C89EFC12}"/>
                </a:ext>
              </a:extLst>
            </p:cNvPr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5072063" y="1598613"/>
              <a:ext cx="190500" cy="93662"/>
            </a:xfrm>
            <a:custGeom>
              <a:avLst/>
              <a:gdLst>
                <a:gd name="T0" fmla="*/ 34 w 446"/>
                <a:gd name="T1" fmla="*/ 61 h 178"/>
                <a:gd name="T2" fmla="*/ 41 w 446"/>
                <a:gd name="T3" fmla="*/ 42 h 178"/>
                <a:gd name="T4" fmla="*/ 68 w 446"/>
                <a:gd name="T5" fmla="*/ 37 h 178"/>
                <a:gd name="T6" fmla="*/ 80 w 446"/>
                <a:gd name="T7" fmla="*/ 18 h 178"/>
                <a:gd name="T8" fmla="*/ 72 w 446"/>
                <a:gd name="T9" fmla="*/ 14 h 178"/>
                <a:gd name="T10" fmla="*/ 60 w 446"/>
                <a:gd name="T11" fmla="*/ 0 h 178"/>
                <a:gd name="T12" fmla="*/ 85 w 446"/>
                <a:gd name="T13" fmla="*/ 10 h 178"/>
                <a:gd name="T14" fmla="*/ 108 w 446"/>
                <a:gd name="T15" fmla="*/ 39 h 178"/>
                <a:gd name="T16" fmla="*/ 125 w 446"/>
                <a:gd name="T17" fmla="*/ 62 h 178"/>
                <a:gd name="T18" fmla="*/ 139 w 446"/>
                <a:gd name="T19" fmla="*/ 67 h 178"/>
                <a:gd name="T20" fmla="*/ 157 w 446"/>
                <a:gd name="T21" fmla="*/ 63 h 178"/>
                <a:gd name="T22" fmla="*/ 181 w 446"/>
                <a:gd name="T23" fmla="*/ 45 h 178"/>
                <a:gd name="T24" fmla="*/ 205 w 446"/>
                <a:gd name="T25" fmla="*/ 23 h 178"/>
                <a:gd name="T26" fmla="*/ 220 w 446"/>
                <a:gd name="T27" fmla="*/ 31 h 178"/>
                <a:gd name="T28" fmla="*/ 359 w 446"/>
                <a:gd name="T29" fmla="*/ 11 h 178"/>
                <a:gd name="T30" fmla="*/ 376 w 446"/>
                <a:gd name="T31" fmla="*/ 23 h 178"/>
                <a:gd name="T32" fmla="*/ 396 w 446"/>
                <a:gd name="T33" fmla="*/ 22 h 178"/>
                <a:gd name="T34" fmla="*/ 413 w 446"/>
                <a:gd name="T35" fmla="*/ 37 h 178"/>
                <a:gd name="T36" fmla="*/ 415 w 446"/>
                <a:gd name="T37" fmla="*/ 43 h 178"/>
                <a:gd name="T38" fmla="*/ 429 w 446"/>
                <a:gd name="T39" fmla="*/ 54 h 178"/>
                <a:gd name="T40" fmla="*/ 443 w 446"/>
                <a:gd name="T41" fmla="*/ 68 h 178"/>
                <a:gd name="T42" fmla="*/ 446 w 446"/>
                <a:gd name="T43" fmla="*/ 80 h 178"/>
                <a:gd name="T44" fmla="*/ 438 w 446"/>
                <a:gd name="T45" fmla="*/ 96 h 178"/>
                <a:gd name="T46" fmla="*/ 413 w 446"/>
                <a:gd name="T47" fmla="*/ 111 h 178"/>
                <a:gd name="T48" fmla="*/ 397 w 446"/>
                <a:gd name="T49" fmla="*/ 120 h 178"/>
                <a:gd name="T50" fmla="*/ 366 w 446"/>
                <a:gd name="T51" fmla="*/ 123 h 178"/>
                <a:gd name="T52" fmla="*/ 300 w 446"/>
                <a:gd name="T53" fmla="*/ 146 h 178"/>
                <a:gd name="T54" fmla="*/ 234 w 446"/>
                <a:gd name="T55" fmla="*/ 171 h 178"/>
                <a:gd name="T56" fmla="*/ 199 w 446"/>
                <a:gd name="T57" fmla="*/ 178 h 178"/>
                <a:gd name="T58" fmla="*/ 177 w 446"/>
                <a:gd name="T59" fmla="*/ 174 h 178"/>
                <a:gd name="T60" fmla="*/ 172 w 446"/>
                <a:gd name="T61" fmla="*/ 164 h 178"/>
                <a:gd name="T62" fmla="*/ 170 w 446"/>
                <a:gd name="T63" fmla="*/ 161 h 178"/>
                <a:gd name="T64" fmla="*/ 156 w 446"/>
                <a:gd name="T65" fmla="*/ 161 h 178"/>
                <a:gd name="T66" fmla="*/ 139 w 446"/>
                <a:gd name="T67" fmla="*/ 160 h 178"/>
                <a:gd name="T68" fmla="*/ 100 w 446"/>
                <a:gd name="T69" fmla="*/ 147 h 178"/>
                <a:gd name="T70" fmla="*/ 85 w 446"/>
                <a:gd name="T71" fmla="*/ 137 h 178"/>
                <a:gd name="T72" fmla="*/ 81 w 446"/>
                <a:gd name="T73" fmla="*/ 125 h 178"/>
                <a:gd name="T74" fmla="*/ 87 w 446"/>
                <a:gd name="T75" fmla="*/ 111 h 178"/>
                <a:gd name="T76" fmla="*/ 27 w 446"/>
                <a:gd name="T77" fmla="*/ 103 h 178"/>
                <a:gd name="T78" fmla="*/ 9 w 446"/>
                <a:gd name="T79" fmla="*/ 105 h 178"/>
                <a:gd name="T80" fmla="*/ 0 w 446"/>
                <a:gd name="T81" fmla="*/ 80 h 178"/>
                <a:gd name="T82" fmla="*/ 60 w 446"/>
                <a:gd name="T83" fmla="*/ 86 h 178"/>
                <a:gd name="T84" fmla="*/ 87 w 446"/>
                <a:gd name="T85" fmla="*/ 80 h 178"/>
                <a:gd name="T86" fmla="*/ 23 w 446"/>
                <a:gd name="T87" fmla="*/ 68 h 178"/>
                <a:gd name="T88" fmla="*/ 16 w 446"/>
                <a:gd name="T89" fmla="*/ 55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72" name="Freeform 242">
              <a:extLst>
                <a:ext uri="{FF2B5EF4-FFF2-40B4-BE49-F238E27FC236}">
                  <a16:creationId xmlns:a16="http://schemas.microsoft.com/office/drawing/2014/main" id="{033E6106-8801-4111-AA63-F282BE6B3B59}"/>
                </a:ext>
              </a:extLst>
            </p:cNvPr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5864225" y="1862138"/>
              <a:ext cx="14288" cy="57150"/>
            </a:xfrm>
            <a:custGeom>
              <a:avLst/>
              <a:gdLst>
                <a:gd name="T0" fmla="*/ 0 w 28"/>
                <a:gd name="T1" fmla="*/ 73 h 73"/>
                <a:gd name="T2" fmla="*/ 2 w 28"/>
                <a:gd name="T3" fmla="*/ 47 h 73"/>
                <a:gd name="T4" fmla="*/ 6 w 28"/>
                <a:gd name="T5" fmla="*/ 28 h 73"/>
                <a:gd name="T6" fmla="*/ 7 w 28"/>
                <a:gd name="T7" fmla="*/ 20 h 73"/>
                <a:gd name="T8" fmla="*/ 6 w 28"/>
                <a:gd name="T9" fmla="*/ 13 h 73"/>
                <a:gd name="T10" fmla="*/ 4 w 28"/>
                <a:gd name="T11" fmla="*/ 7 h 73"/>
                <a:gd name="T12" fmla="*/ 0 w 28"/>
                <a:gd name="T13" fmla="*/ 0 h 73"/>
                <a:gd name="T14" fmla="*/ 28 w 28"/>
                <a:gd name="T15" fmla="*/ 0 h 73"/>
                <a:gd name="T16" fmla="*/ 22 w 28"/>
                <a:gd name="T17" fmla="*/ 16 h 73"/>
                <a:gd name="T18" fmla="*/ 17 w 28"/>
                <a:gd name="T19" fmla="*/ 30 h 73"/>
                <a:gd name="T20" fmla="*/ 12 w 28"/>
                <a:gd name="T21" fmla="*/ 43 h 73"/>
                <a:gd name="T22" fmla="*/ 7 w 28"/>
                <a:gd name="T23" fmla="*/ 55 h 73"/>
                <a:gd name="T24" fmla="*/ 0 w 28"/>
                <a:gd name="T2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73" name="Freeform 243">
              <a:extLst>
                <a:ext uri="{FF2B5EF4-FFF2-40B4-BE49-F238E27FC236}">
                  <a16:creationId xmlns:a16="http://schemas.microsoft.com/office/drawing/2014/main" id="{402BB6ED-608B-49DA-9B59-16C769D73D29}"/>
                </a:ext>
              </a:extLst>
            </p:cNvPr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5751513" y="1525589"/>
              <a:ext cx="234950" cy="395287"/>
            </a:xfrm>
            <a:custGeom>
              <a:avLst/>
              <a:gdLst>
                <a:gd name="T0" fmla="*/ 419 w 531"/>
                <a:gd name="T1" fmla="*/ 203 h 757"/>
                <a:gd name="T2" fmla="*/ 406 w 531"/>
                <a:gd name="T3" fmla="*/ 221 h 757"/>
                <a:gd name="T4" fmla="*/ 404 w 531"/>
                <a:gd name="T5" fmla="*/ 237 h 757"/>
                <a:gd name="T6" fmla="*/ 382 w 531"/>
                <a:gd name="T7" fmla="*/ 275 h 757"/>
                <a:gd name="T8" fmla="*/ 325 w 531"/>
                <a:gd name="T9" fmla="*/ 306 h 757"/>
                <a:gd name="T10" fmla="*/ 252 w 531"/>
                <a:gd name="T11" fmla="*/ 354 h 757"/>
                <a:gd name="T12" fmla="*/ 237 w 531"/>
                <a:gd name="T13" fmla="*/ 369 h 757"/>
                <a:gd name="T14" fmla="*/ 245 w 531"/>
                <a:gd name="T15" fmla="*/ 381 h 757"/>
                <a:gd name="T16" fmla="*/ 240 w 531"/>
                <a:gd name="T17" fmla="*/ 424 h 757"/>
                <a:gd name="T18" fmla="*/ 239 w 531"/>
                <a:gd name="T19" fmla="*/ 449 h 757"/>
                <a:gd name="T20" fmla="*/ 262 w 531"/>
                <a:gd name="T21" fmla="*/ 468 h 757"/>
                <a:gd name="T22" fmla="*/ 320 w 531"/>
                <a:gd name="T23" fmla="*/ 485 h 757"/>
                <a:gd name="T24" fmla="*/ 332 w 531"/>
                <a:gd name="T25" fmla="*/ 505 h 757"/>
                <a:gd name="T26" fmla="*/ 310 w 531"/>
                <a:gd name="T27" fmla="*/ 531 h 757"/>
                <a:gd name="T28" fmla="*/ 272 w 531"/>
                <a:gd name="T29" fmla="*/ 547 h 757"/>
                <a:gd name="T30" fmla="*/ 265 w 531"/>
                <a:gd name="T31" fmla="*/ 560 h 757"/>
                <a:gd name="T32" fmla="*/ 252 w 531"/>
                <a:gd name="T33" fmla="*/ 631 h 757"/>
                <a:gd name="T34" fmla="*/ 239 w 531"/>
                <a:gd name="T35" fmla="*/ 721 h 757"/>
                <a:gd name="T36" fmla="*/ 173 w 531"/>
                <a:gd name="T37" fmla="*/ 727 h 757"/>
                <a:gd name="T38" fmla="*/ 152 w 531"/>
                <a:gd name="T39" fmla="*/ 738 h 757"/>
                <a:gd name="T40" fmla="*/ 153 w 531"/>
                <a:gd name="T41" fmla="*/ 757 h 757"/>
                <a:gd name="T42" fmla="*/ 106 w 531"/>
                <a:gd name="T43" fmla="*/ 757 h 757"/>
                <a:gd name="T44" fmla="*/ 95 w 531"/>
                <a:gd name="T45" fmla="*/ 752 h 757"/>
                <a:gd name="T46" fmla="*/ 71 w 531"/>
                <a:gd name="T47" fmla="*/ 718 h 757"/>
                <a:gd name="T48" fmla="*/ 41 w 531"/>
                <a:gd name="T49" fmla="*/ 640 h 757"/>
                <a:gd name="T50" fmla="*/ 34 w 531"/>
                <a:gd name="T51" fmla="*/ 597 h 757"/>
                <a:gd name="T52" fmla="*/ 14 w 531"/>
                <a:gd name="T53" fmla="*/ 586 h 757"/>
                <a:gd name="T54" fmla="*/ 19 w 531"/>
                <a:gd name="T55" fmla="*/ 561 h 757"/>
                <a:gd name="T56" fmla="*/ 36 w 531"/>
                <a:gd name="T57" fmla="*/ 538 h 757"/>
                <a:gd name="T58" fmla="*/ 53 w 531"/>
                <a:gd name="T59" fmla="*/ 504 h 757"/>
                <a:gd name="T60" fmla="*/ 61 w 531"/>
                <a:gd name="T61" fmla="*/ 471 h 757"/>
                <a:gd name="T62" fmla="*/ 64 w 531"/>
                <a:gd name="T63" fmla="*/ 441 h 757"/>
                <a:gd name="T64" fmla="*/ 58 w 531"/>
                <a:gd name="T65" fmla="*/ 408 h 757"/>
                <a:gd name="T66" fmla="*/ 43 w 531"/>
                <a:gd name="T67" fmla="*/ 377 h 757"/>
                <a:gd name="T68" fmla="*/ 74 w 531"/>
                <a:gd name="T69" fmla="*/ 276 h 757"/>
                <a:gd name="T70" fmla="*/ 103 w 531"/>
                <a:gd name="T71" fmla="*/ 275 h 757"/>
                <a:gd name="T72" fmla="*/ 113 w 531"/>
                <a:gd name="T73" fmla="*/ 234 h 757"/>
                <a:gd name="T74" fmla="*/ 137 w 531"/>
                <a:gd name="T75" fmla="*/ 192 h 757"/>
                <a:gd name="T76" fmla="*/ 180 w 531"/>
                <a:gd name="T77" fmla="*/ 145 h 757"/>
                <a:gd name="T78" fmla="*/ 198 w 531"/>
                <a:gd name="T79" fmla="*/ 111 h 757"/>
                <a:gd name="T80" fmla="*/ 228 w 531"/>
                <a:gd name="T81" fmla="*/ 60 h 757"/>
                <a:gd name="T82" fmla="*/ 249 w 531"/>
                <a:gd name="T83" fmla="*/ 43 h 757"/>
                <a:gd name="T84" fmla="*/ 309 w 531"/>
                <a:gd name="T85" fmla="*/ 29 h 757"/>
                <a:gd name="T86" fmla="*/ 368 w 531"/>
                <a:gd name="T87" fmla="*/ 13 h 757"/>
                <a:gd name="T88" fmla="*/ 401 w 531"/>
                <a:gd name="T89" fmla="*/ 5 h 757"/>
                <a:gd name="T90" fmla="*/ 431 w 531"/>
                <a:gd name="T91" fmla="*/ 32 h 757"/>
                <a:gd name="T92" fmla="*/ 457 w 531"/>
                <a:gd name="T93" fmla="*/ 42 h 757"/>
                <a:gd name="T94" fmla="*/ 513 w 531"/>
                <a:gd name="T95" fmla="*/ 111 h 757"/>
                <a:gd name="T96" fmla="*/ 528 w 531"/>
                <a:gd name="T97" fmla="*/ 150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74" name="Freeform 244">
              <a:extLst>
                <a:ext uri="{FF2B5EF4-FFF2-40B4-BE49-F238E27FC236}">
                  <a16:creationId xmlns:a16="http://schemas.microsoft.com/office/drawing/2014/main" id="{CB482900-18E0-40A4-9A5A-9A560522F45A}"/>
                </a:ext>
              </a:extLst>
            </p:cNvPr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5889625" y="1839913"/>
              <a:ext cx="26988" cy="57150"/>
            </a:xfrm>
            <a:custGeom>
              <a:avLst/>
              <a:gdLst>
                <a:gd name="T0" fmla="*/ 0 w 60"/>
                <a:gd name="T1" fmla="*/ 37 h 51"/>
                <a:gd name="T2" fmla="*/ 6 w 60"/>
                <a:gd name="T3" fmla="*/ 30 h 51"/>
                <a:gd name="T4" fmla="*/ 15 w 60"/>
                <a:gd name="T5" fmla="*/ 19 h 51"/>
                <a:gd name="T6" fmla="*/ 20 w 60"/>
                <a:gd name="T7" fmla="*/ 13 h 51"/>
                <a:gd name="T8" fmla="*/ 27 w 60"/>
                <a:gd name="T9" fmla="*/ 8 h 51"/>
                <a:gd name="T10" fmla="*/ 33 w 60"/>
                <a:gd name="T11" fmla="*/ 4 h 51"/>
                <a:gd name="T12" fmla="*/ 40 w 60"/>
                <a:gd name="T13" fmla="*/ 0 h 51"/>
                <a:gd name="T14" fmla="*/ 50 w 60"/>
                <a:gd name="T15" fmla="*/ 7 h 51"/>
                <a:gd name="T16" fmla="*/ 60 w 60"/>
                <a:gd name="T17" fmla="*/ 13 h 51"/>
                <a:gd name="T18" fmla="*/ 59 w 60"/>
                <a:gd name="T19" fmla="*/ 20 h 51"/>
                <a:gd name="T20" fmla="*/ 56 w 60"/>
                <a:gd name="T21" fmla="*/ 29 h 51"/>
                <a:gd name="T22" fmla="*/ 54 w 60"/>
                <a:gd name="T23" fmla="*/ 34 h 51"/>
                <a:gd name="T24" fmla="*/ 52 w 60"/>
                <a:gd name="T25" fmla="*/ 38 h 51"/>
                <a:gd name="T26" fmla="*/ 49 w 60"/>
                <a:gd name="T27" fmla="*/ 42 h 51"/>
                <a:gd name="T28" fmla="*/ 45 w 60"/>
                <a:gd name="T29" fmla="*/ 45 h 51"/>
                <a:gd name="T30" fmla="*/ 41 w 60"/>
                <a:gd name="T31" fmla="*/ 48 h 51"/>
                <a:gd name="T32" fmla="*/ 37 w 60"/>
                <a:gd name="T33" fmla="*/ 50 h 51"/>
                <a:gd name="T34" fmla="*/ 31 w 60"/>
                <a:gd name="T35" fmla="*/ 51 h 51"/>
                <a:gd name="T36" fmla="*/ 27 w 60"/>
                <a:gd name="T37" fmla="*/ 51 h 51"/>
                <a:gd name="T38" fmla="*/ 20 w 60"/>
                <a:gd name="T39" fmla="*/ 50 h 51"/>
                <a:gd name="T40" fmla="*/ 15 w 60"/>
                <a:gd name="T41" fmla="*/ 47 h 51"/>
                <a:gd name="T42" fmla="*/ 7 w 60"/>
                <a:gd name="T43" fmla="*/ 43 h 51"/>
                <a:gd name="T44" fmla="*/ 0 w 60"/>
                <a:gd name="T45" fmla="*/ 3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75" name="Freeform 245">
              <a:extLst>
                <a:ext uri="{FF2B5EF4-FFF2-40B4-BE49-F238E27FC236}">
                  <a16:creationId xmlns:a16="http://schemas.microsoft.com/office/drawing/2014/main" id="{F226BCE4-430B-49C6-B722-2C48CA706A26}"/>
                </a:ext>
              </a:extLst>
            </p:cNvPr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5334001" y="2001838"/>
              <a:ext cx="28575" cy="57150"/>
            </a:xfrm>
            <a:custGeom>
              <a:avLst/>
              <a:gdLst>
                <a:gd name="T0" fmla="*/ 59 w 66"/>
                <a:gd name="T1" fmla="*/ 48 h 51"/>
                <a:gd name="T2" fmla="*/ 42 w 66"/>
                <a:gd name="T3" fmla="*/ 50 h 51"/>
                <a:gd name="T4" fmla="*/ 22 w 66"/>
                <a:gd name="T5" fmla="*/ 51 h 51"/>
                <a:gd name="T6" fmla="*/ 17 w 66"/>
                <a:gd name="T7" fmla="*/ 50 h 51"/>
                <a:gd name="T8" fmla="*/ 13 w 66"/>
                <a:gd name="T9" fmla="*/ 49 h 51"/>
                <a:gd name="T10" fmla="*/ 10 w 66"/>
                <a:gd name="T11" fmla="*/ 48 h 51"/>
                <a:gd name="T12" fmla="*/ 7 w 66"/>
                <a:gd name="T13" fmla="*/ 46 h 51"/>
                <a:gd name="T14" fmla="*/ 3 w 66"/>
                <a:gd name="T15" fmla="*/ 43 h 51"/>
                <a:gd name="T16" fmla="*/ 1 w 66"/>
                <a:gd name="T17" fmla="*/ 40 h 51"/>
                <a:gd name="T18" fmla="*/ 0 w 66"/>
                <a:gd name="T19" fmla="*/ 35 h 51"/>
                <a:gd name="T20" fmla="*/ 0 w 66"/>
                <a:gd name="T21" fmla="*/ 30 h 51"/>
                <a:gd name="T22" fmla="*/ 4 w 66"/>
                <a:gd name="T23" fmla="*/ 29 h 51"/>
                <a:gd name="T24" fmla="*/ 10 w 66"/>
                <a:gd name="T25" fmla="*/ 27 h 51"/>
                <a:gd name="T26" fmla="*/ 14 w 66"/>
                <a:gd name="T27" fmla="*/ 24 h 51"/>
                <a:gd name="T28" fmla="*/ 19 w 66"/>
                <a:gd name="T29" fmla="*/ 20 h 51"/>
                <a:gd name="T30" fmla="*/ 26 w 66"/>
                <a:gd name="T31" fmla="*/ 10 h 51"/>
                <a:gd name="T32" fmla="*/ 33 w 66"/>
                <a:gd name="T33" fmla="*/ 0 h 51"/>
                <a:gd name="T34" fmla="*/ 46 w 66"/>
                <a:gd name="T35" fmla="*/ 1 h 51"/>
                <a:gd name="T36" fmla="*/ 52 w 66"/>
                <a:gd name="T37" fmla="*/ 2 h 51"/>
                <a:gd name="T38" fmla="*/ 56 w 66"/>
                <a:gd name="T39" fmla="*/ 3 h 51"/>
                <a:gd name="T40" fmla="*/ 66 w 66"/>
                <a:gd name="T41" fmla="*/ 0 h 51"/>
                <a:gd name="T42" fmla="*/ 65 w 66"/>
                <a:gd name="T43" fmla="*/ 13 h 51"/>
                <a:gd name="T44" fmla="*/ 63 w 66"/>
                <a:gd name="T45" fmla="*/ 24 h 51"/>
                <a:gd name="T46" fmla="*/ 60 w 66"/>
                <a:gd name="T47" fmla="*/ 36 h 51"/>
                <a:gd name="T48" fmla="*/ 59 w 66"/>
                <a:gd name="T49" fmla="*/ 4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76" name="Freeform 246">
              <a:extLst>
                <a:ext uri="{FF2B5EF4-FFF2-40B4-BE49-F238E27FC236}">
                  <a16:creationId xmlns:a16="http://schemas.microsoft.com/office/drawing/2014/main" id="{16A28001-5ACC-40DF-BE68-86C714F6D665}"/>
                </a:ext>
              </a:extLst>
            </p:cNvPr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6286500" y="2530475"/>
              <a:ext cx="50800" cy="57150"/>
            </a:xfrm>
            <a:custGeom>
              <a:avLst/>
              <a:gdLst>
                <a:gd name="T0" fmla="*/ 0 w 113"/>
                <a:gd name="T1" fmla="*/ 44 h 74"/>
                <a:gd name="T2" fmla="*/ 20 w 113"/>
                <a:gd name="T3" fmla="*/ 74 h 74"/>
                <a:gd name="T4" fmla="*/ 37 w 113"/>
                <a:gd name="T5" fmla="*/ 69 h 74"/>
                <a:gd name="T6" fmla="*/ 51 w 113"/>
                <a:gd name="T7" fmla="*/ 65 h 74"/>
                <a:gd name="T8" fmla="*/ 64 w 113"/>
                <a:gd name="T9" fmla="*/ 59 h 74"/>
                <a:gd name="T10" fmla="*/ 74 w 113"/>
                <a:gd name="T11" fmla="*/ 53 h 74"/>
                <a:gd name="T12" fmla="*/ 78 w 113"/>
                <a:gd name="T13" fmla="*/ 49 h 74"/>
                <a:gd name="T14" fmla="*/ 83 w 113"/>
                <a:gd name="T15" fmla="*/ 45 h 74"/>
                <a:gd name="T16" fmla="*/ 86 w 113"/>
                <a:gd name="T17" fmla="*/ 41 h 74"/>
                <a:gd name="T18" fmla="*/ 88 w 113"/>
                <a:gd name="T19" fmla="*/ 37 h 74"/>
                <a:gd name="T20" fmla="*/ 90 w 113"/>
                <a:gd name="T21" fmla="*/ 32 h 74"/>
                <a:gd name="T22" fmla="*/ 91 w 113"/>
                <a:gd name="T23" fmla="*/ 26 h 74"/>
                <a:gd name="T24" fmla="*/ 93 w 113"/>
                <a:gd name="T25" fmla="*/ 19 h 74"/>
                <a:gd name="T26" fmla="*/ 94 w 113"/>
                <a:gd name="T27" fmla="*/ 13 h 74"/>
                <a:gd name="T28" fmla="*/ 99 w 113"/>
                <a:gd name="T29" fmla="*/ 12 h 74"/>
                <a:gd name="T30" fmla="*/ 106 w 113"/>
                <a:gd name="T31" fmla="*/ 9 h 74"/>
                <a:gd name="T32" fmla="*/ 108 w 113"/>
                <a:gd name="T33" fmla="*/ 7 h 74"/>
                <a:gd name="T34" fmla="*/ 111 w 113"/>
                <a:gd name="T35" fmla="*/ 5 h 74"/>
                <a:gd name="T36" fmla="*/ 112 w 113"/>
                <a:gd name="T37" fmla="*/ 3 h 74"/>
                <a:gd name="T38" fmla="*/ 113 w 113"/>
                <a:gd name="T39" fmla="*/ 0 h 74"/>
                <a:gd name="T40" fmla="*/ 98 w 113"/>
                <a:gd name="T41" fmla="*/ 4 h 74"/>
                <a:gd name="T42" fmla="*/ 82 w 113"/>
                <a:gd name="T43" fmla="*/ 8 h 74"/>
                <a:gd name="T44" fmla="*/ 65 w 113"/>
                <a:gd name="T45" fmla="*/ 13 h 74"/>
                <a:gd name="T46" fmla="*/ 49 w 113"/>
                <a:gd name="T47" fmla="*/ 19 h 74"/>
                <a:gd name="T48" fmla="*/ 20 w 113"/>
                <a:gd name="T49" fmla="*/ 33 h 74"/>
                <a:gd name="T50" fmla="*/ 0 w 113"/>
                <a:gd name="T51" fmla="*/ 4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77" name="Freeform 247">
              <a:extLst>
                <a:ext uri="{FF2B5EF4-FFF2-40B4-BE49-F238E27FC236}">
                  <a16:creationId xmlns:a16="http://schemas.microsoft.com/office/drawing/2014/main" id="{EABDB90D-8082-4C2E-9305-D035858E0569}"/>
                </a:ext>
              </a:extLst>
            </p:cNvPr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5894389" y="3322639"/>
              <a:ext cx="325437" cy="244475"/>
            </a:xfrm>
            <a:custGeom>
              <a:avLst/>
              <a:gdLst>
                <a:gd name="T0" fmla="*/ 98 w 746"/>
                <a:gd name="T1" fmla="*/ 452 h 469"/>
                <a:gd name="T2" fmla="*/ 54 w 746"/>
                <a:gd name="T3" fmla="*/ 440 h 469"/>
                <a:gd name="T4" fmla="*/ 21 w 746"/>
                <a:gd name="T5" fmla="*/ 429 h 469"/>
                <a:gd name="T6" fmla="*/ 5 w 746"/>
                <a:gd name="T7" fmla="*/ 413 h 469"/>
                <a:gd name="T8" fmla="*/ 0 w 746"/>
                <a:gd name="T9" fmla="*/ 363 h 469"/>
                <a:gd name="T10" fmla="*/ 5 w 746"/>
                <a:gd name="T11" fmla="*/ 309 h 469"/>
                <a:gd name="T12" fmla="*/ 23 w 746"/>
                <a:gd name="T13" fmla="*/ 273 h 469"/>
                <a:gd name="T14" fmla="*/ 56 w 746"/>
                <a:gd name="T15" fmla="*/ 228 h 469"/>
                <a:gd name="T16" fmla="*/ 121 w 746"/>
                <a:gd name="T17" fmla="*/ 204 h 469"/>
                <a:gd name="T18" fmla="*/ 166 w 746"/>
                <a:gd name="T19" fmla="*/ 188 h 469"/>
                <a:gd name="T20" fmla="*/ 235 w 746"/>
                <a:gd name="T21" fmla="*/ 173 h 469"/>
                <a:gd name="T22" fmla="*/ 262 w 746"/>
                <a:gd name="T23" fmla="*/ 153 h 469"/>
                <a:gd name="T24" fmla="*/ 267 w 746"/>
                <a:gd name="T25" fmla="*/ 136 h 469"/>
                <a:gd name="T26" fmla="*/ 292 w 746"/>
                <a:gd name="T27" fmla="*/ 120 h 469"/>
                <a:gd name="T28" fmla="*/ 332 w 746"/>
                <a:gd name="T29" fmla="*/ 115 h 469"/>
                <a:gd name="T30" fmla="*/ 359 w 746"/>
                <a:gd name="T31" fmla="*/ 101 h 469"/>
                <a:gd name="T32" fmla="*/ 389 w 746"/>
                <a:gd name="T33" fmla="*/ 67 h 469"/>
                <a:gd name="T34" fmla="*/ 425 w 746"/>
                <a:gd name="T35" fmla="*/ 22 h 469"/>
                <a:gd name="T36" fmla="*/ 450 w 746"/>
                <a:gd name="T37" fmla="*/ 6 h 469"/>
                <a:gd name="T38" fmla="*/ 486 w 746"/>
                <a:gd name="T39" fmla="*/ 0 h 469"/>
                <a:gd name="T40" fmla="*/ 507 w 746"/>
                <a:gd name="T41" fmla="*/ 29 h 469"/>
                <a:gd name="T42" fmla="*/ 532 w 746"/>
                <a:gd name="T43" fmla="*/ 53 h 469"/>
                <a:gd name="T44" fmla="*/ 553 w 746"/>
                <a:gd name="T45" fmla="*/ 107 h 469"/>
                <a:gd name="T46" fmla="*/ 579 w 746"/>
                <a:gd name="T47" fmla="*/ 159 h 469"/>
                <a:gd name="T48" fmla="*/ 613 w 746"/>
                <a:gd name="T49" fmla="*/ 172 h 469"/>
                <a:gd name="T50" fmla="*/ 628 w 746"/>
                <a:gd name="T51" fmla="*/ 193 h 469"/>
                <a:gd name="T52" fmla="*/ 650 w 746"/>
                <a:gd name="T53" fmla="*/ 233 h 469"/>
                <a:gd name="T54" fmla="*/ 702 w 746"/>
                <a:gd name="T55" fmla="*/ 279 h 469"/>
                <a:gd name="T56" fmla="*/ 741 w 746"/>
                <a:gd name="T57" fmla="*/ 315 h 469"/>
                <a:gd name="T58" fmla="*/ 711 w 746"/>
                <a:gd name="T59" fmla="*/ 345 h 469"/>
                <a:gd name="T60" fmla="*/ 691 w 746"/>
                <a:gd name="T61" fmla="*/ 342 h 469"/>
                <a:gd name="T62" fmla="*/ 679 w 746"/>
                <a:gd name="T63" fmla="*/ 321 h 469"/>
                <a:gd name="T64" fmla="*/ 651 w 746"/>
                <a:gd name="T65" fmla="*/ 330 h 469"/>
                <a:gd name="T66" fmla="*/ 639 w 746"/>
                <a:gd name="T67" fmla="*/ 352 h 469"/>
                <a:gd name="T68" fmla="*/ 604 w 746"/>
                <a:gd name="T69" fmla="*/ 356 h 469"/>
                <a:gd name="T70" fmla="*/ 553 w 746"/>
                <a:gd name="T71" fmla="*/ 356 h 469"/>
                <a:gd name="T72" fmla="*/ 522 w 746"/>
                <a:gd name="T73" fmla="*/ 365 h 469"/>
                <a:gd name="T74" fmla="*/ 496 w 746"/>
                <a:gd name="T75" fmla="*/ 387 h 469"/>
                <a:gd name="T76" fmla="*/ 486 w 746"/>
                <a:gd name="T77" fmla="*/ 394 h 469"/>
                <a:gd name="T78" fmla="*/ 426 w 746"/>
                <a:gd name="T79" fmla="*/ 400 h 469"/>
                <a:gd name="T80" fmla="*/ 396 w 746"/>
                <a:gd name="T81" fmla="*/ 392 h 469"/>
                <a:gd name="T82" fmla="*/ 349 w 746"/>
                <a:gd name="T83" fmla="*/ 354 h 469"/>
                <a:gd name="T84" fmla="*/ 319 w 746"/>
                <a:gd name="T85" fmla="*/ 345 h 469"/>
                <a:gd name="T86" fmla="*/ 291 w 746"/>
                <a:gd name="T87" fmla="*/ 355 h 469"/>
                <a:gd name="T88" fmla="*/ 266 w 746"/>
                <a:gd name="T89" fmla="*/ 377 h 469"/>
                <a:gd name="T90" fmla="*/ 227 w 746"/>
                <a:gd name="T91" fmla="*/ 437 h 469"/>
                <a:gd name="T92" fmla="*/ 150 w 746"/>
                <a:gd name="T93" fmla="*/ 439 h 469"/>
                <a:gd name="T94" fmla="*/ 135 w 746"/>
                <a:gd name="T95" fmla="*/ 448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78" name="Freeform 248">
              <a:extLst>
                <a:ext uri="{FF2B5EF4-FFF2-40B4-BE49-F238E27FC236}">
                  <a16:creationId xmlns:a16="http://schemas.microsoft.com/office/drawing/2014/main" id="{D5359347-7024-4AFB-A14C-66F8C5A42977}"/>
                </a:ext>
              </a:extLst>
            </p:cNvPr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5830888" y="3490913"/>
              <a:ext cx="500062" cy="552450"/>
            </a:xfrm>
            <a:custGeom>
              <a:avLst/>
              <a:gdLst>
                <a:gd name="T0" fmla="*/ 902 w 1145"/>
                <a:gd name="T1" fmla="*/ 57 h 1053"/>
                <a:gd name="T2" fmla="*/ 993 w 1145"/>
                <a:gd name="T3" fmla="*/ 66 h 1053"/>
                <a:gd name="T4" fmla="*/ 1080 w 1145"/>
                <a:gd name="T5" fmla="*/ 81 h 1053"/>
                <a:gd name="T6" fmla="*/ 1126 w 1145"/>
                <a:gd name="T7" fmla="*/ 175 h 1053"/>
                <a:gd name="T8" fmla="*/ 1133 w 1145"/>
                <a:gd name="T9" fmla="*/ 211 h 1053"/>
                <a:gd name="T10" fmla="*/ 1058 w 1145"/>
                <a:gd name="T11" fmla="*/ 272 h 1053"/>
                <a:gd name="T12" fmla="*/ 1045 w 1145"/>
                <a:gd name="T13" fmla="*/ 360 h 1053"/>
                <a:gd name="T14" fmla="*/ 1003 w 1145"/>
                <a:gd name="T15" fmla="*/ 440 h 1053"/>
                <a:gd name="T16" fmla="*/ 990 w 1145"/>
                <a:gd name="T17" fmla="*/ 476 h 1053"/>
                <a:gd name="T18" fmla="*/ 1019 w 1145"/>
                <a:gd name="T19" fmla="*/ 576 h 1053"/>
                <a:gd name="T20" fmla="*/ 1026 w 1145"/>
                <a:gd name="T21" fmla="*/ 664 h 1053"/>
                <a:gd name="T22" fmla="*/ 1047 w 1145"/>
                <a:gd name="T23" fmla="*/ 731 h 1053"/>
                <a:gd name="T24" fmla="*/ 1079 w 1145"/>
                <a:gd name="T25" fmla="*/ 765 h 1053"/>
                <a:gd name="T26" fmla="*/ 1092 w 1145"/>
                <a:gd name="T27" fmla="*/ 825 h 1053"/>
                <a:gd name="T28" fmla="*/ 1040 w 1145"/>
                <a:gd name="T29" fmla="*/ 844 h 1053"/>
                <a:gd name="T30" fmla="*/ 997 w 1145"/>
                <a:gd name="T31" fmla="*/ 856 h 1053"/>
                <a:gd name="T32" fmla="*/ 960 w 1145"/>
                <a:gd name="T33" fmla="*/ 992 h 1053"/>
                <a:gd name="T34" fmla="*/ 930 w 1145"/>
                <a:gd name="T35" fmla="*/ 1026 h 1053"/>
                <a:gd name="T36" fmla="*/ 902 w 1145"/>
                <a:gd name="T37" fmla="*/ 1031 h 1053"/>
                <a:gd name="T38" fmla="*/ 840 w 1145"/>
                <a:gd name="T39" fmla="*/ 1053 h 1053"/>
                <a:gd name="T40" fmla="*/ 782 w 1145"/>
                <a:gd name="T41" fmla="*/ 1037 h 1053"/>
                <a:gd name="T42" fmla="*/ 743 w 1145"/>
                <a:gd name="T43" fmla="*/ 1014 h 1053"/>
                <a:gd name="T44" fmla="*/ 707 w 1145"/>
                <a:gd name="T45" fmla="*/ 997 h 1053"/>
                <a:gd name="T46" fmla="*/ 674 w 1145"/>
                <a:gd name="T47" fmla="*/ 986 h 1053"/>
                <a:gd name="T48" fmla="*/ 608 w 1145"/>
                <a:gd name="T49" fmla="*/ 987 h 1053"/>
                <a:gd name="T50" fmla="*/ 594 w 1145"/>
                <a:gd name="T51" fmla="*/ 942 h 1053"/>
                <a:gd name="T52" fmla="*/ 575 w 1145"/>
                <a:gd name="T53" fmla="*/ 884 h 1053"/>
                <a:gd name="T54" fmla="*/ 590 w 1145"/>
                <a:gd name="T55" fmla="*/ 846 h 1053"/>
                <a:gd name="T56" fmla="*/ 590 w 1145"/>
                <a:gd name="T57" fmla="*/ 779 h 1053"/>
                <a:gd name="T58" fmla="*/ 454 w 1145"/>
                <a:gd name="T59" fmla="*/ 755 h 1053"/>
                <a:gd name="T60" fmla="*/ 443 w 1145"/>
                <a:gd name="T61" fmla="*/ 785 h 1053"/>
                <a:gd name="T62" fmla="*/ 396 w 1145"/>
                <a:gd name="T63" fmla="*/ 817 h 1053"/>
                <a:gd name="T64" fmla="*/ 337 w 1145"/>
                <a:gd name="T65" fmla="*/ 797 h 1053"/>
                <a:gd name="T66" fmla="*/ 297 w 1145"/>
                <a:gd name="T67" fmla="*/ 708 h 1053"/>
                <a:gd name="T68" fmla="*/ 3 w 1145"/>
                <a:gd name="T69" fmla="*/ 671 h 1053"/>
                <a:gd name="T70" fmla="*/ 45 w 1145"/>
                <a:gd name="T71" fmla="*/ 667 h 1053"/>
                <a:gd name="T72" fmla="*/ 26 w 1145"/>
                <a:gd name="T73" fmla="*/ 631 h 1053"/>
                <a:gd name="T74" fmla="*/ 75 w 1145"/>
                <a:gd name="T75" fmla="*/ 615 h 1053"/>
                <a:gd name="T76" fmla="*/ 145 w 1145"/>
                <a:gd name="T77" fmla="*/ 614 h 1053"/>
                <a:gd name="T78" fmla="*/ 183 w 1145"/>
                <a:gd name="T79" fmla="*/ 620 h 1053"/>
                <a:gd name="T80" fmla="*/ 220 w 1145"/>
                <a:gd name="T81" fmla="*/ 574 h 1053"/>
                <a:gd name="T82" fmla="*/ 260 w 1145"/>
                <a:gd name="T83" fmla="*/ 555 h 1053"/>
                <a:gd name="T84" fmla="*/ 281 w 1145"/>
                <a:gd name="T85" fmla="*/ 440 h 1053"/>
                <a:gd name="T86" fmla="*/ 346 w 1145"/>
                <a:gd name="T87" fmla="*/ 370 h 1053"/>
                <a:gd name="T88" fmla="*/ 370 w 1145"/>
                <a:gd name="T89" fmla="*/ 276 h 1053"/>
                <a:gd name="T90" fmla="*/ 372 w 1145"/>
                <a:gd name="T91" fmla="*/ 180 h 1053"/>
                <a:gd name="T92" fmla="*/ 383 w 1145"/>
                <a:gd name="T93" fmla="*/ 122 h 1053"/>
                <a:gd name="T94" fmla="*/ 440 w 1145"/>
                <a:gd name="T95" fmla="*/ 35 h 1053"/>
                <a:gd name="T96" fmla="*/ 491 w 1145"/>
                <a:gd name="T97" fmla="*/ 30 h 1053"/>
                <a:gd name="T98" fmla="*/ 558 w 1145"/>
                <a:gd name="T99" fmla="*/ 77 h 1053"/>
                <a:gd name="T100" fmla="*/ 637 w 1145"/>
                <a:gd name="T101" fmla="*/ 73 h 1053"/>
                <a:gd name="T102" fmla="*/ 670 w 1145"/>
                <a:gd name="T103" fmla="*/ 44 h 1053"/>
                <a:gd name="T104" fmla="*/ 734 w 1145"/>
                <a:gd name="T105" fmla="*/ 34 h 1053"/>
                <a:gd name="T106" fmla="*/ 795 w 1145"/>
                <a:gd name="T107" fmla="*/ 17 h 1053"/>
                <a:gd name="T108" fmla="*/ 828 w 1145"/>
                <a:gd name="T109" fmla="*/ 8 h 1053"/>
                <a:gd name="T110" fmla="*/ 859 w 1145"/>
                <a:gd name="T111" fmla="*/ 24 h 10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79" name="Freeform 249">
              <a:extLst>
                <a:ext uri="{FF2B5EF4-FFF2-40B4-BE49-F238E27FC236}">
                  <a16:creationId xmlns:a16="http://schemas.microsoft.com/office/drawing/2014/main" id="{9F65E02E-ED4A-4C73-8234-DBB1135D18E9}"/>
                </a:ext>
              </a:extLst>
            </p:cNvPr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5767388" y="3590926"/>
              <a:ext cx="55562" cy="55563"/>
            </a:xfrm>
            <a:custGeom>
              <a:avLst/>
              <a:gdLst>
                <a:gd name="T0" fmla="*/ 120 w 125"/>
                <a:gd name="T1" fmla="*/ 0 h 81"/>
                <a:gd name="T2" fmla="*/ 121 w 125"/>
                <a:gd name="T3" fmla="*/ 27 h 81"/>
                <a:gd name="T4" fmla="*/ 124 w 125"/>
                <a:gd name="T5" fmla="*/ 46 h 81"/>
                <a:gd name="T6" fmla="*/ 125 w 125"/>
                <a:gd name="T7" fmla="*/ 53 h 81"/>
                <a:gd name="T8" fmla="*/ 125 w 125"/>
                <a:gd name="T9" fmla="*/ 59 h 81"/>
                <a:gd name="T10" fmla="*/ 125 w 125"/>
                <a:gd name="T11" fmla="*/ 65 h 81"/>
                <a:gd name="T12" fmla="*/ 123 w 125"/>
                <a:gd name="T13" fmla="*/ 69 h 81"/>
                <a:gd name="T14" fmla="*/ 119 w 125"/>
                <a:gd name="T15" fmla="*/ 72 h 81"/>
                <a:gd name="T16" fmla="*/ 112 w 125"/>
                <a:gd name="T17" fmla="*/ 74 h 81"/>
                <a:gd name="T18" fmla="*/ 103 w 125"/>
                <a:gd name="T19" fmla="*/ 76 h 81"/>
                <a:gd name="T20" fmla="*/ 91 w 125"/>
                <a:gd name="T21" fmla="*/ 77 h 81"/>
                <a:gd name="T22" fmla="*/ 57 w 125"/>
                <a:gd name="T23" fmla="*/ 79 h 81"/>
                <a:gd name="T24" fmla="*/ 7 w 125"/>
                <a:gd name="T25" fmla="*/ 81 h 81"/>
                <a:gd name="T26" fmla="*/ 5 w 125"/>
                <a:gd name="T27" fmla="*/ 79 h 81"/>
                <a:gd name="T28" fmla="*/ 3 w 125"/>
                <a:gd name="T29" fmla="*/ 72 h 81"/>
                <a:gd name="T30" fmla="*/ 1 w 125"/>
                <a:gd name="T31" fmla="*/ 59 h 81"/>
                <a:gd name="T32" fmla="*/ 0 w 125"/>
                <a:gd name="T33" fmla="*/ 43 h 81"/>
                <a:gd name="T34" fmla="*/ 0 w 125"/>
                <a:gd name="T35" fmla="*/ 37 h 81"/>
                <a:gd name="T36" fmla="*/ 1 w 125"/>
                <a:gd name="T37" fmla="*/ 31 h 81"/>
                <a:gd name="T38" fmla="*/ 2 w 125"/>
                <a:gd name="T39" fmla="*/ 25 h 81"/>
                <a:gd name="T40" fmla="*/ 4 w 125"/>
                <a:gd name="T41" fmla="*/ 20 h 81"/>
                <a:gd name="T42" fmla="*/ 8 w 125"/>
                <a:gd name="T43" fmla="*/ 15 h 81"/>
                <a:gd name="T44" fmla="*/ 11 w 125"/>
                <a:gd name="T45" fmla="*/ 10 h 81"/>
                <a:gd name="T46" fmla="*/ 14 w 125"/>
                <a:gd name="T47" fmla="*/ 5 h 81"/>
                <a:gd name="T48" fmla="*/ 20 w 125"/>
                <a:gd name="T49" fmla="*/ 0 h 81"/>
                <a:gd name="T50" fmla="*/ 120 w 125"/>
                <a:gd name="T5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0" name="Freeform 250">
              <a:extLst>
                <a:ext uri="{FF2B5EF4-FFF2-40B4-BE49-F238E27FC236}">
                  <a16:creationId xmlns:a16="http://schemas.microsoft.com/office/drawing/2014/main" id="{C82D34B9-DB22-46B7-9D98-53DD47419DC1}"/>
                </a:ext>
              </a:extLst>
            </p:cNvPr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5749925" y="3590926"/>
              <a:ext cx="152400" cy="201613"/>
            </a:xfrm>
            <a:custGeom>
              <a:avLst/>
              <a:gdLst>
                <a:gd name="T0" fmla="*/ 262 w 355"/>
                <a:gd name="T1" fmla="*/ 15 h 388"/>
                <a:gd name="T2" fmla="*/ 257 w 355"/>
                <a:gd name="T3" fmla="*/ 37 h 388"/>
                <a:gd name="T4" fmla="*/ 264 w 355"/>
                <a:gd name="T5" fmla="*/ 51 h 388"/>
                <a:gd name="T6" fmla="*/ 283 w 355"/>
                <a:gd name="T7" fmla="*/ 60 h 388"/>
                <a:gd name="T8" fmla="*/ 319 w 355"/>
                <a:gd name="T9" fmla="*/ 55 h 388"/>
                <a:gd name="T10" fmla="*/ 332 w 355"/>
                <a:gd name="T11" fmla="*/ 57 h 388"/>
                <a:gd name="T12" fmla="*/ 340 w 355"/>
                <a:gd name="T13" fmla="*/ 68 h 388"/>
                <a:gd name="T14" fmla="*/ 345 w 355"/>
                <a:gd name="T15" fmla="*/ 83 h 388"/>
                <a:gd name="T16" fmla="*/ 351 w 355"/>
                <a:gd name="T17" fmla="*/ 94 h 388"/>
                <a:gd name="T18" fmla="*/ 345 w 355"/>
                <a:gd name="T19" fmla="*/ 108 h 388"/>
                <a:gd name="T20" fmla="*/ 320 w 355"/>
                <a:gd name="T21" fmla="*/ 136 h 388"/>
                <a:gd name="T22" fmla="*/ 348 w 355"/>
                <a:gd name="T23" fmla="*/ 175 h 388"/>
                <a:gd name="T24" fmla="*/ 355 w 355"/>
                <a:gd name="T25" fmla="*/ 202 h 388"/>
                <a:gd name="T26" fmla="*/ 353 w 355"/>
                <a:gd name="T27" fmla="*/ 219 h 388"/>
                <a:gd name="T28" fmla="*/ 345 w 355"/>
                <a:gd name="T29" fmla="*/ 254 h 388"/>
                <a:gd name="T30" fmla="*/ 333 w 355"/>
                <a:gd name="T31" fmla="*/ 271 h 388"/>
                <a:gd name="T32" fmla="*/ 312 w 355"/>
                <a:gd name="T33" fmla="*/ 280 h 388"/>
                <a:gd name="T34" fmla="*/ 286 w 355"/>
                <a:gd name="T35" fmla="*/ 282 h 388"/>
                <a:gd name="T36" fmla="*/ 270 w 355"/>
                <a:gd name="T37" fmla="*/ 282 h 388"/>
                <a:gd name="T38" fmla="*/ 252 w 355"/>
                <a:gd name="T39" fmla="*/ 265 h 388"/>
                <a:gd name="T40" fmla="*/ 240 w 355"/>
                <a:gd name="T41" fmla="*/ 259 h 388"/>
                <a:gd name="T42" fmla="*/ 221 w 355"/>
                <a:gd name="T43" fmla="*/ 269 h 388"/>
                <a:gd name="T44" fmla="*/ 205 w 355"/>
                <a:gd name="T45" fmla="*/ 279 h 388"/>
                <a:gd name="T46" fmla="*/ 194 w 355"/>
                <a:gd name="T47" fmla="*/ 285 h 388"/>
                <a:gd name="T48" fmla="*/ 185 w 355"/>
                <a:gd name="T49" fmla="*/ 298 h 388"/>
                <a:gd name="T50" fmla="*/ 187 w 355"/>
                <a:gd name="T51" fmla="*/ 321 h 388"/>
                <a:gd name="T52" fmla="*/ 207 w 355"/>
                <a:gd name="T53" fmla="*/ 358 h 388"/>
                <a:gd name="T54" fmla="*/ 195 w 355"/>
                <a:gd name="T55" fmla="*/ 353 h 388"/>
                <a:gd name="T56" fmla="*/ 177 w 355"/>
                <a:gd name="T57" fmla="*/ 355 h 388"/>
                <a:gd name="T58" fmla="*/ 162 w 355"/>
                <a:gd name="T59" fmla="*/ 365 h 388"/>
                <a:gd name="T60" fmla="*/ 146 w 355"/>
                <a:gd name="T61" fmla="*/ 388 h 388"/>
                <a:gd name="T62" fmla="*/ 123 w 355"/>
                <a:gd name="T63" fmla="*/ 370 h 388"/>
                <a:gd name="T64" fmla="*/ 113 w 355"/>
                <a:gd name="T65" fmla="*/ 358 h 388"/>
                <a:gd name="T66" fmla="*/ 96 w 355"/>
                <a:gd name="T67" fmla="*/ 324 h 388"/>
                <a:gd name="T68" fmla="*/ 50 w 355"/>
                <a:gd name="T69" fmla="*/ 280 h 388"/>
                <a:gd name="T70" fmla="*/ 22 w 355"/>
                <a:gd name="T71" fmla="*/ 254 h 388"/>
                <a:gd name="T72" fmla="*/ 5 w 355"/>
                <a:gd name="T73" fmla="*/ 223 h 388"/>
                <a:gd name="T74" fmla="*/ 1 w 355"/>
                <a:gd name="T75" fmla="*/ 187 h 388"/>
                <a:gd name="T76" fmla="*/ 11 w 355"/>
                <a:gd name="T77" fmla="*/ 162 h 388"/>
                <a:gd name="T78" fmla="*/ 41 w 355"/>
                <a:gd name="T79" fmla="*/ 134 h 388"/>
                <a:gd name="T80" fmla="*/ 54 w 355"/>
                <a:gd name="T81" fmla="*/ 116 h 388"/>
                <a:gd name="T82" fmla="*/ 56 w 355"/>
                <a:gd name="T83" fmla="*/ 91 h 388"/>
                <a:gd name="T84" fmla="*/ 108 w 355"/>
                <a:gd name="T85" fmla="*/ 83 h 388"/>
                <a:gd name="T86" fmla="*/ 156 w 355"/>
                <a:gd name="T87" fmla="*/ 80 h 388"/>
                <a:gd name="T88" fmla="*/ 172 w 355"/>
                <a:gd name="T89" fmla="*/ 73 h 388"/>
                <a:gd name="T90" fmla="*/ 177 w 355"/>
                <a:gd name="T91" fmla="*/ 63 h 388"/>
                <a:gd name="T92" fmla="*/ 174 w 355"/>
                <a:gd name="T93" fmla="*/ 41 h 388"/>
                <a:gd name="T94" fmla="*/ 167 w 355"/>
                <a:gd name="T95" fmla="*/ 12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1" name="Freeform 251">
              <a:extLst>
                <a:ext uri="{FF2B5EF4-FFF2-40B4-BE49-F238E27FC236}">
                  <a16:creationId xmlns:a16="http://schemas.microsoft.com/office/drawing/2014/main" id="{9D464935-B5B9-4AC2-9529-F0E290A843CC}"/>
                </a:ext>
              </a:extLst>
            </p:cNvPr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6283325" y="3995738"/>
              <a:ext cx="260350" cy="520700"/>
            </a:xfrm>
            <a:custGeom>
              <a:avLst/>
              <a:gdLst>
                <a:gd name="T0" fmla="*/ 0 w 599"/>
                <a:gd name="T1" fmla="*/ 259 h 993"/>
                <a:gd name="T2" fmla="*/ 182 w 599"/>
                <a:gd name="T3" fmla="*/ 224 h 993"/>
                <a:gd name="T4" fmla="*/ 230 w 599"/>
                <a:gd name="T5" fmla="*/ 240 h 993"/>
                <a:gd name="T6" fmla="*/ 258 w 599"/>
                <a:gd name="T7" fmla="*/ 258 h 993"/>
                <a:gd name="T8" fmla="*/ 252 w 599"/>
                <a:gd name="T9" fmla="*/ 296 h 993"/>
                <a:gd name="T10" fmla="*/ 234 w 599"/>
                <a:gd name="T11" fmla="*/ 327 h 993"/>
                <a:gd name="T12" fmla="*/ 250 w 599"/>
                <a:gd name="T13" fmla="*/ 357 h 993"/>
                <a:gd name="T14" fmla="*/ 294 w 599"/>
                <a:gd name="T15" fmla="*/ 365 h 993"/>
                <a:gd name="T16" fmla="*/ 319 w 599"/>
                <a:gd name="T17" fmla="*/ 340 h 993"/>
                <a:gd name="T18" fmla="*/ 338 w 599"/>
                <a:gd name="T19" fmla="*/ 317 h 993"/>
                <a:gd name="T20" fmla="*/ 332 w 599"/>
                <a:gd name="T21" fmla="*/ 261 h 993"/>
                <a:gd name="T22" fmla="*/ 314 w 599"/>
                <a:gd name="T23" fmla="*/ 204 h 993"/>
                <a:gd name="T24" fmla="*/ 271 w 599"/>
                <a:gd name="T25" fmla="*/ 157 h 993"/>
                <a:gd name="T26" fmla="*/ 254 w 599"/>
                <a:gd name="T27" fmla="*/ 125 h 993"/>
                <a:gd name="T28" fmla="*/ 270 w 599"/>
                <a:gd name="T29" fmla="*/ 62 h 993"/>
                <a:gd name="T30" fmla="*/ 320 w 599"/>
                <a:gd name="T31" fmla="*/ 55 h 993"/>
                <a:gd name="T32" fmla="*/ 418 w 599"/>
                <a:gd name="T33" fmla="*/ 60 h 993"/>
                <a:gd name="T34" fmla="*/ 521 w 599"/>
                <a:gd name="T35" fmla="*/ 36 h 993"/>
                <a:gd name="T36" fmla="*/ 597 w 599"/>
                <a:gd name="T37" fmla="*/ 3 h 993"/>
                <a:gd name="T38" fmla="*/ 597 w 599"/>
                <a:gd name="T39" fmla="*/ 30 h 993"/>
                <a:gd name="T40" fmla="*/ 597 w 599"/>
                <a:gd name="T41" fmla="*/ 126 h 993"/>
                <a:gd name="T42" fmla="*/ 592 w 599"/>
                <a:gd name="T43" fmla="*/ 228 h 993"/>
                <a:gd name="T44" fmla="*/ 585 w 599"/>
                <a:gd name="T45" fmla="*/ 276 h 993"/>
                <a:gd name="T46" fmla="*/ 550 w 599"/>
                <a:gd name="T47" fmla="*/ 337 h 993"/>
                <a:gd name="T48" fmla="*/ 468 w 599"/>
                <a:gd name="T49" fmla="*/ 402 h 993"/>
                <a:gd name="T50" fmla="*/ 374 w 599"/>
                <a:gd name="T51" fmla="*/ 426 h 993"/>
                <a:gd name="T52" fmla="*/ 353 w 599"/>
                <a:gd name="T53" fmla="*/ 464 h 993"/>
                <a:gd name="T54" fmla="*/ 293 w 599"/>
                <a:gd name="T55" fmla="*/ 507 h 993"/>
                <a:gd name="T56" fmla="*/ 243 w 599"/>
                <a:gd name="T57" fmla="*/ 549 h 993"/>
                <a:gd name="T58" fmla="*/ 229 w 599"/>
                <a:gd name="T59" fmla="*/ 582 h 993"/>
                <a:gd name="T60" fmla="*/ 237 w 599"/>
                <a:gd name="T61" fmla="*/ 619 h 993"/>
                <a:gd name="T62" fmla="*/ 267 w 599"/>
                <a:gd name="T63" fmla="*/ 654 h 993"/>
                <a:gd name="T64" fmla="*/ 254 w 599"/>
                <a:gd name="T65" fmla="*/ 694 h 993"/>
                <a:gd name="T66" fmla="*/ 265 w 599"/>
                <a:gd name="T67" fmla="*/ 729 h 993"/>
                <a:gd name="T68" fmla="*/ 267 w 599"/>
                <a:gd name="T69" fmla="*/ 790 h 993"/>
                <a:gd name="T70" fmla="*/ 256 w 599"/>
                <a:gd name="T71" fmla="*/ 814 h 993"/>
                <a:gd name="T72" fmla="*/ 193 w 599"/>
                <a:gd name="T73" fmla="*/ 873 h 993"/>
                <a:gd name="T74" fmla="*/ 147 w 599"/>
                <a:gd name="T75" fmla="*/ 887 h 993"/>
                <a:gd name="T76" fmla="*/ 102 w 599"/>
                <a:gd name="T77" fmla="*/ 894 h 993"/>
                <a:gd name="T78" fmla="*/ 87 w 599"/>
                <a:gd name="T79" fmla="*/ 913 h 993"/>
                <a:gd name="T80" fmla="*/ 95 w 599"/>
                <a:gd name="T81" fmla="*/ 939 h 993"/>
                <a:gd name="T82" fmla="*/ 91 w 599"/>
                <a:gd name="T83" fmla="*/ 992 h 993"/>
                <a:gd name="T84" fmla="*/ 74 w 599"/>
                <a:gd name="T85" fmla="*/ 810 h 993"/>
                <a:gd name="T86" fmla="*/ 58 w 599"/>
                <a:gd name="T87" fmla="*/ 765 h 993"/>
                <a:gd name="T88" fmla="*/ 41 w 599"/>
                <a:gd name="T89" fmla="*/ 720 h 993"/>
                <a:gd name="T90" fmla="*/ 108 w 599"/>
                <a:gd name="T91" fmla="*/ 666 h 993"/>
                <a:gd name="T92" fmla="*/ 109 w 599"/>
                <a:gd name="T93" fmla="*/ 614 h 993"/>
                <a:gd name="T94" fmla="*/ 149 w 599"/>
                <a:gd name="T95" fmla="*/ 571 h 993"/>
                <a:gd name="T96" fmla="*/ 174 w 599"/>
                <a:gd name="T97" fmla="*/ 526 h 993"/>
                <a:gd name="T98" fmla="*/ 168 w 599"/>
                <a:gd name="T99" fmla="*/ 441 h 993"/>
                <a:gd name="T100" fmla="*/ 152 w 599"/>
                <a:gd name="T101" fmla="*/ 364 h 993"/>
                <a:gd name="T102" fmla="*/ 81 w 599"/>
                <a:gd name="T103" fmla="*/ 341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2" name="Freeform 252">
              <a:extLst>
                <a:ext uri="{FF2B5EF4-FFF2-40B4-BE49-F238E27FC236}">
                  <a16:creationId xmlns:a16="http://schemas.microsoft.com/office/drawing/2014/main" id="{5EA6C8D1-6407-4916-90F5-5EE918896956}"/>
                </a:ext>
              </a:extLst>
            </p:cNvPr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6018214" y="4235450"/>
              <a:ext cx="238125" cy="287338"/>
            </a:xfrm>
            <a:custGeom>
              <a:avLst/>
              <a:gdLst>
                <a:gd name="T0" fmla="*/ 30 w 545"/>
                <a:gd name="T1" fmla="*/ 428 h 549"/>
                <a:gd name="T2" fmla="*/ 46 w 545"/>
                <a:gd name="T3" fmla="*/ 454 h 549"/>
                <a:gd name="T4" fmla="*/ 46 w 545"/>
                <a:gd name="T5" fmla="*/ 512 h 549"/>
                <a:gd name="T6" fmla="*/ 48 w 545"/>
                <a:gd name="T7" fmla="*/ 527 h 549"/>
                <a:gd name="T8" fmla="*/ 55 w 545"/>
                <a:gd name="T9" fmla="*/ 537 h 549"/>
                <a:gd name="T10" fmla="*/ 68 w 545"/>
                <a:gd name="T11" fmla="*/ 545 h 549"/>
                <a:gd name="T12" fmla="*/ 100 w 545"/>
                <a:gd name="T13" fmla="*/ 549 h 549"/>
                <a:gd name="T14" fmla="*/ 113 w 545"/>
                <a:gd name="T15" fmla="*/ 546 h 549"/>
                <a:gd name="T16" fmla="*/ 130 w 545"/>
                <a:gd name="T17" fmla="*/ 533 h 549"/>
                <a:gd name="T18" fmla="*/ 143 w 545"/>
                <a:gd name="T19" fmla="*/ 507 h 549"/>
                <a:gd name="T20" fmla="*/ 154 w 545"/>
                <a:gd name="T21" fmla="*/ 477 h 549"/>
                <a:gd name="T22" fmla="*/ 169 w 545"/>
                <a:gd name="T23" fmla="*/ 454 h 549"/>
                <a:gd name="T24" fmla="*/ 183 w 545"/>
                <a:gd name="T25" fmla="*/ 445 h 549"/>
                <a:gd name="T26" fmla="*/ 201 w 545"/>
                <a:gd name="T27" fmla="*/ 444 h 549"/>
                <a:gd name="T28" fmla="*/ 222 w 545"/>
                <a:gd name="T29" fmla="*/ 448 h 549"/>
                <a:gd name="T30" fmla="*/ 252 w 545"/>
                <a:gd name="T31" fmla="*/ 461 h 549"/>
                <a:gd name="T32" fmla="*/ 272 w 545"/>
                <a:gd name="T33" fmla="*/ 468 h 549"/>
                <a:gd name="T34" fmla="*/ 297 w 545"/>
                <a:gd name="T35" fmla="*/ 469 h 549"/>
                <a:gd name="T36" fmla="*/ 319 w 545"/>
                <a:gd name="T37" fmla="*/ 464 h 549"/>
                <a:gd name="T38" fmla="*/ 332 w 545"/>
                <a:gd name="T39" fmla="*/ 453 h 549"/>
                <a:gd name="T40" fmla="*/ 359 w 545"/>
                <a:gd name="T41" fmla="*/ 388 h 549"/>
                <a:gd name="T42" fmla="*/ 382 w 545"/>
                <a:gd name="T43" fmla="*/ 363 h 549"/>
                <a:gd name="T44" fmla="*/ 447 w 545"/>
                <a:gd name="T45" fmla="*/ 314 h 549"/>
                <a:gd name="T46" fmla="*/ 527 w 545"/>
                <a:gd name="T47" fmla="*/ 264 h 549"/>
                <a:gd name="T48" fmla="*/ 528 w 545"/>
                <a:gd name="T49" fmla="*/ 232 h 549"/>
                <a:gd name="T50" fmla="*/ 503 w 545"/>
                <a:gd name="T51" fmla="*/ 218 h 549"/>
                <a:gd name="T52" fmla="*/ 485 w 545"/>
                <a:gd name="T53" fmla="*/ 199 h 549"/>
                <a:gd name="T54" fmla="*/ 460 w 545"/>
                <a:gd name="T55" fmla="*/ 157 h 549"/>
                <a:gd name="T56" fmla="*/ 440 w 545"/>
                <a:gd name="T57" fmla="*/ 132 h 549"/>
                <a:gd name="T58" fmla="*/ 377 w 545"/>
                <a:gd name="T59" fmla="*/ 76 h 549"/>
                <a:gd name="T60" fmla="*/ 359 w 545"/>
                <a:gd name="T61" fmla="*/ 53 h 549"/>
                <a:gd name="T62" fmla="*/ 348 w 545"/>
                <a:gd name="T63" fmla="*/ 24 h 549"/>
                <a:gd name="T64" fmla="*/ 319 w 545"/>
                <a:gd name="T65" fmla="*/ 0 h 549"/>
                <a:gd name="T66" fmla="*/ 244 w 545"/>
                <a:gd name="T67" fmla="*/ 2 h 549"/>
                <a:gd name="T68" fmla="*/ 176 w 545"/>
                <a:gd name="T69" fmla="*/ 13 h 549"/>
                <a:gd name="T70" fmla="*/ 95 w 545"/>
                <a:gd name="T71" fmla="*/ 22 h 549"/>
                <a:gd name="T72" fmla="*/ 71 w 545"/>
                <a:gd name="T73" fmla="*/ 27 h 549"/>
                <a:gd name="T74" fmla="*/ 67 w 545"/>
                <a:gd name="T75" fmla="*/ 38 h 549"/>
                <a:gd name="T76" fmla="*/ 73 w 545"/>
                <a:gd name="T77" fmla="*/ 56 h 549"/>
                <a:gd name="T78" fmla="*/ 84 w 545"/>
                <a:gd name="T79" fmla="*/ 74 h 549"/>
                <a:gd name="T80" fmla="*/ 86 w 545"/>
                <a:gd name="T81" fmla="*/ 107 h 549"/>
                <a:gd name="T82" fmla="*/ 74 w 545"/>
                <a:gd name="T83" fmla="*/ 171 h 549"/>
                <a:gd name="T84" fmla="*/ 62 w 545"/>
                <a:gd name="T85" fmla="*/ 237 h 549"/>
                <a:gd name="T86" fmla="*/ 47 w 545"/>
                <a:gd name="T87" fmla="*/ 263 h 549"/>
                <a:gd name="T88" fmla="*/ 26 w 545"/>
                <a:gd name="T89" fmla="*/ 277 h 549"/>
                <a:gd name="T90" fmla="*/ 5 w 545"/>
                <a:gd name="T91" fmla="*/ 307 h 549"/>
                <a:gd name="T92" fmla="*/ 1 w 545"/>
                <a:gd name="T93" fmla="*/ 339 h 549"/>
                <a:gd name="T94" fmla="*/ 8 w 545"/>
                <a:gd name="T95" fmla="*/ 367 h 549"/>
                <a:gd name="T96" fmla="*/ 8 w 545"/>
                <a:gd name="T97" fmla="*/ 391 h 549"/>
                <a:gd name="T98" fmla="*/ 0 w 545"/>
                <a:gd name="T99" fmla="*/ 408 h 5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3" name="Freeform 253">
              <a:extLst>
                <a:ext uri="{FF2B5EF4-FFF2-40B4-BE49-F238E27FC236}">
                  <a16:creationId xmlns:a16="http://schemas.microsoft.com/office/drawing/2014/main" id="{28D6C4D2-0A0A-4C64-9B40-8219A467C08D}"/>
                </a:ext>
              </a:extLst>
            </p:cNvPr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6591300" y="4037014"/>
              <a:ext cx="196850" cy="434975"/>
            </a:xfrm>
            <a:custGeom>
              <a:avLst/>
              <a:gdLst>
                <a:gd name="T0" fmla="*/ 112 w 452"/>
                <a:gd name="T1" fmla="*/ 261 h 832"/>
                <a:gd name="T2" fmla="*/ 138 w 452"/>
                <a:gd name="T3" fmla="*/ 248 h 832"/>
                <a:gd name="T4" fmla="*/ 165 w 452"/>
                <a:gd name="T5" fmla="*/ 240 h 832"/>
                <a:gd name="T6" fmla="*/ 192 w 452"/>
                <a:gd name="T7" fmla="*/ 232 h 832"/>
                <a:gd name="T8" fmla="*/ 215 w 452"/>
                <a:gd name="T9" fmla="*/ 217 h 832"/>
                <a:gd name="T10" fmla="*/ 232 w 452"/>
                <a:gd name="T11" fmla="*/ 200 h 832"/>
                <a:gd name="T12" fmla="*/ 232 w 452"/>
                <a:gd name="T13" fmla="*/ 179 h 832"/>
                <a:gd name="T14" fmla="*/ 265 w 452"/>
                <a:gd name="T15" fmla="*/ 178 h 832"/>
                <a:gd name="T16" fmla="*/ 282 w 452"/>
                <a:gd name="T17" fmla="*/ 173 h 832"/>
                <a:gd name="T18" fmla="*/ 298 w 452"/>
                <a:gd name="T19" fmla="*/ 162 h 832"/>
                <a:gd name="T20" fmla="*/ 320 w 452"/>
                <a:gd name="T21" fmla="*/ 133 h 832"/>
                <a:gd name="T22" fmla="*/ 350 w 452"/>
                <a:gd name="T23" fmla="*/ 75 h 832"/>
                <a:gd name="T24" fmla="*/ 378 w 452"/>
                <a:gd name="T25" fmla="*/ 0 h 832"/>
                <a:gd name="T26" fmla="*/ 385 w 452"/>
                <a:gd name="T27" fmla="*/ 19 h 832"/>
                <a:gd name="T28" fmla="*/ 407 w 452"/>
                <a:gd name="T29" fmla="*/ 47 h 832"/>
                <a:gd name="T30" fmla="*/ 448 w 452"/>
                <a:gd name="T31" fmla="*/ 85 h 832"/>
                <a:gd name="T32" fmla="*/ 440 w 452"/>
                <a:gd name="T33" fmla="*/ 103 h 832"/>
                <a:gd name="T34" fmla="*/ 444 w 452"/>
                <a:gd name="T35" fmla="*/ 138 h 832"/>
                <a:gd name="T36" fmla="*/ 452 w 452"/>
                <a:gd name="T37" fmla="*/ 185 h 832"/>
                <a:gd name="T38" fmla="*/ 448 w 452"/>
                <a:gd name="T39" fmla="*/ 206 h 832"/>
                <a:gd name="T40" fmla="*/ 428 w 452"/>
                <a:gd name="T41" fmla="*/ 234 h 832"/>
                <a:gd name="T42" fmla="*/ 409 w 452"/>
                <a:gd name="T43" fmla="*/ 261 h 832"/>
                <a:gd name="T44" fmla="*/ 405 w 452"/>
                <a:gd name="T45" fmla="*/ 283 h 832"/>
                <a:gd name="T46" fmla="*/ 393 w 452"/>
                <a:gd name="T47" fmla="*/ 308 h 832"/>
                <a:gd name="T48" fmla="*/ 383 w 452"/>
                <a:gd name="T49" fmla="*/ 318 h 832"/>
                <a:gd name="T50" fmla="*/ 377 w 452"/>
                <a:gd name="T51" fmla="*/ 332 h 832"/>
                <a:gd name="T52" fmla="*/ 368 w 452"/>
                <a:gd name="T53" fmla="*/ 364 h 832"/>
                <a:gd name="T54" fmla="*/ 338 w 452"/>
                <a:gd name="T55" fmla="*/ 427 h 832"/>
                <a:gd name="T56" fmla="*/ 321 w 452"/>
                <a:gd name="T57" fmla="*/ 470 h 832"/>
                <a:gd name="T58" fmla="*/ 318 w 452"/>
                <a:gd name="T59" fmla="*/ 500 h 832"/>
                <a:gd name="T60" fmla="*/ 310 w 452"/>
                <a:gd name="T61" fmla="*/ 531 h 832"/>
                <a:gd name="T62" fmla="*/ 281 w 452"/>
                <a:gd name="T63" fmla="*/ 602 h 832"/>
                <a:gd name="T64" fmla="*/ 260 w 452"/>
                <a:gd name="T65" fmla="*/ 637 h 832"/>
                <a:gd name="T66" fmla="*/ 242 w 452"/>
                <a:gd name="T67" fmla="*/ 655 h 832"/>
                <a:gd name="T68" fmla="*/ 232 w 452"/>
                <a:gd name="T69" fmla="*/ 660 h 832"/>
                <a:gd name="T70" fmla="*/ 228 w 452"/>
                <a:gd name="T71" fmla="*/ 714 h 832"/>
                <a:gd name="T72" fmla="*/ 215 w 452"/>
                <a:gd name="T73" fmla="*/ 759 h 832"/>
                <a:gd name="T74" fmla="*/ 191 w 452"/>
                <a:gd name="T75" fmla="*/ 795 h 832"/>
                <a:gd name="T76" fmla="*/ 157 w 452"/>
                <a:gd name="T77" fmla="*/ 819 h 832"/>
                <a:gd name="T78" fmla="*/ 110 w 452"/>
                <a:gd name="T79" fmla="*/ 831 h 832"/>
                <a:gd name="T80" fmla="*/ 80 w 452"/>
                <a:gd name="T81" fmla="*/ 827 h 832"/>
                <a:gd name="T82" fmla="*/ 73 w 452"/>
                <a:gd name="T83" fmla="*/ 817 h 832"/>
                <a:gd name="T84" fmla="*/ 50 w 452"/>
                <a:gd name="T85" fmla="*/ 810 h 832"/>
                <a:gd name="T86" fmla="*/ 26 w 452"/>
                <a:gd name="T87" fmla="*/ 798 h 832"/>
                <a:gd name="T88" fmla="*/ 12 w 452"/>
                <a:gd name="T89" fmla="*/ 777 h 832"/>
                <a:gd name="T90" fmla="*/ 3 w 452"/>
                <a:gd name="T91" fmla="*/ 752 h 832"/>
                <a:gd name="T92" fmla="*/ 0 w 452"/>
                <a:gd name="T93" fmla="*/ 708 h 832"/>
                <a:gd name="T94" fmla="*/ 4 w 452"/>
                <a:gd name="T95" fmla="*/ 694 h 832"/>
                <a:gd name="T96" fmla="*/ 19 w 452"/>
                <a:gd name="T97" fmla="*/ 678 h 832"/>
                <a:gd name="T98" fmla="*/ 11 w 452"/>
                <a:gd name="T99" fmla="*/ 672 h 832"/>
                <a:gd name="T100" fmla="*/ 0 w 452"/>
                <a:gd name="T101" fmla="*/ 652 h 832"/>
                <a:gd name="T102" fmla="*/ 5 w 452"/>
                <a:gd name="T103" fmla="*/ 628 h 832"/>
                <a:gd name="T104" fmla="*/ 8 w 452"/>
                <a:gd name="T105" fmla="*/ 610 h 832"/>
                <a:gd name="T106" fmla="*/ 5 w 452"/>
                <a:gd name="T107" fmla="*/ 591 h 832"/>
                <a:gd name="T108" fmla="*/ 18 w 452"/>
                <a:gd name="T109" fmla="*/ 587 h 832"/>
                <a:gd name="T110" fmla="*/ 43 w 452"/>
                <a:gd name="T111" fmla="*/ 568 h 832"/>
                <a:gd name="T112" fmla="*/ 63 w 452"/>
                <a:gd name="T113" fmla="*/ 538 h 832"/>
                <a:gd name="T114" fmla="*/ 76 w 452"/>
                <a:gd name="T115" fmla="*/ 506 h 832"/>
                <a:gd name="T116" fmla="*/ 86 w 452"/>
                <a:gd name="T117" fmla="*/ 462 h 832"/>
                <a:gd name="T118" fmla="*/ 83 w 452"/>
                <a:gd name="T119" fmla="*/ 438 h 832"/>
                <a:gd name="T120" fmla="*/ 70 w 452"/>
                <a:gd name="T121" fmla="*/ 408 h 832"/>
                <a:gd name="T122" fmla="*/ 56 w 452"/>
                <a:gd name="T123" fmla="*/ 382 h 832"/>
                <a:gd name="T124" fmla="*/ 53 w 452"/>
                <a:gd name="T125" fmla="*/ 363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4" name="Freeform 254">
              <a:extLst>
                <a:ext uri="{FF2B5EF4-FFF2-40B4-BE49-F238E27FC236}">
                  <a16:creationId xmlns:a16="http://schemas.microsoft.com/office/drawing/2014/main" id="{0E007680-E215-4B04-B00E-7B464D9834C1}"/>
                </a:ext>
              </a:extLst>
            </p:cNvPr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6267451" y="3735389"/>
              <a:ext cx="36513" cy="66675"/>
            </a:xfrm>
            <a:custGeom>
              <a:avLst/>
              <a:gdLst>
                <a:gd name="T0" fmla="*/ 80 w 80"/>
                <a:gd name="T1" fmla="*/ 2 h 126"/>
                <a:gd name="T2" fmla="*/ 80 w 80"/>
                <a:gd name="T3" fmla="*/ 101 h 126"/>
                <a:gd name="T4" fmla="*/ 78 w 80"/>
                <a:gd name="T5" fmla="*/ 104 h 126"/>
                <a:gd name="T6" fmla="*/ 75 w 80"/>
                <a:gd name="T7" fmla="*/ 107 h 126"/>
                <a:gd name="T8" fmla="*/ 70 w 80"/>
                <a:gd name="T9" fmla="*/ 109 h 126"/>
                <a:gd name="T10" fmla="*/ 67 w 80"/>
                <a:gd name="T11" fmla="*/ 111 h 126"/>
                <a:gd name="T12" fmla="*/ 58 w 80"/>
                <a:gd name="T13" fmla="*/ 114 h 126"/>
                <a:gd name="T14" fmla="*/ 48 w 80"/>
                <a:gd name="T15" fmla="*/ 116 h 126"/>
                <a:gd name="T16" fmla="*/ 36 w 80"/>
                <a:gd name="T17" fmla="*/ 117 h 126"/>
                <a:gd name="T18" fmla="*/ 25 w 80"/>
                <a:gd name="T19" fmla="*/ 119 h 126"/>
                <a:gd name="T20" fmla="*/ 13 w 80"/>
                <a:gd name="T21" fmla="*/ 123 h 126"/>
                <a:gd name="T22" fmla="*/ 0 w 80"/>
                <a:gd name="T23" fmla="*/ 126 h 126"/>
                <a:gd name="T24" fmla="*/ 7 w 80"/>
                <a:gd name="T25" fmla="*/ 40 h 126"/>
                <a:gd name="T26" fmla="*/ 23 w 80"/>
                <a:gd name="T27" fmla="*/ 27 h 126"/>
                <a:gd name="T28" fmla="*/ 41 w 80"/>
                <a:gd name="T29" fmla="*/ 12 h 126"/>
                <a:gd name="T30" fmla="*/ 51 w 80"/>
                <a:gd name="T31" fmla="*/ 5 h 126"/>
                <a:gd name="T32" fmla="*/ 60 w 80"/>
                <a:gd name="T33" fmla="*/ 1 h 126"/>
                <a:gd name="T34" fmla="*/ 65 w 80"/>
                <a:gd name="T35" fmla="*/ 0 h 126"/>
                <a:gd name="T36" fmla="*/ 70 w 80"/>
                <a:gd name="T37" fmla="*/ 0 h 126"/>
                <a:gd name="T38" fmla="*/ 75 w 80"/>
                <a:gd name="T39" fmla="*/ 1 h 126"/>
                <a:gd name="T40" fmla="*/ 80 w 80"/>
                <a:gd name="T41" fmla="*/ 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5" name="Freeform 255">
              <a:extLst>
                <a:ext uri="{FF2B5EF4-FFF2-40B4-BE49-F238E27FC236}">
                  <a16:creationId xmlns:a16="http://schemas.microsoft.com/office/drawing/2014/main" id="{C3DA5DB9-E73E-4593-8E2A-99F155D9C248}"/>
                </a:ext>
              </a:extLst>
            </p:cNvPr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6256338" y="3695701"/>
              <a:ext cx="55562" cy="60325"/>
            </a:xfrm>
            <a:custGeom>
              <a:avLst/>
              <a:gdLst>
                <a:gd name="T0" fmla="*/ 113 w 124"/>
                <a:gd name="T1" fmla="*/ 0 h 117"/>
                <a:gd name="T2" fmla="*/ 116 w 124"/>
                <a:gd name="T3" fmla="*/ 15 h 117"/>
                <a:gd name="T4" fmla="*/ 122 w 124"/>
                <a:gd name="T5" fmla="*/ 35 h 117"/>
                <a:gd name="T6" fmla="*/ 124 w 124"/>
                <a:gd name="T7" fmla="*/ 45 h 117"/>
                <a:gd name="T8" fmla="*/ 124 w 124"/>
                <a:gd name="T9" fmla="*/ 54 h 117"/>
                <a:gd name="T10" fmla="*/ 124 w 124"/>
                <a:gd name="T11" fmla="*/ 59 h 117"/>
                <a:gd name="T12" fmla="*/ 123 w 124"/>
                <a:gd name="T13" fmla="*/ 64 h 117"/>
                <a:gd name="T14" fmla="*/ 122 w 124"/>
                <a:gd name="T15" fmla="*/ 69 h 117"/>
                <a:gd name="T16" fmla="*/ 119 w 124"/>
                <a:gd name="T17" fmla="*/ 73 h 117"/>
                <a:gd name="T18" fmla="*/ 114 w 124"/>
                <a:gd name="T19" fmla="*/ 72 h 117"/>
                <a:gd name="T20" fmla="*/ 108 w 124"/>
                <a:gd name="T21" fmla="*/ 71 h 117"/>
                <a:gd name="T22" fmla="*/ 103 w 124"/>
                <a:gd name="T23" fmla="*/ 72 h 117"/>
                <a:gd name="T24" fmla="*/ 96 w 124"/>
                <a:gd name="T25" fmla="*/ 73 h 117"/>
                <a:gd name="T26" fmla="*/ 83 w 124"/>
                <a:gd name="T27" fmla="*/ 78 h 117"/>
                <a:gd name="T28" fmla="*/ 71 w 124"/>
                <a:gd name="T29" fmla="*/ 85 h 117"/>
                <a:gd name="T30" fmla="*/ 46 w 124"/>
                <a:gd name="T31" fmla="*/ 103 h 117"/>
                <a:gd name="T32" fmla="*/ 26 w 124"/>
                <a:gd name="T33" fmla="*/ 117 h 117"/>
                <a:gd name="T34" fmla="*/ 23 w 124"/>
                <a:gd name="T35" fmla="*/ 112 h 117"/>
                <a:gd name="T36" fmla="*/ 13 w 124"/>
                <a:gd name="T37" fmla="*/ 101 h 117"/>
                <a:gd name="T38" fmla="*/ 4 w 124"/>
                <a:gd name="T39" fmla="*/ 89 h 117"/>
                <a:gd name="T40" fmla="*/ 0 w 124"/>
                <a:gd name="T41" fmla="*/ 79 h 117"/>
                <a:gd name="T42" fmla="*/ 1 w 124"/>
                <a:gd name="T43" fmla="*/ 76 h 117"/>
                <a:gd name="T44" fmla="*/ 2 w 124"/>
                <a:gd name="T45" fmla="*/ 72 h 117"/>
                <a:gd name="T46" fmla="*/ 5 w 124"/>
                <a:gd name="T47" fmla="*/ 67 h 117"/>
                <a:gd name="T48" fmla="*/ 9 w 124"/>
                <a:gd name="T49" fmla="*/ 62 h 117"/>
                <a:gd name="T50" fmla="*/ 17 w 124"/>
                <a:gd name="T51" fmla="*/ 52 h 117"/>
                <a:gd name="T52" fmla="*/ 27 w 124"/>
                <a:gd name="T53" fmla="*/ 42 h 117"/>
                <a:gd name="T54" fmla="*/ 48 w 124"/>
                <a:gd name="T55" fmla="*/ 22 h 117"/>
                <a:gd name="T56" fmla="*/ 60 w 124"/>
                <a:gd name="T57" fmla="*/ 12 h 117"/>
                <a:gd name="T58" fmla="*/ 73 w 124"/>
                <a:gd name="T59" fmla="*/ 12 h 117"/>
                <a:gd name="T60" fmla="*/ 86 w 124"/>
                <a:gd name="T61" fmla="*/ 12 h 117"/>
                <a:gd name="T62" fmla="*/ 100 w 124"/>
                <a:gd name="T63" fmla="*/ 6 h 117"/>
                <a:gd name="T64" fmla="*/ 113 w 124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6" name="Freeform 256">
              <a:extLst>
                <a:ext uri="{FF2B5EF4-FFF2-40B4-BE49-F238E27FC236}">
                  <a16:creationId xmlns:a16="http://schemas.microsoft.com/office/drawing/2014/main" id="{135AAF2D-9E4A-4F04-868E-08B1853D4CCD}"/>
                </a:ext>
              </a:extLst>
            </p:cNvPr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6565900" y="2395539"/>
              <a:ext cx="503238" cy="473075"/>
            </a:xfrm>
            <a:custGeom>
              <a:avLst/>
              <a:gdLst>
                <a:gd name="T0" fmla="*/ 928 w 1156"/>
                <a:gd name="T1" fmla="*/ 191 h 900"/>
                <a:gd name="T2" fmla="*/ 859 w 1156"/>
                <a:gd name="T3" fmla="*/ 162 h 900"/>
                <a:gd name="T4" fmla="*/ 773 w 1156"/>
                <a:gd name="T5" fmla="*/ 111 h 900"/>
                <a:gd name="T6" fmla="*/ 617 w 1156"/>
                <a:gd name="T7" fmla="*/ 104 h 900"/>
                <a:gd name="T8" fmla="*/ 551 w 1156"/>
                <a:gd name="T9" fmla="*/ 154 h 900"/>
                <a:gd name="T10" fmla="*/ 504 w 1156"/>
                <a:gd name="T11" fmla="*/ 179 h 900"/>
                <a:gd name="T12" fmla="*/ 426 w 1156"/>
                <a:gd name="T13" fmla="*/ 197 h 900"/>
                <a:gd name="T14" fmla="*/ 383 w 1156"/>
                <a:gd name="T15" fmla="*/ 199 h 900"/>
                <a:gd name="T16" fmla="*/ 355 w 1156"/>
                <a:gd name="T17" fmla="*/ 173 h 900"/>
                <a:gd name="T18" fmla="*/ 260 w 1156"/>
                <a:gd name="T19" fmla="*/ 136 h 900"/>
                <a:gd name="T20" fmla="*/ 228 w 1156"/>
                <a:gd name="T21" fmla="*/ 86 h 900"/>
                <a:gd name="T22" fmla="*/ 220 w 1156"/>
                <a:gd name="T23" fmla="*/ 23 h 900"/>
                <a:gd name="T24" fmla="*/ 188 w 1156"/>
                <a:gd name="T25" fmla="*/ 1 h 900"/>
                <a:gd name="T26" fmla="*/ 155 w 1156"/>
                <a:gd name="T27" fmla="*/ 21 h 900"/>
                <a:gd name="T28" fmla="*/ 136 w 1156"/>
                <a:gd name="T29" fmla="*/ 67 h 900"/>
                <a:gd name="T30" fmla="*/ 79 w 1156"/>
                <a:gd name="T31" fmla="*/ 54 h 900"/>
                <a:gd name="T32" fmla="*/ 4 w 1156"/>
                <a:gd name="T33" fmla="*/ 16 h 900"/>
                <a:gd name="T34" fmla="*/ 5 w 1156"/>
                <a:gd name="T35" fmla="*/ 72 h 900"/>
                <a:gd name="T36" fmla="*/ 45 w 1156"/>
                <a:gd name="T37" fmla="*/ 146 h 900"/>
                <a:gd name="T38" fmla="*/ 73 w 1156"/>
                <a:gd name="T39" fmla="*/ 205 h 900"/>
                <a:gd name="T40" fmla="*/ 135 w 1156"/>
                <a:gd name="T41" fmla="*/ 284 h 900"/>
                <a:gd name="T42" fmla="*/ 122 w 1156"/>
                <a:gd name="T43" fmla="*/ 316 h 900"/>
                <a:gd name="T44" fmla="*/ 133 w 1156"/>
                <a:gd name="T45" fmla="*/ 370 h 900"/>
                <a:gd name="T46" fmla="*/ 188 w 1156"/>
                <a:gd name="T47" fmla="*/ 428 h 900"/>
                <a:gd name="T48" fmla="*/ 259 w 1156"/>
                <a:gd name="T49" fmla="*/ 456 h 900"/>
                <a:gd name="T50" fmla="*/ 259 w 1156"/>
                <a:gd name="T51" fmla="*/ 524 h 900"/>
                <a:gd name="T52" fmla="*/ 335 w 1156"/>
                <a:gd name="T53" fmla="*/ 581 h 900"/>
                <a:gd name="T54" fmla="*/ 423 w 1156"/>
                <a:gd name="T55" fmla="*/ 664 h 900"/>
                <a:gd name="T56" fmla="*/ 471 w 1156"/>
                <a:gd name="T57" fmla="*/ 720 h 900"/>
                <a:gd name="T58" fmla="*/ 504 w 1156"/>
                <a:gd name="T59" fmla="*/ 733 h 900"/>
                <a:gd name="T60" fmla="*/ 542 w 1156"/>
                <a:gd name="T61" fmla="*/ 755 h 900"/>
                <a:gd name="T62" fmla="*/ 598 w 1156"/>
                <a:gd name="T63" fmla="*/ 787 h 900"/>
                <a:gd name="T64" fmla="*/ 685 w 1156"/>
                <a:gd name="T65" fmla="*/ 795 h 900"/>
                <a:gd name="T66" fmla="*/ 732 w 1156"/>
                <a:gd name="T67" fmla="*/ 780 h 900"/>
                <a:gd name="T68" fmla="*/ 779 w 1156"/>
                <a:gd name="T69" fmla="*/ 764 h 900"/>
                <a:gd name="T70" fmla="*/ 801 w 1156"/>
                <a:gd name="T71" fmla="*/ 796 h 900"/>
                <a:gd name="T72" fmla="*/ 813 w 1156"/>
                <a:gd name="T73" fmla="*/ 857 h 900"/>
                <a:gd name="T74" fmla="*/ 874 w 1156"/>
                <a:gd name="T75" fmla="*/ 874 h 900"/>
                <a:gd name="T76" fmla="*/ 1011 w 1156"/>
                <a:gd name="T77" fmla="*/ 892 h 900"/>
                <a:gd name="T78" fmla="*/ 1091 w 1156"/>
                <a:gd name="T79" fmla="*/ 879 h 900"/>
                <a:gd name="T80" fmla="*/ 1099 w 1156"/>
                <a:gd name="T81" fmla="*/ 831 h 900"/>
                <a:gd name="T82" fmla="*/ 1156 w 1156"/>
                <a:gd name="T83" fmla="*/ 770 h 900"/>
                <a:gd name="T84" fmla="*/ 1132 w 1156"/>
                <a:gd name="T85" fmla="*/ 750 h 900"/>
                <a:gd name="T86" fmla="*/ 1096 w 1156"/>
                <a:gd name="T87" fmla="*/ 708 h 900"/>
                <a:gd name="T88" fmla="*/ 1031 w 1156"/>
                <a:gd name="T89" fmla="*/ 643 h 900"/>
                <a:gd name="T90" fmla="*/ 1018 w 1156"/>
                <a:gd name="T91" fmla="*/ 603 h 900"/>
                <a:gd name="T92" fmla="*/ 1044 w 1156"/>
                <a:gd name="T93" fmla="*/ 559 h 900"/>
                <a:gd name="T94" fmla="*/ 1048 w 1156"/>
                <a:gd name="T95" fmla="*/ 526 h 900"/>
                <a:gd name="T96" fmla="*/ 1030 w 1156"/>
                <a:gd name="T97" fmla="*/ 512 h 900"/>
                <a:gd name="T98" fmla="*/ 983 w 1156"/>
                <a:gd name="T99" fmla="*/ 507 h 900"/>
                <a:gd name="T100" fmla="*/ 954 w 1156"/>
                <a:gd name="T101" fmla="*/ 453 h 900"/>
                <a:gd name="T102" fmla="*/ 937 w 1156"/>
                <a:gd name="T103" fmla="*/ 373 h 900"/>
                <a:gd name="T104" fmla="*/ 924 w 1156"/>
                <a:gd name="T105" fmla="*/ 357 h 900"/>
                <a:gd name="T106" fmla="*/ 940 w 1156"/>
                <a:gd name="T107" fmla="*/ 334 h 900"/>
                <a:gd name="T108" fmla="*/ 960 w 1156"/>
                <a:gd name="T109" fmla="*/ 293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7" name="Freeform 257">
              <a:extLst>
                <a:ext uri="{FF2B5EF4-FFF2-40B4-BE49-F238E27FC236}">
                  <a16:creationId xmlns:a16="http://schemas.microsoft.com/office/drawing/2014/main" id="{E12DD4AB-8FF1-4C84-AEE9-BA2AE21C6863}"/>
                </a:ext>
              </a:extLst>
            </p:cNvPr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6589713" y="3052763"/>
              <a:ext cx="247650" cy="228600"/>
            </a:xfrm>
            <a:custGeom>
              <a:avLst/>
              <a:gdLst>
                <a:gd name="T0" fmla="*/ 26 w 571"/>
                <a:gd name="T1" fmla="*/ 190 h 443"/>
                <a:gd name="T2" fmla="*/ 37 w 571"/>
                <a:gd name="T3" fmla="*/ 177 h 443"/>
                <a:gd name="T4" fmla="*/ 41 w 571"/>
                <a:gd name="T5" fmla="*/ 164 h 443"/>
                <a:gd name="T6" fmla="*/ 39 w 571"/>
                <a:gd name="T7" fmla="*/ 129 h 443"/>
                <a:gd name="T8" fmla="*/ 44 w 571"/>
                <a:gd name="T9" fmla="*/ 120 h 443"/>
                <a:gd name="T10" fmla="*/ 55 w 571"/>
                <a:gd name="T11" fmla="*/ 112 h 443"/>
                <a:gd name="T12" fmla="*/ 68 w 571"/>
                <a:gd name="T13" fmla="*/ 107 h 443"/>
                <a:gd name="T14" fmla="*/ 80 w 571"/>
                <a:gd name="T15" fmla="*/ 104 h 443"/>
                <a:gd name="T16" fmla="*/ 103 w 571"/>
                <a:gd name="T17" fmla="*/ 106 h 443"/>
                <a:gd name="T18" fmla="*/ 124 w 571"/>
                <a:gd name="T19" fmla="*/ 109 h 443"/>
                <a:gd name="T20" fmla="*/ 158 w 571"/>
                <a:gd name="T21" fmla="*/ 120 h 443"/>
                <a:gd name="T22" fmla="*/ 184 w 571"/>
                <a:gd name="T23" fmla="*/ 135 h 443"/>
                <a:gd name="T24" fmla="*/ 206 w 571"/>
                <a:gd name="T25" fmla="*/ 154 h 443"/>
                <a:gd name="T26" fmla="*/ 254 w 571"/>
                <a:gd name="T27" fmla="*/ 92 h 443"/>
                <a:gd name="T28" fmla="*/ 285 w 571"/>
                <a:gd name="T29" fmla="*/ 49 h 443"/>
                <a:gd name="T30" fmla="*/ 538 w 571"/>
                <a:gd name="T31" fmla="*/ 43 h 443"/>
                <a:gd name="T32" fmla="*/ 557 w 571"/>
                <a:gd name="T33" fmla="*/ 78 h 443"/>
                <a:gd name="T34" fmla="*/ 562 w 571"/>
                <a:gd name="T35" fmla="*/ 98 h 443"/>
                <a:gd name="T36" fmla="*/ 564 w 571"/>
                <a:gd name="T37" fmla="*/ 123 h 443"/>
                <a:gd name="T38" fmla="*/ 568 w 571"/>
                <a:gd name="T39" fmla="*/ 151 h 443"/>
                <a:gd name="T40" fmla="*/ 571 w 571"/>
                <a:gd name="T41" fmla="*/ 178 h 443"/>
                <a:gd name="T42" fmla="*/ 564 w 571"/>
                <a:gd name="T43" fmla="*/ 180 h 443"/>
                <a:gd name="T44" fmla="*/ 562 w 571"/>
                <a:gd name="T45" fmla="*/ 179 h 443"/>
                <a:gd name="T46" fmla="*/ 558 w 571"/>
                <a:gd name="T47" fmla="*/ 184 h 443"/>
                <a:gd name="T48" fmla="*/ 548 w 571"/>
                <a:gd name="T49" fmla="*/ 207 h 443"/>
                <a:gd name="T50" fmla="*/ 534 w 571"/>
                <a:gd name="T51" fmla="*/ 225 h 443"/>
                <a:gd name="T52" fmla="*/ 515 w 571"/>
                <a:gd name="T53" fmla="*/ 239 h 443"/>
                <a:gd name="T54" fmla="*/ 494 w 571"/>
                <a:gd name="T55" fmla="*/ 249 h 443"/>
                <a:gd name="T56" fmla="*/ 405 w 571"/>
                <a:gd name="T57" fmla="*/ 283 h 443"/>
                <a:gd name="T58" fmla="*/ 347 w 571"/>
                <a:gd name="T59" fmla="*/ 307 h 443"/>
                <a:gd name="T60" fmla="*/ 295 w 571"/>
                <a:gd name="T61" fmla="*/ 328 h 443"/>
                <a:gd name="T62" fmla="*/ 245 w 571"/>
                <a:gd name="T63" fmla="*/ 345 h 443"/>
                <a:gd name="T64" fmla="*/ 186 w 571"/>
                <a:gd name="T65" fmla="*/ 363 h 443"/>
                <a:gd name="T66" fmla="*/ 167 w 571"/>
                <a:gd name="T67" fmla="*/ 371 h 443"/>
                <a:gd name="T68" fmla="*/ 149 w 571"/>
                <a:gd name="T69" fmla="*/ 381 h 443"/>
                <a:gd name="T70" fmla="*/ 119 w 571"/>
                <a:gd name="T71" fmla="*/ 403 h 443"/>
                <a:gd name="T72" fmla="*/ 92 w 571"/>
                <a:gd name="T73" fmla="*/ 426 h 443"/>
                <a:gd name="T74" fmla="*/ 67 w 571"/>
                <a:gd name="T75" fmla="*/ 443 h 443"/>
                <a:gd name="T76" fmla="*/ 50 w 571"/>
                <a:gd name="T77" fmla="*/ 378 h 443"/>
                <a:gd name="T78" fmla="*/ 33 w 571"/>
                <a:gd name="T79" fmla="*/ 313 h 443"/>
                <a:gd name="T80" fmla="*/ 16 w 571"/>
                <a:gd name="T81" fmla="*/ 251 h 443"/>
                <a:gd name="T82" fmla="*/ 0 w 571"/>
                <a:gd name="T83" fmla="*/ 196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88" name="Freeform 258">
              <a:extLst>
                <a:ext uri="{FF2B5EF4-FFF2-40B4-BE49-F238E27FC236}">
                  <a16:creationId xmlns:a16="http://schemas.microsoft.com/office/drawing/2014/main" id="{36D75B8A-6D99-4ECD-B86B-FF35F2B3634F}"/>
                </a:ext>
              </a:extLst>
            </p:cNvPr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6784975" y="2827338"/>
              <a:ext cx="120650" cy="120650"/>
            </a:xfrm>
            <a:custGeom>
              <a:avLst/>
              <a:gdLst>
                <a:gd name="T0" fmla="*/ 0 w 286"/>
                <a:gd name="T1" fmla="*/ 111 h 228"/>
                <a:gd name="T2" fmla="*/ 4 w 286"/>
                <a:gd name="T3" fmla="*/ 109 h 228"/>
                <a:gd name="T4" fmla="*/ 7 w 286"/>
                <a:gd name="T5" fmla="*/ 109 h 228"/>
                <a:gd name="T6" fmla="*/ 10 w 286"/>
                <a:gd name="T7" fmla="*/ 110 h 228"/>
                <a:gd name="T8" fmla="*/ 11 w 286"/>
                <a:gd name="T9" fmla="*/ 111 h 228"/>
                <a:gd name="T10" fmla="*/ 12 w 286"/>
                <a:gd name="T11" fmla="*/ 117 h 228"/>
                <a:gd name="T12" fmla="*/ 13 w 286"/>
                <a:gd name="T13" fmla="*/ 123 h 228"/>
                <a:gd name="T14" fmla="*/ 14 w 286"/>
                <a:gd name="T15" fmla="*/ 128 h 228"/>
                <a:gd name="T16" fmla="*/ 16 w 286"/>
                <a:gd name="T17" fmla="*/ 131 h 228"/>
                <a:gd name="T18" fmla="*/ 19 w 286"/>
                <a:gd name="T19" fmla="*/ 134 h 228"/>
                <a:gd name="T20" fmla="*/ 24 w 286"/>
                <a:gd name="T21" fmla="*/ 136 h 228"/>
                <a:gd name="T22" fmla="*/ 29 w 286"/>
                <a:gd name="T23" fmla="*/ 137 h 228"/>
                <a:gd name="T24" fmla="*/ 37 w 286"/>
                <a:gd name="T25" fmla="*/ 138 h 228"/>
                <a:gd name="T26" fmla="*/ 48 w 286"/>
                <a:gd name="T27" fmla="*/ 138 h 228"/>
                <a:gd name="T28" fmla="*/ 60 w 286"/>
                <a:gd name="T29" fmla="*/ 136 h 228"/>
                <a:gd name="T30" fmla="*/ 98 w 286"/>
                <a:gd name="T31" fmla="*/ 130 h 228"/>
                <a:gd name="T32" fmla="*/ 129 w 286"/>
                <a:gd name="T33" fmla="*/ 122 h 228"/>
                <a:gd name="T34" fmla="*/ 143 w 286"/>
                <a:gd name="T35" fmla="*/ 118 h 228"/>
                <a:gd name="T36" fmla="*/ 156 w 286"/>
                <a:gd name="T37" fmla="*/ 114 h 228"/>
                <a:gd name="T38" fmla="*/ 167 w 286"/>
                <a:gd name="T39" fmla="*/ 109 h 228"/>
                <a:gd name="T40" fmla="*/ 178 w 286"/>
                <a:gd name="T41" fmla="*/ 103 h 228"/>
                <a:gd name="T42" fmla="*/ 188 w 286"/>
                <a:gd name="T43" fmla="*/ 96 h 228"/>
                <a:gd name="T44" fmla="*/ 198 w 286"/>
                <a:gd name="T45" fmla="*/ 87 h 228"/>
                <a:gd name="T46" fmla="*/ 208 w 286"/>
                <a:gd name="T47" fmla="*/ 78 h 228"/>
                <a:gd name="T48" fmla="*/ 219 w 286"/>
                <a:gd name="T49" fmla="*/ 65 h 228"/>
                <a:gd name="T50" fmla="*/ 229 w 286"/>
                <a:gd name="T51" fmla="*/ 52 h 228"/>
                <a:gd name="T52" fmla="*/ 241 w 286"/>
                <a:gd name="T53" fmla="*/ 37 h 228"/>
                <a:gd name="T54" fmla="*/ 253 w 286"/>
                <a:gd name="T55" fmla="*/ 20 h 228"/>
                <a:gd name="T56" fmla="*/ 266 w 286"/>
                <a:gd name="T57" fmla="*/ 0 h 228"/>
                <a:gd name="T58" fmla="*/ 270 w 286"/>
                <a:gd name="T59" fmla="*/ 7 h 228"/>
                <a:gd name="T60" fmla="*/ 274 w 286"/>
                <a:gd name="T61" fmla="*/ 13 h 228"/>
                <a:gd name="T62" fmla="*/ 276 w 286"/>
                <a:gd name="T63" fmla="*/ 20 h 228"/>
                <a:gd name="T64" fmla="*/ 279 w 286"/>
                <a:gd name="T65" fmla="*/ 27 h 228"/>
                <a:gd name="T66" fmla="*/ 282 w 286"/>
                <a:gd name="T67" fmla="*/ 42 h 228"/>
                <a:gd name="T68" fmla="*/ 286 w 286"/>
                <a:gd name="T69" fmla="*/ 62 h 228"/>
                <a:gd name="T70" fmla="*/ 246 w 286"/>
                <a:gd name="T71" fmla="*/ 198 h 228"/>
                <a:gd name="T72" fmla="*/ 226 w 286"/>
                <a:gd name="T73" fmla="*/ 228 h 228"/>
                <a:gd name="T74" fmla="*/ 53 w 286"/>
                <a:gd name="T75" fmla="*/ 210 h 228"/>
                <a:gd name="T76" fmla="*/ 0 w 286"/>
                <a:gd name="T77" fmla="*/ 111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89" name="Freeform 259">
              <a:extLst>
                <a:ext uri="{FF2B5EF4-FFF2-40B4-BE49-F238E27FC236}">
                  <a16:creationId xmlns:a16="http://schemas.microsoft.com/office/drawing/2014/main" id="{AF565C57-7AF9-4798-9A82-0DF587A71F32}"/>
                </a:ext>
              </a:extLst>
            </p:cNvPr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6472238" y="2479676"/>
              <a:ext cx="222250" cy="263525"/>
            </a:xfrm>
            <a:custGeom>
              <a:avLst/>
              <a:gdLst>
                <a:gd name="T0" fmla="*/ 478 w 524"/>
                <a:gd name="T1" fmla="*/ 370 h 505"/>
                <a:gd name="T2" fmla="*/ 484 w 524"/>
                <a:gd name="T3" fmla="*/ 346 h 505"/>
                <a:gd name="T4" fmla="*/ 483 w 524"/>
                <a:gd name="T5" fmla="*/ 329 h 505"/>
                <a:gd name="T6" fmla="*/ 478 w 524"/>
                <a:gd name="T7" fmla="*/ 302 h 505"/>
                <a:gd name="T8" fmla="*/ 455 w 524"/>
                <a:gd name="T9" fmla="*/ 299 h 505"/>
                <a:gd name="T10" fmla="*/ 431 w 524"/>
                <a:gd name="T11" fmla="*/ 288 h 505"/>
                <a:gd name="T12" fmla="*/ 407 w 524"/>
                <a:gd name="T13" fmla="*/ 274 h 505"/>
                <a:gd name="T14" fmla="*/ 386 w 524"/>
                <a:gd name="T15" fmla="*/ 256 h 505"/>
                <a:gd name="T16" fmla="*/ 366 w 524"/>
                <a:gd name="T17" fmla="*/ 237 h 505"/>
                <a:gd name="T18" fmla="*/ 352 w 524"/>
                <a:gd name="T19" fmla="*/ 216 h 505"/>
                <a:gd name="T20" fmla="*/ 342 w 524"/>
                <a:gd name="T21" fmla="*/ 196 h 505"/>
                <a:gd name="T22" fmla="*/ 339 w 524"/>
                <a:gd name="T23" fmla="*/ 178 h 505"/>
                <a:gd name="T24" fmla="*/ 341 w 524"/>
                <a:gd name="T25" fmla="*/ 162 h 505"/>
                <a:gd name="T26" fmla="*/ 349 w 524"/>
                <a:gd name="T27" fmla="*/ 150 h 505"/>
                <a:gd name="T28" fmla="*/ 365 w 524"/>
                <a:gd name="T29" fmla="*/ 136 h 505"/>
                <a:gd name="T30" fmla="*/ 354 w 524"/>
                <a:gd name="T31" fmla="*/ 130 h 505"/>
                <a:gd name="T32" fmla="*/ 341 w 524"/>
                <a:gd name="T33" fmla="*/ 119 h 505"/>
                <a:gd name="T34" fmla="*/ 315 w 524"/>
                <a:gd name="T35" fmla="*/ 87 h 505"/>
                <a:gd name="T36" fmla="*/ 292 w 524"/>
                <a:gd name="T37" fmla="*/ 51 h 505"/>
                <a:gd name="T38" fmla="*/ 279 w 524"/>
                <a:gd name="T39" fmla="*/ 25 h 505"/>
                <a:gd name="T40" fmla="*/ 260 w 524"/>
                <a:gd name="T41" fmla="*/ 24 h 505"/>
                <a:gd name="T42" fmla="*/ 239 w 524"/>
                <a:gd name="T43" fmla="*/ 19 h 505"/>
                <a:gd name="T44" fmla="*/ 219 w 524"/>
                <a:gd name="T45" fmla="*/ 11 h 505"/>
                <a:gd name="T46" fmla="*/ 197 w 524"/>
                <a:gd name="T47" fmla="*/ 6 h 505"/>
                <a:gd name="T48" fmla="*/ 170 w 524"/>
                <a:gd name="T49" fmla="*/ 3 h 505"/>
                <a:gd name="T50" fmla="*/ 149 w 524"/>
                <a:gd name="T51" fmla="*/ 8 h 505"/>
                <a:gd name="T52" fmla="*/ 114 w 524"/>
                <a:gd name="T53" fmla="*/ 41 h 505"/>
                <a:gd name="T54" fmla="*/ 98 w 524"/>
                <a:gd name="T55" fmla="*/ 57 h 505"/>
                <a:gd name="T56" fmla="*/ 93 w 524"/>
                <a:gd name="T57" fmla="*/ 64 h 505"/>
                <a:gd name="T58" fmla="*/ 94 w 524"/>
                <a:gd name="T59" fmla="*/ 94 h 505"/>
                <a:gd name="T60" fmla="*/ 95 w 524"/>
                <a:gd name="T61" fmla="*/ 140 h 505"/>
                <a:gd name="T62" fmla="*/ 94 w 524"/>
                <a:gd name="T63" fmla="*/ 164 h 505"/>
                <a:gd name="T64" fmla="*/ 86 w 524"/>
                <a:gd name="T65" fmla="*/ 180 h 505"/>
                <a:gd name="T66" fmla="*/ 67 w 524"/>
                <a:gd name="T67" fmla="*/ 197 h 505"/>
                <a:gd name="T68" fmla="*/ 40 w 524"/>
                <a:gd name="T69" fmla="*/ 214 h 505"/>
                <a:gd name="T70" fmla="*/ 13 w 524"/>
                <a:gd name="T71" fmla="*/ 228 h 505"/>
                <a:gd name="T72" fmla="*/ 2 w 524"/>
                <a:gd name="T73" fmla="*/ 246 h 505"/>
                <a:gd name="T74" fmla="*/ 2 w 524"/>
                <a:gd name="T75" fmla="*/ 264 h 505"/>
                <a:gd name="T76" fmla="*/ 0 w 524"/>
                <a:gd name="T77" fmla="*/ 278 h 505"/>
                <a:gd name="T78" fmla="*/ 0 w 524"/>
                <a:gd name="T79" fmla="*/ 289 h 505"/>
                <a:gd name="T80" fmla="*/ 7 w 524"/>
                <a:gd name="T81" fmla="*/ 301 h 505"/>
                <a:gd name="T82" fmla="*/ 26 w 524"/>
                <a:gd name="T83" fmla="*/ 314 h 505"/>
                <a:gd name="T84" fmla="*/ 62 w 524"/>
                <a:gd name="T85" fmla="*/ 331 h 505"/>
                <a:gd name="T86" fmla="*/ 120 w 524"/>
                <a:gd name="T87" fmla="*/ 355 h 505"/>
                <a:gd name="T88" fmla="*/ 180 w 524"/>
                <a:gd name="T89" fmla="*/ 374 h 505"/>
                <a:gd name="T90" fmla="*/ 214 w 524"/>
                <a:gd name="T91" fmla="*/ 385 h 505"/>
                <a:gd name="T92" fmla="*/ 237 w 524"/>
                <a:gd name="T93" fmla="*/ 400 h 505"/>
                <a:gd name="T94" fmla="*/ 252 w 524"/>
                <a:gd name="T95" fmla="*/ 418 h 505"/>
                <a:gd name="T96" fmla="*/ 262 w 524"/>
                <a:gd name="T97" fmla="*/ 435 h 505"/>
                <a:gd name="T98" fmla="*/ 266 w 524"/>
                <a:gd name="T99" fmla="*/ 451 h 505"/>
                <a:gd name="T100" fmla="*/ 270 w 524"/>
                <a:gd name="T101" fmla="*/ 469 h 505"/>
                <a:gd name="T102" fmla="*/ 277 w 524"/>
                <a:gd name="T103" fmla="*/ 481 h 505"/>
                <a:gd name="T104" fmla="*/ 287 w 524"/>
                <a:gd name="T105" fmla="*/ 489 h 505"/>
                <a:gd name="T106" fmla="*/ 307 w 524"/>
                <a:gd name="T107" fmla="*/ 497 h 505"/>
                <a:gd name="T108" fmla="*/ 328 w 524"/>
                <a:gd name="T109" fmla="*/ 503 h 505"/>
                <a:gd name="T110" fmla="*/ 335 w 524"/>
                <a:gd name="T111" fmla="*/ 500 h 505"/>
                <a:gd name="T112" fmla="*/ 346 w 524"/>
                <a:gd name="T113" fmla="*/ 499 h 505"/>
                <a:gd name="T114" fmla="*/ 366 w 524"/>
                <a:gd name="T115" fmla="*/ 503 h 505"/>
                <a:gd name="T116" fmla="*/ 383 w 524"/>
                <a:gd name="T117" fmla="*/ 505 h 505"/>
                <a:gd name="T118" fmla="*/ 437 w 524"/>
                <a:gd name="T119" fmla="*/ 505 h 505"/>
                <a:gd name="T120" fmla="*/ 465 w 524"/>
                <a:gd name="T121" fmla="*/ 449 h 505"/>
                <a:gd name="T122" fmla="*/ 492 w 524"/>
                <a:gd name="T123" fmla="*/ 437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90" name="Freeform 260">
              <a:extLst>
                <a:ext uri="{FF2B5EF4-FFF2-40B4-BE49-F238E27FC236}">
                  <a16:creationId xmlns:a16="http://schemas.microsoft.com/office/drawing/2014/main" id="{7CDCCB46-A7FF-48BB-8A85-FDC411BC4D98}"/>
                </a:ext>
              </a:extLst>
            </p:cNvPr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6972300" y="2439988"/>
              <a:ext cx="331788" cy="290512"/>
            </a:xfrm>
            <a:custGeom>
              <a:avLst/>
              <a:gdLst>
                <a:gd name="T0" fmla="*/ 62 w 764"/>
                <a:gd name="T1" fmla="*/ 196 h 555"/>
                <a:gd name="T2" fmla="*/ 93 w 764"/>
                <a:gd name="T3" fmla="*/ 190 h 555"/>
                <a:gd name="T4" fmla="*/ 128 w 764"/>
                <a:gd name="T5" fmla="*/ 182 h 555"/>
                <a:gd name="T6" fmla="*/ 175 w 764"/>
                <a:gd name="T7" fmla="*/ 151 h 555"/>
                <a:gd name="T8" fmla="*/ 194 w 764"/>
                <a:gd name="T9" fmla="*/ 126 h 555"/>
                <a:gd name="T10" fmla="*/ 199 w 764"/>
                <a:gd name="T11" fmla="*/ 88 h 555"/>
                <a:gd name="T12" fmla="*/ 208 w 764"/>
                <a:gd name="T13" fmla="*/ 69 h 555"/>
                <a:gd name="T14" fmla="*/ 240 w 764"/>
                <a:gd name="T15" fmla="*/ 60 h 555"/>
                <a:gd name="T16" fmla="*/ 294 w 764"/>
                <a:gd name="T17" fmla="*/ 62 h 555"/>
                <a:gd name="T18" fmla="*/ 329 w 764"/>
                <a:gd name="T19" fmla="*/ 71 h 555"/>
                <a:gd name="T20" fmla="*/ 362 w 764"/>
                <a:gd name="T21" fmla="*/ 90 h 555"/>
                <a:gd name="T22" fmla="*/ 386 w 764"/>
                <a:gd name="T23" fmla="*/ 93 h 555"/>
                <a:gd name="T24" fmla="*/ 419 w 764"/>
                <a:gd name="T25" fmla="*/ 84 h 555"/>
                <a:gd name="T26" fmla="*/ 460 w 764"/>
                <a:gd name="T27" fmla="*/ 61 h 555"/>
                <a:gd name="T28" fmla="*/ 479 w 764"/>
                <a:gd name="T29" fmla="*/ 33 h 555"/>
                <a:gd name="T30" fmla="*/ 508 w 764"/>
                <a:gd name="T31" fmla="*/ 4 h 555"/>
                <a:gd name="T32" fmla="*/ 530 w 764"/>
                <a:gd name="T33" fmla="*/ 19 h 555"/>
                <a:gd name="T34" fmla="*/ 550 w 764"/>
                <a:gd name="T35" fmla="*/ 45 h 555"/>
                <a:gd name="T36" fmla="*/ 561 w 764"/>
                <a:gd name="T37" fmla="*/ 87 h 555"/>
                <a:gd name="T38" fmla="*/ 570 w 764"/>
                <a:gd name="T39" fmla="*/ 101 h 555"/>
                <a:gd name="T40" fmla="*/ 589 w 764"/>
                <a:gd name="T41" fmla="*/ 104 h 555"/>
                <a:gd name="T42" fmla="*/ 622 w 764"/>
                <a:gd name="T43" fmla="*/ 73 h 555"/>
                <a:gd name="T44" fmla="*/ 743 w 764"/>
                <a:gd name="T45" fmla="*/ 66 h 555"/>
                <a:gd name="T46" fmla="*/ 759 w 764"/>
                <a:gd name="T47" fmla="*/ 87 h 555"/>
                <a:gd name="T48" fmla="*/ 679 w 764"/>
                <a:gd name="T49" fmla="*/ 100 h 555"/>
                <a:gd name="T50" fmla="*/ 605 w 764"/>
                <a:gd name="T51" fmla="*/ 112 h 555"/>
                <a:gd name="T52" fmla="*/ 574 w 764"/>
                <a:gd name="T53" fmla="*/ 130 h 555"/>
                <a:gd name="T54" fmla="*/ 571 w 764"/>
                <a:gd name="T55" fmla="*/ 147 h 555"/>
                <a:gd name="T56" fmla="*/ 582 w 764"/>
                <a:gd name="T57" fmla="*/ 164 h 555"/>
                <a:gd name="T58" fmla="*/ 601 w 764"/>
                <a:gd name="T59" fmla="*/ 180 h 555"/>
                <a:gd name="T60" fmla="*/ 604 w 764"/>
                <a:gd name="T61" fmla="*/ 195 h 555"/>
                <a:gd name="T62" fmla="*/ 594 w 764"/>
                <a:gd name="T63" fmla="*/ 213 h 555"/>
                <a:gd name="T64" fmla="*/ 574 w 764"/>
                <a:gd name="T65" fmla="*/ 237 h 555"/>
                <a:gd name="T66" fmla="*/ 565 w 764"/>
                <a:gd name="T67" fmla="*/ 255 h 555"/>
                <a:gd name="T68" fmla="*/ 542 w 764"/>
                <a:gd name="T69" fmla="*/ 269 h 555"/>
                <a:gd name="T70" fmla="*/ 519 w 764"/>
                <a:gd name="T71" fmla="*/ 310 h 555"/>
                <a:gd name="T72" fmla="*/ 508 w 764"/>
                <a:gd name="T73" fmla="*/ 363 h 555"/>
                <a:gd name="T74" fmla="*/ 497 w 764"/>
                <a:gd name="T75" fmla="*/ 425 h 555"/>
                <a:gd name="T76" fmla="*/ 477 w 764"/>
                <a:gd name="T77" fmla="*/ 412 h 555"/>
                <a:gd name="T78" fmla="*/ 460 w 764"/>
                <a:gd name="T79" fmla="*/ 407 h 555"/>
                <a:gd name="T80" fmla="*/ 439 w 764"/>
                <a:gd name="T81" fmla="*/ 418 h 555"/>
                <a:gd name="T82" fmla="*/ 411 w 764"/>
                <a:gd name="T83" fmla="*/ 440 h 555"/>
                <a:gd name="T84" fmla="*/ 393 w 764"/>
                <a:gd name="T85" fmla="*/ 444 h 555"/>
                <a:gd name="T86" fmla="*/ 375 w 764"/>
                <a:gd name="T87" fmla="*/ 463 h 555"/>
                <a:gd name="T88" fmla="*/ 365 w 764"/>
                <a:gd name="T89" fmla="*/ 511 h 555"/>
                <a:gd name="T90" fmla="*/ 350 w 764"/>
                <a:gd name="T91" fmla="*/ 525 h 555"/>
                <a:gd name="T92" fmla="*/ 270 w 764"/>
                <a:gd name="T93" fmla="*/ 546 h 555"/>
                <a:gd name="T94" fmla="*/ 194 w 764"/>
                <a:gd name="T95" fmla="*/ 554 h 555"/>
                <a:gd name="T96" fmla="*/ 113 w 764"/>
                <a:gd name="T97" fmla="*/ 542 h 555"/>
                <a:gd name="T98" fmla="*/ 95 w 764"/>
                <a:gd name="T99" fmla="*/ 518 h 555"/>
                <a:gd name="T100" fmla="*/ 115 w 764"/>
                <a:gd name="T101" fmla="*/ 488 h 555"/>
                <a:gd name="T102" fmla="*/ 125 w 764"/>
                <a:gd name="T103" fmla="*/ 462 h 555"/>
                <a:gd name="T104" fmla="*/ 123 w 764"/>
                <a:gd name="T105" fmla="*/ 442 h 555"/>
                <a:gd name="T106" fmla="*/ 111 w 764"/>
                <a:gd name="T107" fmla="*/ 433 h 555"/>
                <a:gd name="T108" fmla="*/ 69 w 764"/>
                <a:gd name="T109" fmla="*/ 431 h 555"/>
                <a:gd name="T110" fmla="*/ 52 w 764"/>
                <a:gd name="T111" fmla="*/ 421 h 555"/>
                <a:gd name="T112" fmla="*/ 34 w 764"/>
                <a:gd name="T113" fmla="*/ 384 h 555"/>
                <a:gd name="T114" fmla="*/ 19 w 764"/>
                <a:gd name="T115" fmla="*/ 309 h 555"/>
                <a:gd name="T116" fmla="*/ 10 w 764"/>
                <a:gd name="T117" fmla="*/ 291 h 555"/>
                <a:gd name="T118" fmla="*/ 0 w 764"/>
                <a:gd name="T119" fmla="*/ 280 h 555"/>
                <a:gd name="T120" fmla="*/ 2 w 764"/>
                <a:gd name="T121" fmla="*/ 268 h 555"/>
                <a:gd name="T122" fmla="*/ 22 w 764"/>
                <a:gd name="T123" fmla="*/ 248 h 555"/>
                <a:gd name="T124" fmla="*/ 34 w 764"/>
                <a:gd name="T125" fmla="*/ 221 h 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91" name="Freeform 261">
              <a:extLst>
                <a:ext uri="{FF2B5EF4-FFF2-40B4-BE49-F238E27FC236}">
                  <a16:creationId xmlns:a16="http://schemas.microsoft.com/office/drawing/2014/main" id="{C5D71B05-71C5-4D9D-8B35-CFA075D9641C}"/>
                </a:ext>
              </a:extLst>
            </p:cNvPr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7004051" y="2489201"/>
              <a:ext cx="365125" cy="423863"/>
            </a:xfrm>
            <a:custGeom>
              <a:avLst/>
              <a:gdLst>
                <a:gd name="T0" fmla="*/ 779 w 831"/>
                <a:gd name="T1" fmla="*/ 82 h 812"/>
                <a:gd name="T2" fmla="*/ 707 w 831"/>
                <a:gd name="T3" fmla="*/ 29 h 812"/>
                <a:gd name="T4" fmla="*/ 562 w 831"/>
                <a:gd name="T5" fmla="*/ 10 h 812"/>
                <a:gd name="T6" fmla="*/ 499 w 831"/>
                <a:gd name="T7" fmla="*/ 29 h 812"/>
                <a:gd name="T8" fmla="*/ 486 w 831"/>
                <a:gd name="T9" fmla="*/ 49 h 812"/>
                <a:gd name="T10" fmla="*/ 497 w 831"/>
                <a:gd name="T11" fmla="*/ 71 h 812"/>
                <a:gd name="T12" fmla="*/ 517 w 831"/>
                <a:gd name="T13" fmla="*/ 90 h 812"/>
                <a:gd name="T14" fmla="*/ 516 w 831"/>
                <a:gd name="T15" fmla="*/ 111 h 812"/>
                <a:gd name="T16" fmla="*/ 491 w 831"/>
                <a:gd name="T17" fmla="*/ 140 h 812"/>
                <a:gd name="T18" fmla="*/ 480 w 831"/>
                <a:gd name="T19" fmla="*/ 162 h 812"/>
                <a:gd name="T20" fmla="*/ 450 w 831"/>
                <a:gd name="T21" fmla="*/ 184 h 812"/>
                <a:gd name="T22" fmla="*/ 427 w 831"/>
                <a:gd name="T23" fmla="*/ 243 h 812"/>
                <a:gd name="T24" fmla="*/ 420 w 831"/>
                <a:gd name="T25" fmla="*/ 332 h 812"/>
                <a:gd name="T26" fmla="*/ 392 w 831"/>
                <a:gd name="T27" fmla="*/ 319 h 812"/>
                <a:gd name="T28" fmla="*/ 370 w 831"/>
                <a:gd name="T29" fmla="*/ 315 h 812"/>
                <a:gd name="T30" fmla="*/ 338 w 831"/>
                <a:gd name="T31" fmla="*/ 339 h 812"/>
                <a:gd name="T32" fmla="*/ 313 w 831"/>
                <a:gd name="T33" fmla="*/ 351 h 812"/>
                <a:gd name="T34" fmla="*/ 290 w 831"/>
                <a:gd name="T35" fmla="*/ 370 h 812"/>
                <a:gd name="T36" fmla="*/ 280 w 831"/>
                <a:gd name="T37" fmla="*/ 424 h 812"/>
                <a:gd name="T38" fmla="*/ 235 w 831"/>
                <a:gd name="T39" fmla="*/ 442 h 812"/>
                <a:gd name="T40" fmla="*/ 127 w 831"/>
                <a:gd name="T41" fmla="*/ 462 h 812"/>
                <a:gd name="T42" fmla="*/ 26 w 831"/>
                <a:gd name="T43" fmla="*/ 449 h 812"/>
                <a:gd name="T44" fmla="*/ 51 w 831"/>
                <a:gd name="T45" fmla="*/ 505 h 812"/>
                <a:gd name="T46" fmla="*/ 96 w 831"/>
                <a:gd name="T47" fmla="*/ 540 h 812"/>
                <a:gd name="T48" fmla="*/ 123 w 831"/>
                <a:gd name="T49" fmla="*/ 577 h 812"/>
                <a:gd name="T50" fmla="*/ 142 w 831"/>
                <a:gd name="T51" fmla="*/ 596 h 812"/>
                <a:gd name="T52" fmla="*/ 99 w 831"/>
                <a:gd name="T53" fmla="*/ 647 h 812"/>
                <a:gd name="T54" fmla="*/ 87 w 831"/>
                <a:gd name="T55" fmla="*/ 671 h 812"/>
                <a:gd name="T56" fmla="*/ 109 w 831"/>
                <a:gd name="T57" fmla="*/ 720 h 812"/>
                <a:gd name="T58" fmla="*/ 222 w 831"/>
                <a:gd name="T59" fmla="*/ 710 h 812"/>
                <a:gd name="T60" fmla="*/ 302 w 831"/>
                <a:gd name="T61" fmla="*/ 705 h 812"/>
                <a:gd name="T62" fmla="*/ 330 w 831"/>
                <a:gd name="T63" fmla="*/ 721 h 812"/>
                <a:gd name="T64" fmla="*/ 359 w 831"/>
                <a:gd name="T65" fmla="*/ 756 h 812"/>
                <a:gd name="T66" fmla="*/ 408 w 831"/>
                <a:gd name="T67" fmla="*/ 785 h 812"/>
                <a:gd name="T68" fmla="*/ 449 w 831"/>
                <a:gd name="T69" fmla="*/ 803 h 812"/>
                <a:gd name="T70" fmla="*/ 460 w 831"/>
                <a:gd name="T71" fmla="*/ 791 h 812"/>
                <a:gd name="T72" fmla="*/ 487 w 831"/>
                <a:gd name="T73" fmla="*/ 774 h 812"/>
                <a:gd name="T74" fmla="*/ 554 w 831"/>
                <a:gd name="T75" fmla="*/ 764 h 812"/>
                <a:gd name="T76" fmla="*/ 597 w 831"/>
                <a:gd name="T77" fmla="*/ 750 h 812"/>
                <a:gd name="T78" fmla="*/ 618 w 831"/>
                <a:gd name="T79" fmla="*/ 727 h 812"/>
                <a:gd name="T80" fmla="*/ 584 w 831"/>
                <a:gd name="T81" fmla="*/ 700 h 812"/>
                <a:gd name="T82" fmla="*/ 542 w 831"/>
                <a:gd name="T83" fmla="*/ 641 h 812"/>
                <a:gd name="T84" fmla="*/ 526 w 831"/>
                <a:gd name="T85" fmla="*/ 624 h 812"/>
                <a:gd name="T86" fmla="*/ 526 w 831"/>
                <a:gd name="T87" fmla="*/ 578 h 812"/>
                <a:gd name="T88" fmla="*/ 582 w 831"/>
                <a:gd name="T89" fmla="*/ 563 h 812"/>
                <a:gd name="T90" fmla="*/ 622 w 831"/>
                <a:gd name="T91" fmla="*/ 531 h 812"/>
                <a:gd name="T92" fmla="*/ 688 w 831"/>
                <a:gd name="T93" fmla="*/ 417 h 812"/>
                <a:gd name="T94" fmla="*/ 730 w 831"/>
                <a:gd name="T95" fmla="*/ 368 h 812"/>
                <a:gd name="T96" fmla="*/ 725 w 831"/>
                <a:gd name="T97" fmla="*/ 330 h 812"/>
                <a:gd name="T98" fmla="*/ 729 w 831"/>
                <a:gd name="T99" fmla="*/ 305 h 812"/>
                <a:gd name="T100" fmla="*/ 751 w 831"/>
                <a:gd name="T101" fmla="*/ 289 h 812"/>
                <a:gd name="T102" fmla="*/ 670 w 831"/>
                <a:gd name="T103" fmla="*/ 207 h 812"/>
                <a:gd name="T104" fmla="*/ 758 w 831"/>
                <a:gd name="T105" fmla="*/ 140 h 812"/>
                <a:gd name="T106" fmla="*/ 805 w 831"/>
                <a:gd name="T107" fmla="*/ 123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92" name="Freeform 262">
              <a:extLst>
                <a:ext uri="{FF2B5EF4-FFF2-40B4-BE49-F238E27FC236}">
                  <a16:creationId xmlns:a16="http://schemas.microsoft.com/office/drawing/2014/main" id="{67F5FF71-8B79-427F-8081-3A6EA765124B}"/>
                </a:ext>
              </a:extLst>
            </p:cNvPr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7794626" y="2757489"/>
              <a:ext cx="220663" cy="585787"/>
            </a:xfrm>
            <a:custGeom>
              <a:avLst/>
              <a:gdLst>
                <a:gd name="T0" fmla="*/ 438 w 505"/>
                <a:gd name="T1" fmla="*/ 1067 h 1121"/>
                <a:gd name="T2" fmla="*/ 443 w 505"/>
                <a:gd name="T3" fmla="*/ 1028 h 1121"/>
                <a:gd name="T4" fmla="*/ 399 w 505"/>
                <a:gd name="T5" fmla="*/ 1022 h 1121"/>
                <a:gd name="T6" fmla="*/ 405 w 505"/>
                <a:gd name="T7" fmla="*/ 957 h 1121"/>
                <a:gd name="T8" fmla="*/ 419 w 505"/>
                <a:gd name="T9" fmla="*/ 931 h 1121"/>
                <a:gd name="T10" fmla="*/ 413 w 505"/>
                <a:gd name="T11" fmla="*/ 899 h 1121"/>
                <a:gd name="T12" fmla="*/ 398 w 505"/>
                <a:gd name="T13" fmla="*/ 893 h 1121"/>
                <a:gd name="T14" fmla="*/ 382 w 505"/>
                <a:gd name="T15" fmla="*/ 838 h 1121"/>
                <a:gd name="T16" fmla="*/ 324 w 505"/>
                <a:gd name="T17" fmla="*/ 719 h 1121"/>
                <a:gd name="T18" fmla="*/ 296 w 505"/>
                <a:gd name="T19" fmla="*/ 703 h 1121"/>
                <a:gd name="T20" fmla="*/ 282 w 505"/>
                <a:gd name="T21" fmla="*/ 718 h 1121"/>
                <a:gd name="T22" fmla="*/ 226 w 505"/>
                <a:gd name="T23" fmla="*/ 742 h 1121"/>
                <a:gd name="T24" fmla="*/ 169 w 505"/>
                <a:gd name="T25" fmla="*/ 736 h 1121"/>
                <a:gd name="T26" fmla="*/ 133 w 505"/>
                <a:gd name="T27" fmla="*/ 567 h 1121"/>
                <a:gd name="T28" fmla="*/ 101 w 505"/>
                <a:gd name="T29" fmla="*/ 520 h 1121"/>
                <a:gd name="T30" fmla="*/ 51 w 505"/>
                <a:gd name="T31" fmla="*/ 502 h 1121"/>
                <a:gd name="T32" fmla="*/ 8 w 505"/>
                <a:gd name="T33" fmla="*/ 471 h 1121"/>
                <a:gd name="T34" fmla="*/ 23 w 505"/>
                <a:gd name="T35" fmla="*/ 445 h 1121"/>
                <a:gd name="T36" fmla="*/ 58 w 505"/>
                <a:gd name="T37" fmla="*/ 361 h 1121"/>
                <a:gd name="T38" fmla="*/ 67 w 505"/>
                <a:gd name="T39" fmla="*/ 277 h 1121"/>
                <a:gd name="T40" fmla="*/ 80 w 505"/>
                <a:gd name="T41" fmla="*/ 265 h 1121"/>
                <a:gd name="T42" fmla="*/ 113 w 505"/>
                <a:gd name="T43" fmla="*/ 258 h 1121"/>
                <a:gd name="T44" fmla="*/ 134 w 505"/>
                <a:gd name="T45" fmla="*/ 222 h 1121"/>
                <a:gd name="T46" fmla="*/ 140 w 505"/>
                <a:gd name="T47" fmla="*/ 117 h 1121"/>
                <a:gd name="T48" fmla="*/ 159 w 505"/>
                <a:gd name="T49" fmla="*/ 98 h 1121"/>
                <a:gd name="T50" fmla="*/ 213 w 505"/>
                <a:gd name="T51" fmla="*/ 74 h 1121"/>
                <a:gd name="T52" fmla="*/ 234 w 505"/>
                <a:gd name="T53" fmla="*/ 21 h 1121"/>
                <a:gd name="T54" fmla="*/ 277 w 505"/>
                <a:gd name="T55" fmla="*/ 31 h 1121"/>
                <a:gd name="T56" fmla="*/ 312 w 505"/>
                <a:gd name="T57" fmla="*/ 49 h 1121"/>
                <a:gd name="T58" fmla="*/ 337 w 505"/>
                <a:gd name="T59" fmla="*/ 122 h 1121"/>
                <a:gd name="T60" fmla="*/ 335 w 505"/>
                <a:gd name="T61" fmla="*/ 167 h 1121"/>
                <a:gd name="T62" fmla="*/ 300 w 505"/>
                <a:gd name="T63" fmla="*/ 216 h 1121"/>
                <a:gd name="T64" fmla="*/ 293 w 505"/>
                <a:gd name="T65" fmla="*/ 245 h 1121"/>
                <a:gd name="T66" fmla="*/ 309 w 505"/>
                <a:gd name="T67" fmla="*/ 261 h 1121"/>
                <a:gd name="T68" fmla="*/ 346 w 505"/>
                <a:gd name="T69" fmla="*/ 270 h 1121"/>
                <a:gd name="T70" fmla="*/ 371 w 505"/>
                <a:gd name="T71" fmla="*/ 291 h 1121"/>
                <a:gd name="T72" fmla="*/ 398 w 505"/>
                <a:gd name="T73" fmla="*/ 345 h 1121"/>
                <a:gd name="T74" fmla="*/ 430 w 505"/>
                <a:gd name="T75" fmla="*/ 400 h 1121"/>
                <a:gd name="T76" fmla="*/ 464 w 505"/>
                <a:gd name="T77" fmla="*/ 418 h 1121"/>
                <a:gd name="T78" fmla="*/ 505 w 505"/>
                <a:gd name="T79" fmla="*/ 418 h 1121"/>
                <a:gd name="T80" fmla="*/ 476 w 505"/>
                <a:gd name="T81" fmla="*/ 494 h 1121"/>
                <a:gd name="T82" fmla="*/ 427 w 505"/>
                <a:gd name="T83" fmla="*/ 510 h 1121"/>
                <a:gd name="T84" fmla="*/ 383 w 505"/>
                <a:gd name="T85" fmla="*/ 528 h 1121"/>
                <a:gd name="T86" fmla="*/ 360 w 505"/>
                <a:gd name="T87" fmla="*/ 572 h 1121"/>
                <a:gd name="T88" fmla="*/ 370 w 505"/>
                <a:gd name="T89" fmla="*/ 637 h 1121"/>
                <a:gd name="T90" fmla="*/ 402 w 505"/>
                <a:gd name="T91" fmla="*/ 683 h 1121"/>
                <a:gd name="T92" fmla="*/ 430 w 505"/>
                <a:gd name="T93" fmla="*/ 735 h 1121"/>
                <a:gd name="T94" fmla="*/ 428 w 505"/>
                <a:gd name="T95" fmla="*/ 776 h 1121"/>
                <a:gd name="T96" fmla="*/ 419 w 505"/>
                <a:gd name="T97" fmla="*/ 801 h 1121"/>
                <a:gd name="T98" fmla="*/ 435 w 505"/>
                <a:gd name="T99" fmla="*/ 851 h 1121"/>
                <a:gd name="T100" fmla="*/ 483 w 505"/>
                <a:gd name="T101" fmla="*/ 965 h 1121"/>
                <a:gd name="T102" fmla="*/ 458 w 505"/>
                <a:gd name="T103" fmla="*/ 1082 h 1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93" name="Freeform 263">
              <a:extLst>
                <a:ext uri="{FF2B5EF4-FFF2-40B4-BE49-F238E27FC236}">
                  <a16:creationId xmlns:a16="http://schemas.microsoft.com/office/drawing/2014/main" id="{1DBD9DD0-6D9F-4F9F-BF51-7DE640AEF807}"/>
                </a:ext>
              </a:extLst>
            </p:cNvPr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5118101" y="3267075"/>
              <a:ext cx="80963" cy="58738"/>
            </a:xfrm>
            <a:custGeom>
              <a:avLst/>
              <a:gdLst>
                <a:gd name="T0" fmla="*/ 180 w 180"/>
                <a:gd name="T1" fmla="*/ 7 h 112"/>
                <a:gd name="T2" fmla="*/ 171 w 180"/>
                <a:gd name="T3" fmla="*/ 24 h 112"/>
                <a:gd name="T4" fmla="*/ 163 w 180"/>
                <a:gd name="T5" fmla="*/ 39 h 112"/>
                <a:gd name="T6" fmla="*/ 152 w 180"/>
                <a:gd name="T7" fmla="*/ 53 h 112"/>
                <a:gd name="T8" fmla="*/ 141 w 180"/>
                <a:gd name="T9" fmla="*/ 66 h 112"/>
                <a:gd name="T10" fmla="*/ 129 w 180"/>
                <a:gd name="T11" fmla="*/ 80 h 112"/>
                <a:gd name="T12" fmla="*/ 115 w 180"/>
                <a:gd name="T13" fmla="*/ 92 h 112"/>
                <a:gd name="T14" fmla="*/ 101 w 180"/>
                <a:gd name="T15" fmla="*/ 102 h 112"/>
                <a:gd name="T16" fmla="*/ 87 w 180"/>
                <a:gd name="T17" fmla="*/ 112 h 112"/>
                <a:gd name="T18" fmla="*/ 82 w 180"/>
                <a:gd name="T19" fmla="*/ 107 h 112"/>
                <a:gd name="T20" fmla="*/ 79 w 180"/>
                <a:gd name="T21" fmla="*/ 101 h 112"/>
                <a:gd name="T22" fmla="*/ 76 w 180"/>
                <a:gd name="T23" fmla="*/ 95 h 112"/>
                <a:gd name="T24" fmla="*/ 74 w 180"/>
                <a:gd name="T25" fmla="*/ 88 h 112"/>
                <a:gd name="T26" fmla="*/ 70 w 180"/>
                <a:gd name="T27" fmla="*/ 81 h 112"/>
                <a:gd name="T28" fmla="*/ 68 w 180"/>
                <a:gd name="T29" fmla="*/ 74 h 112"/>
                <a:gd name="T30" fmla="*/ 65 w 180"/>
                <a:gd name="T31" fmla="*/ 69 h 112"/>
                <a:gd name="T32" fmla="*/ 60 w 180"/>
                <a:gd name="T33" fmla="*/ 63 h 112"/>
                <a:gd name="T34" fmla="*/ 45 w 180"/>
                <a:gd name="T35" fmla="*/ 48 h 112"/>
                <a:gd name="T36" fmla="*/ 36 w 180"/>
                <a:gd name="T37" fmla="*/ 38 h 112"/>
                <a:gd name="T38" fmla="*/ 30 w 180"/>
                <a:gd name="T39" fmla="*/ 33 h 112"/>
                <a:gd name="T40" fmla="*/ 25 w 180"/>
                <a:gd name="T41" fmla="*/ 31 h 112"/>
                <a:gd name="T42" fmla="*/ 18 w 180"/>
                <a:gd name="T43" fmla="*/ 30 h 112"/>
                <a:gd name="T44" fmla="*/ 0 w 180"/>
                <a:gd name="T45" fmla="*/ 26 h 112"/>
                <a:gd name="T46" fmla="*/ 26 w 180"/>
                <a:gd name="T47" fmla="*/ 14 h 112"/>
                <a:gd name="T48" fmla="*/ 41 w 180"/>
                <a:gd name="T49" fmla="*/ 9 h 112"/>
                <a:gd name="T50" fmla="*/ 56 w 180"/>
                <a:gd name="T51" fmla="*/ 5 h 112"/>
                <a:gd name="T52" fmla="*/ 74 w 180"/>
                <a:gd name="T53" fmla="*/ 3 h 112"/>
                <a:gd name="T54" fmla="*/ 93 w 180"/>
                <a:gd name="T55" fmla="*/ 1 h 112"/>
                <a:gd name="T56" fmla="*/ 114 w 180"/>
                <a:gd name="T57" fmla="*/ 0 h 112"/>
                <a:gd name="T58" fmla="*/ 135 w 180"/>
                <a:gd name="T59" fmla="*/ 1 h 112"/>
                <a:gd name="T60" fmla="*/ 157 w 180"/>
                <a:gd name="T61" fmla="*/ 3 h 112"/>
                <a:gd name="T62" fmla="*/ 180 w 180"/>
                <a:gd name="T63" fmla="*/ 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94" name="Freeform 264">
              <a:extLst>
                <a:ext uri="{FF2B5EF4-FFF2-40B4-BE49-F238E27FC236}">
                  <a16:creationId xmlns:a16="http://schemas.microsoft.com/office/drawing/2014/main" id="{1622E88C-ABDD-487D-8F6F-E71D4021F1AD}"/>
                </a:ext>
              </a:extLst>
            </p:cNvPr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5202238" y="3349626"/>
              <a:ext cx="74612" cy="100013"/>
            </a:xfrm>
            <a:custGeom>
              <a:avLst/>
              <a:gdLst>
                <a:gd name="T0" fmla="*/ 0 w 173"/>
                <a:gd name="T1" fmla="*/ 68 h 192"/>
                <a:gd name="T2" fmla="*/ 27 w 173"/>
                <a:gd name="T3" fmla="*/ 42 h 192"/>
                <a:gd name="T4" fmla="*/ 51 w 173"/>
                <a:gd name="T5" fmla="*/ 21 h 192"/>
                <a:gd name="T6" fmla="*/ 56 w 173"/>
                <a:gd name="T7" fmla="*/ 16 h 192"/>
                <a:gd name="T8" fmla="*/ 63 w 173"/>
                <a:gd name="T9" fmla="*/ 12 h 192"/>
                <a:gd name="T10" fmla="*/ 70 w 173"/>
                <a:gd name="T11" fmla="*/ 8 h 192"/>
                <a:gd name="T12" fmla="*/ 76 w 173"/>
                <a:gd name="T13" fmla="*/ 6 h 192"/>
                <a:gd name="T14" fmla="*/ 83 w 173"/>
                <a:gd name="T15" fmla="*/ 3 h 192"/>
                <a:gd name="T16" fmla="*/ 90 w 173"/>
                <a:gd name="T17" fmla="*/ 2 h 192"/>
                <a:gd name="T18" fmla="*/ 98 w 173"/>
                <a:gd name="T19" fmla="*/ 1 h 192"/>
                <a:gd name="T20" fmla="*/ 107 w 173"/>
                <a:gd name="T21" fmla="*/ 0 h 192"/>
                <a:gd name="T22" fmla="*/ 116 w 173"/>
                <a:gd name="T23" fmla="*/ 1 h 192"/>
                <a:gd name="T24" fmla="*/ 124 w 173"/>
                <a:gd name="T25" fmla="*/ 2 h 192"/>
                <a:gd name="T26" fmla="*/ 132 w 173"/>
                <a:gd name="T27" fmla="*/ 5 h 192"/>
                <a:gd name="T28" fmla="*/ 139 w 173"/>
                <a:gd name="T29" fmla="*/ 8 h 192"/>
                <a:gd name="T30" fmla="*/ 145 w 173"/>
                <a:gd name="T31" fmla="*/ 13 h 192"/>
                <a:gd name="T32" fmla="*/ 151 w 173"/>
                <a:gd name="T33" fmla="*/ 19 h 192"/>
                <a:gd name="T34" fmla="*/ 155 w 173"/>
                <a:gd name="T35" fmla="*/ 24 h 192"/>
                <a:gd name="T36" fmla="*/ 160 w 173"/>
                <a:gd name="T37" fmla="*/ 30 h 192"/>
                <a:gd name="T38" fmla="*/ 163 w 173"/>
                <a:gd name="T39" fmla="*/ 37 h 192"/>
                <a:gd name="T40" fmla="*/ 166 w 173"/>
                <a:gd name="T41" fmla="*/ 43 h 192"/>
                <a:gd name="T42" fmla="*/ 168 w 173"/>
                <a:gd name="T43" fmla="*/ 50 h 192"/>
                <a:gd name="T44" fmla="*/ 169 w 173"/>
                <a:gd name="T45" fmla="*/ 57 h 192"/>
                <a:gd name="T46" fmla="*/ 172 w 173"/>
                <a:gd name="T47" fmla="*/ 72 h 192"/>
                <a:gd name="T48" fmla="*/ 173 w 173"/>
                <a:gd name="T49" fmla="*/ 87 h 192"/>
                <a:gd name="T50" fmla="*/ 157 w 173"/>
                <a:gd name="T51" fmla="*/ 114 h 192"/>
                <a:gd name="T52" fmla="*/ 146 w 173"/>
                <a:gd name="T53" fmla="*/ 137 h 192"/>
                <a:gd name="T54" fmla="*/ 139 w 173"/>
                <a:gd name="T55" fmla="*/ 148 h 192"/>
                <a:gd name="T56" fmla="*/ 130 w 173"/>
                <a:gd name="T57" fmla="*/ 160 h 192"/>
                <a:gd name="T58" fmla="*/ 117 w 173"/>
                <a:gd name="T59" fmla="*/ 174 h 192"/>
                <a:gd name="T60" fmla="*/ 99 w 173"/>
                <a:gd name="T61" fmla="*/ 192 h 192"/>
                <a:gd name="T62" fmla="*/ 86 w 173"/>
                <a:gd name="T63" fmla="*/ 183 h 192"/>
                <a:gd name="T64" fmla="*/ 74 w 173"/>
                <a:gd name="T65" fmla="*/ 176 h 192"/>
                <a:gd name="T66" fmla="*/ 63 w 173"/>
                <a:gd name="T67" fmla="*/ 169 h 192"/>
                <a:gd name="T68" fmla="*/ 54 w 173"/>
                <a:gd name="T69" fmla="*/ 163 h 192"/>
                <a:gd name="T70" fmla="*/ 46 w 173"/>
                <a:gd name="T71" fmla="*/ 156 h 192"/>
                <a:gd name="T72" fmla="*/ 40 w 173"/>
                <a:gd name="T73" fmla="*/ 150 h 192"/>
                <a:gd name="T74" fmla="*/ 34 w 173"/>
                <a:gd name="T75" fmla="*/ 144 h 192"/>
                <a:gd name="T76" fmla="*/ 30 w 173"/>
                <a:gd name="T77" fmla="*/ 137 h 192"/>
                <a:gd name="T78" fmla="*/ 22 w 173"/>
                <a:gd name="T79" fmla="*/ 123 h 192"/>
                <a:gd name="T80" fmla="*/ 16 w 173"/>
                <a:gd name="T81" fmla="*/ 107 h 192"/>
                <a:gd name="T82" fmla="*/ 9 w 173"/>
                <a:gd name="T83" fmla="*/ 90 h 192"/>
                <a:gd name="T84" fmla="*/ 0 w 173"/>
                <a:gd name="T85" fmla="*/ 68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95" name="Freeform 265">
              <a:extLst>
                <a:ext uri="{FF2B5EF4-FFF2-40B4-BE49-F238E27FC236}">
                  <a16:creationId xmlns:a16="http://schemas.microsoft.com/office/drawing/2014/main" id="{5719622E-69D1-4F7B-A5AA-A4C6DABA0CA3}"/>
                </a:ext>
              </a:extLst>
            </p:cNvPr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5245101" y="3400426"/>
              <a:ext cx="104775" cy="131763"/>
            </a:xfrm>
            <a:custGeom>
              <a:avLst/>
              <a:gdLst>
                <a:gd name="T0" fmla="*/ 74 w 233"/>
                <a:gd name="T1" fmla="*/ 0 h 252"/>
                <a:gd name="T2" fmla="*/ 83 w 233"/>
                <a:gd name="T3" fmla="*/ 2 h 252"/>
                <a:gd name="T4" fmla="*/ 89 w 233"/>
                <a:gd name="T5" fmla="*/ 3 h 252"/>
                <a:gd name="T6" fmla="*/ 95 w 233"/>
                <a:gd name="T7" fmla="*/ 3 h 252"/>
                <a:gd name="T8" fmla="*/ 99 w 233"/>
                <a:gd name="T9" fmla="*/ 2 h 252"/>
                <a:gd name="T10" fmla="*/ 106 w 233"/>
                <a:gd name="T11" fmla="*/ 1 h 252"/>
                <a:gd name="T12" fmla="*/ 113 w 233"/>
                <a:gd name="T13" fmla="*/ 0 h 252"/>
                <a:gd name="T14" fmla="*/ 125 w 233"/>
                <a:gd name="T15" fmla="*/ 17 h 252"/>
                <a:gd name="T16" fmla="*/ 140 w 233"/>
                <a:gd name="T17" fmla="*/ 37 h 252"/>
                <a:gd name="T18" fmla="*/ 144 w 233"/>
                <a:gd name="T19" fmla="*/ 42 h 252"/>
                <a:gd name="T20" fmla="*/ 148 w 233"/>
                <a:gd name="T21" fmla="*/ 46 h 252"/>
                <a:gd name="T22" fmla="*/ 153 w 233"/>
                <a:gd name="T23" fmla="*/ 49 h 252"/>
                <a:gd name="T24" fmla="*/ 157 w 233"/>
                <a:gd name="T25" fmla="*/ 52 h 252"/>
                <a:gd name="T26" fmla="*/ 163 w 233"/>
                <a:gd name="T27" fmla="*/ 54 h 252"/>
                <a:gd name="T28" fmla="*/ 168 w 233"/>
                <a:gd name="T29" fmla="*/ 56 h 252"/>
                <a:gd name="T30" fmla="*/ 174 w 233"/>
                <a:gd name="T31" fmla="*/ 56 h 252"/>
                <a:gd name="T32" fmla="*/ 180 w 233"/>
                <a:gd name="T33" fmla="*/ 56 h 252"/>
                <a:gd name="T34" fmla="*/ 180 w 233"/>
                <a:gd name="T35" fmla="*/ 80 h 252"/>
                <a:gd name="T36" fmla="*/ 193 w 233"/>
                <a:gd name="T37" fmla="*/ 103 h 252"/>
                <a:gd name="T38" fmla="*/ 212 w 233"/>
                <a:gd name="T39" fmla="*/ 128 h 252"/>
                <a:gd name="T40" fmla="*/ 215 w 233"/>
                <a:gd name="T41" fmla="*/ 135 h 252"/>
                <a:gd name="T42" fmla="*/ 220 w 233"/>
                <a:gd name="T43" fmla="*/ 142 h 252"/>
                <a:gd name="T44" fmla="*/ 223 w 233"/>
                <a:gd name="T45" fmla="*/ 151 h 252"/>
                <a:gd name="T46" fmla="*/ 226 w 233"/>
                <a:gd name="T47" fmla="*/ 160 h 252"/>
                <a:gd name="T48" fmla="*/ 230 w 233"/>
                <a:gd name="T49" fmla="*/ 170 h 252"/>
                <a:gd name="T50" fmla="*/ 232 w 233"/>
                <a:gd name="T51" fmla="*/ 180 h 252"/>
                <a:gd name="T52" fmla="*/ 233 w 233"/>
                <a:gd name="T53" fmla="*/ 191 h 252"/>
                <a:gd name="T54" fmla="*/ 233 w 233"/>
                <a:gd name="T55" fmla="*/ 204 h 252"/>
                <a:gd name="T56" fmla="*/ 232 w 233"/>
                <a:gd name="T57" fmla="*/ 216 h 252"/>
                <a:gd name="T58" fmla="*/ 230 w 233"/>
                <a:gd name="T59" fmla="*/ 228 h 252"/>
                <a:gd name="T60" fmla="*/ 227 w 233"/>
                <a:gd name="T61" fmla="*/ 240 h 252"/>
                <a:gd name="T62" fmla="*/ 226 w 233"/>
                <a:gd name="T63" fmla="*/ 252 h 252"/>
                <a:gd name="T64" fmla="*/ 222 w 233"/>
                <a:gd name="T65" fmla="*/ 252 h 252"/>
                <a:gd name="T66" fmla="*/ 215 w 233"/>
                <a:gd name="T67" fmla="*/ 250 h 252"/>
                <a:gd name="T68" fmla="*/ 208 w 233"/>
                <a:gd name="T69" fmla="*/ 246 h 252"/>
                <a:gd name="T70" fmla="*/ 198 w 233"/>
                <a:gd name="T71" fmla="*/ 241 h 252"/>
                <a:gd name="T72" fmla="*/ 176 w 233"/>
                <a:gd name="T73" fmla="*/ 226 h 252"/>
                <a:gd name="T74" fmla="*/ 151 w 233"/>
                <a:gd name="T75" fmla="*/ 208 h 252"/>
                <a:gd name="T76" fmla="*/ 125 w 233"/>
                <a:gd name="T77" fmla="*/ 186 h 252"/>
                <a:gd name="T78" fmla="*/ 100 w 233"/>
                <a:gd name="T79" fmla="*/ 165 h 252"/>
                <a:gd name="T80" fmla="*/ 78 w 233"/>
                <a:gd name="T81" fmla="*/ 145 h 252"/>
                <a:gd name="T82" fmla="*/ 61 w 233"/>
                <a:gd name="T83" fmla="*/ 129 h 252"/>
                <a:gd name="T84" fmla="*/ 55 w 233"/>
                <a:gd name="T85" fmla="*/ 125 h 252"/>
                <a:gd name="T86" fmla="*/ 48 w 233"/>
                <a:gd name="T87" fmla="*/ 120 h 252"/>
                <a:gd name="T88" fmla="*/ 41 w 233"/>
                <a:gd name="T89" fmla="*/ 116 h 252"/>
                <a:gd name="T90" fmla="*/ 33 w 233"/>
                <a:gd name="T91" fmla="*/ 112 h 252"/>
                <a:gd name="T92" fmla="*/ 17 w 233"/>
                <a:gd name="T93" fmla="*/ 104 h 252"/>
                <a:gd name="T94" fmla="*/ 0 w 233"/>
                <a:gd name="T95" fmla="*/ 99 h 252"/>
                <a:gd name="T96" fmla="*/ 40 w 233"/>
                <a:gd name="T97" fmla="*/ 63 h 252"/>
                <a:gd name="T98" fmla="*/ 59 w 233"/>
                <a:gd name="T99" fmla="*/ 43 h 252"/>
                <a:gd name="T100" fmla="*/ 65 w 233"/>
                <a:gd name="T101" fmla="*/ 33 h 252"/>
                <a:gd name="T102" fmla="*/ 69 w 233"/>
                <a:gd name="T103" fmla="*/ 25 h 252"/>
                <a:gd name="T104" fmla="*/ 72 w 233"/>
                <a:gd name="T105" fmla="*/ 14 h 252"/>
                <a:gd name="T106" fmla="*/ 74 w 233"/>
                <a:gd name="T107" fmla="*/ 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96" name="Freeform 266">
              <a:extLst>
                <a:ext uri="{FF2B5EF4-FFF2-40B4-BE49-F238E27FC236}">
                  <a16:creationId xmlns:a16="http://schemas.microsoft.com/office/drawing/2014/main" id="{4E34191B-C9BA-4E07-9AA3-D818E0762A28}"/>
                </a:ext>
              </a:extLst>
            </p:cNvPr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5459414" y="3319463"/>
              <a:ext cx="104775" cy="201612"/>
            </a:xfrm>
            <a:custGeom>
              <a:avLst/>
              <a:gdLst>
                <a:gd name="T0" fmla="*/ 13 w 246"/>
                <a:gd name="T1" fmla="*/ 376 h 380"/>
                <a:gd name="T2" fmla="*/ 14 w 246"/>
                <a:gd name="T3" fmla="*/ 367 h 380"/>
                <a:gd name="T4" fmla="*/ 15 w 246"/>
                <a:gd name="T5" fmla="*/ 359 h 380"/>
                <a:gd name="T6" fmla="*/ 18 w 246"/>
                <a:gd name="T7" fmla="*/ 351 h 380"/>
                <a:gd name="T8" fmla="*/ 20 w 246"/>
                <a:gd name="T9" fmla="*/ 344 h 380"/>
                <a:gd name="T10" fmla="*/ 25 w 246"/>
                <a:gd name="T11" fmla="*/ 333 h 380"/>
                <a:gd name="T12" fmla="*/ 26 w 246"/>
                <a:gd name="T13" fmla="*/ 327 h 380"/>
                <a:gd name="T14" fmla="*/ 25 w 246"/>
                <a:gd name="T15" fmla="*/ 321 h 380"/>
                <a:gd name="T16" fmla="*/ 23 w 246"/>
                <a:gd name="T17" fmla="*/ 314 h 380"/>
                <a:gd name="T18" fmla="*/ 19 w 246"/>
                <a:gd name="T19" fmla="*/ 305 h 380"/>
                <a:gd name="T20" fmla="*/ 13 w 246"/>
                <a:gd name="T21" fmla="*/ 295 h 380"/>
                <a:gd name="T22" fmla="*/ 9 w 246"/>
                <a:gd name="T23" fmla="*/ 285 h 380"/>
                <a:gd name="T24" fmla="*/ 4 w 246"/>
                <a:gd name="T25" fmla="*/ 275 h 380"/>
                <a:gd name="T26" fmla="*/ 1 w 246"/>
                <a:gd name="T27" fmla="*/ 267 h 380"/>
                <a:gd name="T28" fmla="*/ 0 w 246"/>
                <a:gd name="T29" fmla="*/ 259 h 380"/>
                <a:gd name="T30" fmla="*/ 1 w 246"/>
                <a:gd name="T31" fmla="*/ 251 h 380"/>
                <a:gd name="T32" fmla="*/ 2 w 246"/>
                <a:gd name="T33" fmla="*/ 243 h 380"/>
                <a:gd name="T34" fmla="*/ 3 w 246"/>
                <a:gd name="T35" fmla="*/ 236 h 380"/>
                <a:gd name="T36" fmla="*/ 6 w 246"/>
                <a:gd name="T37" fmla="*/ 230 h 380"/>
                <a:gd name="T38" fmla="*/ 11 w 246"/>
                <a:gd name="T39" fmla="*/ 218 h 380"/>
                <a:gd name="T40" fmla="*/ 19 w 246"/>
                <a:gd name="T41" fmla="*/ 207 h 380"/>
                <a:gd name="T42" fmla="*/ 26 w 246"/>
                <a:gd name="T43" fmla="*/ 197 h 380"/>
                <a:gd name="T44" fmla="*/ 34 w 246"/>
                <a:gd name="T45" fmla="*/ 185 h 380"/>
                <a:gd name="T46" fmla="*/ 41 w 246"/>
                <a:gd name="T47" fmla="*/ 173 h 380"/>
                <a:gd name="T48" fmla="*/ 47 w 246"/>
                <a:gd name="T49" fmla="*/ 160 h 380"/>
                <a:gd name="T50" fmla="*/ 26 w 246"/>
                <a:gd name="T51" fmla="*/ 73 h 380"/>
                <a:gd name="T52" fmla="*/ 26 w 246"/>
                <a:gd name="T53" fmla="*/ 50 h 380"/>
                <a:gd name="T54" fmla="*/ 24 w 246"/>
                <a:gd name="T55" fmla="*/ 33 h 380"/>
                <a:gd name="T56" fmla="*/ 24 w 246"/>
                <a:gd name="T57" fmla="*/ 25 h 380"/>
                <a:gd name="T58" fmla="*/ 24 w 246"/>
                <a:gd name="T59" fmla="*/ 16 h 380"/>
                <a:gd name="T60" fmla="*/ 25 w 246"/>
                <a:gd name="T61" fmla="*/ 8 h 380"/>
                <a:gd name="T62" fmla="*/ 26 w 246"/>
                <a:gd name="T63" fmla="*/ 0 h 380"/>
                <a:gd name="T64" fmla="*/ 180 w 246"/>
                <a:gd name="T65" fmla="*/ 0 h 380"/>
                <a:gd name="T66" fmla="*/ 220 w 246"/>
                <a:gd name="T67" fmla="*/ 129 h 380"/>
                <a:gd name="T68" fmla="*/ 220 w 246"/>
                <a:gd name="T69" fmla="*/ 210 h 380"/>
                <a:gd name="T70" fmla="*/ 220 w 246"/>
                <a:gd name="T71" fmla="*/ 220 h 380"/>
                <a:gd name="T72" fmla="*/ 221 w 246"/>
                <a:gd name="T73" fmla="*/ 230 h 380"/>
                <a:gd name="T74" fmla="*/ 223 w 246"/>
                <a:gd name="T75" fmla="*/ 240 h 380"/>
                <a:gd name="T76" fmla="*/ 225 w 246"/>
                <a:gd name="T77" fmla="*/ 250 h 380"/>
                <a:gd name="T78" fmla="*/ 228 w 246"/>
                <a:gd name="T79" fmla="*/ 259 h 380"/>
                <a:gd name="T80" fmla="*/ 234 w 246"/>
                <a:gd name="T81" fmla="*/ 268 h 380"/>
                <a:gd name="T82" fmla="*/ 239 w 246"/>
                <a:gd name="T83" fmla="*/ 278 h 380"/>
                <a:gd name="T84" fmla="*/ 246 w 246"/>
                <a:gd name="T85" fmla="*/ 289 h 380"/>
                <a:gd name="T86" fmla="*/ 224 w 246"/>
                <a:gd name="T87" fmla="*/ 295 h 380"/>
                <a:gd name="T88" fmla="*/ 202 w 246"/>
                <a:gd name="T89" fmla="*/ 302 h 380"/>
                <a:gd name="T90" fmla="*/ 181 w 246"/>
                <a:gd name="T91" fmla="*/ 310 h 380"/>
                <a:gd name="T92" fmla="*/ 160 w 246"/>
                <a:gd name="T93" fmla="*/ 319 h 380"/>
                <a:gd name="T94" fmla="*/ 141 w 246"/>
                <a:gd name="T95" fmla="*/ 328 h 380"/>
                <a:gd name="T96" fmla="*/ 120 w 246"/>
                <a:gd name="T97" fmla="*/ 338 h 380"/>
                <a:gd name="T98" fmla="*/ 100 w 246"/>
                <a:gd name="T99" fmla="*/ 347 h 380"/>
                <a:gd name="T100" fmla="*/ 80 w 246"/>
                <a:gd name="T101" fmla="*/ 358 h 380"/>
                <a:gd name="T102" fmla="*/ 75 w 246"/>
                <a:gd name="T103" fmla="*/ 363 h 380"/>
                <a:gd name="T104" fmla="*/ 69 w 246"/>
                <a:gd name="T105" fmla="*/ 367 h 380"/>
                <a:gd name="T106" fmla="*/ 62 w 246"/>
                <a:gd name="T107" fmla="*/ 372 h 380"/>
                <a:gd name="T108" fmla="*/ 54 w 246"/>
                <a:gd name="T109" fmla="*/ 376 h 380"/>
                <a:gd name="T110" fmla="*/ 46 w 246"/>
                <a:gd name="T111" fmla="*/ 379 h 380"/>
                <a:gd name="T112" fmla="*/ 36 w 246"/>
                <a:gd name="T113" fmla="*/ 380 h 380"/>
                <a:gd name="T114" fmla="*/ 31 w 246"/>
                <a:gd name="T115" fmla="*/ 380 h 380"/>
                <a:gd name="T116" fmla="*/ 25 w 246"/>
                <a:gd name="T117" fmla="*/ 379 h 380"/>
                <a:gd name="T118" fmla="*/ 20 w 246"/>
                <a:gd name="T119" fmla="*/ 378 h 380"/>
                <a:gd name="T120" fmla="*/ 13 w 246"/>
                <a:gd name="T121" fmla="*/ 376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97" name="Freeform 267">
              <a:extLst>
                <a:ext uri="{FF2B5EF4-FFF2-40B4-BE49-F238E27FC236}">
                  <a16:creationId xmlns:a16="http://schemas.microsoft.com/office/drawing/2014/main" id="{3D0D4C73-DAF1-46E3-AFEB-8094E65A503B}"/>
                </a:ext>
              </a:extLst>
            </p:cNvPr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5111751" y="3235325"/>
              <a:ext cx="87313" cy="58738"/>
            </a:xfrm>
            <a:custGeom>
              <a:avLst/>
              <a:gdLst>
                <a:gd name="T0" fmla="*/ 7 w 193"/>
                <a:gd name="T1" fmla="*/ 20 h 38"/>
                <a:gd name="T2" fmla="*/ 38 w 193"/>
                <a:gd name="T3" fmla="*/ 11 h 38"/>
                <a:gd name="T4" fmla="*/ 67 w 193"/>
                <a:gd name="T5" fmla="*/ 5 h 38"/>
                <a:gd name="T6" fmla="*/ 80 w 193"/>
                <a:gd name="T7" fmla="*/ 3 h 38"/>
                <a:gd name="T8" fmla="*/ 94 w 193"/>
                <a:gd name="T9" fmla="*/ 2 h 38"/>
                <a:gd name="T10" fmla="*/ 110 w 193"/>
                <a:gd name="T11" fmla="*/ 1 h 38"/>
                <a:gd name="T12" fmla="*/ 126 w 193"/>
                <a:gd name="T13" fmla="*/ 0 h 38"/>
                <a:gd name="T14" fmla="*/ 138 w 193"/>
                <a:gd name="T15" fmla="*/ 1 h 38"/>
                <a:gd name="T16" fmla="*/ 149 w 193"/>
                <a:gd name="T17" fmla="*/ 1 h 38"/>
                <a:gd name="T18" fmla="*/ 160 w 193"/>
                <a:gd name="T19" fmla="*/ 2 h 38"/>
                <a:gd name="T20" fmla="*/ 169 w 193"/>
                <a:gd name="T21" fmla="*/ 4 h 38"/>
                <a:gd name="T22" fmla="*/ 178 w 193"/>
                <a:gd name="T23" fmla="*/ 6 h 38"/>
                <a:gd name="T24" fmla="*/ 184 w 193"/>
                <a:gd name="T25" fmla="*/ 11 h 38"/>
                <a:gd name="T26" fmla="*/ 187 w 193"/>
                <a:gd name="T27" fmla="*/ 13 h 38"/>
                <a:gd name="T28" fmla="*/ 189 w 193"/>
                <a:gd name="T29" fmla="*/ 18 h 38"/>
                <a:gd name="T30" fmla="*/ 191 w 193"/>
                <a:gd name="T31" fmla="*/ 21 h 38"/>
                <a:gd name="T32" fmla="*/ 193 w 193"/>
                <a:gd name="T33" fmla="*/ 26 h 38"/>
                <a:gd name="T34" fmla="*/ 183 w 193"/>
                <a:gd name="T35" fmla="*/ 27 h 38"/>
                <a:gd name="T36" fmla="*/ 173 w 193"/>
                <a:gd name="T37" fmla="*/ 28 h 38"/>
                <a:gd name="T38" fmla="*/ 165 w 193"/>
                <a:gd name="T39" fmla="*/ 28 h 38"/>
                <a:gd name="T40" fmla="*/ 156 w 193"/>
                <a:gd name="T41" fmla="*/ 28 h 38"/>
                <a:gd name="T42" fmla="*/ 138 w 193"/>
                <a:gd name="T43" fmla="*/ 27 h 38"/>
                <a:gd name="T44" fmla="*/ 120 w 193"/>
                <a:gd name="T45" fmla="*/ 26 h 38"/>
                <a:gd name="T46" fmla="*/ 103 w 193"/>
                <a:gd name="T47" fmla="*/ 26 h 38"/>
                <a:gd name="T48" fmla="*/ 89 w 193"/>
                <a:gd name="T49" fmla="*/ 28 h 38"/>
                <a:gd name="T50" fmla="*/ 76 w 193"/>
                <a:gd name="T51" fmla="*/ 30 h 38"/>
                <a:gd name="T52" fmla="*/ 63 w 193"/>
                <a:gd name="T53" fmla="*/ 32 h 38"/>
                <a:gd name="T54" fmla="*/ 49 w 193"/>
                <a:gd name="T55" fmla="*/ 34 h 38"/>
                <a:gd name="T56" fmla="*/ 35 w 193"/>
                <a:gd name="T57" fmla="*/ 36 h 38"/>
                <a:gd name="T58" fmla="*/ 19 w 193"/>
                <a:gd name="T59" fmla="*/ 37 h 38"/>
                <a:gd name="T60" fmla="*/ 0 w 193"/>
                <a:gd name="T61" fmla="*/ 38 h 38"/>
                <a:gd name="T62" fmla="*/ 0 w 193"/>
                <a:gd name="T63" fmla="*/ 33 h 38"/>
                <a:gd name="T64" fmla="*/ 1 w 193"/>
                <a:gd name="T65" fmla="*/ 29 h 38"/>
                <a:gd name="T66" fmla="*/ 3 w 193"/>
                <a:gd name="T67" fmla="*/ 24 h 38"/>
                <a:gd name="T68" fmla="*/ 7 w 193"/>
                <a:gd name="T69" fmla="*/ 2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98" name="Freeform 268">
              <a:extLst>
                <a:ext uri="{FF2B5EF4-FFF2-40B4-BE49-F238E27FC236}">
                  <a16:creationId xmlns:a16="http://schemas.microsoft.com/office/drawing/2014/main" id="{30F78764-C0D2-4E8F-869F-EE37705ECD46}"/>
                </a:ext>
              </a:extLst>
            </p:cNvPr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5537201" y="3313114"/>
              <a:ext cx="42863" cy="155575"/>
            </a:xfrm>
            <a:custGeom>
              <a:avLst/>
              <a:gdLst>
                <a:gd name="T0" fmla="*/ 53 w 99"/>
                <a:gd name="T1" fmla="*/ 12 h 301"/>
                <a:gd name="T2" fmla="*/ 59 w 99"/>
                <a:gd name="T3" fmla="*/ 12 h 301"/>
                <a:gd name="T4" fmla="*/ 59 w 99"/>
                <a:gd name="T5" fmla="*/ 19 h 301"/>
                <a:gd name="T6" fmla="*/ 62 w 99"/>
                <a:gd name="T7" fmla="*/ 26 h 301"/>
                <a:gd name="T8" fmla="*/ 63 w 99"/>
                <a:gd name="T9" fmla="*/ 33 h 301"/>
                <a:gd name="T10" fmla="*/ 66 w 99"/>
                <a:gd name="T11" fmla="*/ 42 h 301"/>
                <a:gd name="T12" fmla="*/ 72 w 99"/>
                <a:gd name="T13" fmla="*/ 58 h 301"/>
                <a:gd name="T14" fmla="*/ 79 w 99"/>
                <a:gd name="T15" fmla="*/ 75 h 301"/>
                <a:gd name="T16" fmla="*/ 87 w 99"/>
                <a:gd name="T17" fmla="*/ 93 h 301"/>
                <a:gd name="T18" fmla="*/ 93 w 99"/>
                <a:gd name="T19" fmla="*/ 111 h 301"/>
                <a:gd name="T20" fmla="*/ 96 w 99"/>
                <a:gd name="T21" fmla="*/ 120 h 301"/>
                <a:gd name="T22" fmla="*/ 98 w 99"/>
                <a:gd name="T23" fmla="*/ 129 h 301"/>
                <a:gd name="T24" fmla="*/ 99 w 99"/>
                <a:gd name="T25" fmla="*/ 138 h 301"/>
                <a:gd name="T26" fmla="*/ 99 w 99"/>
                <a:gd name="T27" fmla="*/ 148 h 301"/>
                <a:gd name="T28" fmla="*/ 99 w 99"/>
                <a:gd name="T29" fmla="*/ 289 h 301"/>
                <a:gd name="T30" fmla="*/ 89 w 99"/>
                <a:gd name="T31" fmla="*/ 290 h 301"/>
                <a:gd name="T32" fmla="*/ 80 w 99"/>
                <a:gd name="T33" fmla="*/ 293 h 301"/>
                <a:gd name="T34" fmla="*/ 73 w 99"/>
                <a:gd name="T35" fmla="*/ 297 h 301"/>
                <a:gd name="T36" fmla="*/ 66 w 99"/>
                <a:gd name="T37" fmla="*/ 301 h 301"/>
                <a:gd name="T38" fmla="*/ 59 w 99"/>
                <a:gd name="T39" fmla="*/ 290 h 301"/>
                <a:gd name="T40" fmla="*/ 54 w 99"/>
                <a:gd name="T41" fmla="*/ 280 h 301"/>
                <a:gd name="T42" fmla="*/ 48 w 99"/>
                <a:gd name="T43" fmla="*/ 271 h 301"/>
                <a:gd name="T44" fmla="*/ 45 w 99"/>
                <a:gd name="T45" fmla="*/ 262 h 301"/>
                <a:gd name="T46" fmla="*/ 43 w 99"/>
                <a:gd name="T47" fmla="*/ 252 h 301"/>
                <a:gd name="T48" fmla="*/ 41 w 99"/>
                <a:gd name="T49" fmla="*/ 242 h 301"/>
                <a:gd name="T50" fmla="*/ 40 w 99"/>
                <a:gd name="T51" fmla="*/ 232 h 301"/>
                <a:gd name="T52" fmla="*/ 40 w 99"/>
                <a:gd name="T53" fmla="*/ 222 h 301"/>
                <a:gd name="T54" fmla="*/ 40 w 99"/>
                <a:gd name="T55" fmla="*/ 141 h 301"/>
                <a:gd name="T56" fmla="*/ 0 w 99"/>
                <a:gd name="T57" fmla="*/ 6 h 301"/>
                <a:gd name="T58" fmla="*/ 5 w 99"/>
                <a:gd name="T59" fmla="*/ 2 h 301"/>
                <a:gd name="T60" fmla="*/ 10 w 99"/>
                <a:gd name="T61" fmla="*/ 0 h 301"/>
                <a:gd name="T62" fmla="*/ 14 w 99"/>
                <a:gd name="T63" fmla="*/ 0 h 301"/>
                <a:gd name="T64" fmla="*/ 20 w 99"/>
                <a:gd name="T65" fmla="*/ 0 h 301"/>
                <a:gd name="T66" fmla="*/ 26 w 99"/>
                <a:gd name="T67" fmla="*/ 0 h 301"/>
                <a:gd name="T68" fmla="*/ 32 w 99"/>
                <a:gd name="T69" fmla="*/ 2 h 301"/>
                <a:gd name="T70" fmla="*/ 37 w 99"/>
                <a:gd name="T71" fmla="*/ 4 h 301"/>
                <a:gd name="T72" fmla="*/ 41 w 99"/>
                <a:gd name="T73" fmla="*/ 6 h 301"/>
                <a:gd name="T74" fmla="*/ 47 w 99"/>
                <a:gd name="T75" fmla="*/ 10 h 301"/>
                <a:gd name="T76" fmla="*/ 53 w 99"/>
                <a:gd name="T77" fmla="*/ 12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99" name="Freeform 269">
              <a:extLst>
                <a:ext uri="{FF2B5EF4-FFF2-40B4-BE49-F238E27FC236}">
                  <a16:creationId xmlns:a16="http://schemas.microsoft.com/office/drawing/2014/main" id="{6CFDE3F6-3E6A-4AF1-AAA6-B4187EEB29D9}"/>
                </a:ext>
              </a:extLst>
            </p:cNvPr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5562600" y="3275013"/>
              <a:ext cx="76200" cy="188912"/>
            </a:xfrm>
            <a:custGeom>
              <a:avLst/>
              <a:gdLst>
                <a:gd name="T0" fmla="*/ 0 w 173"/>
                <a:gd name="T1" fmla="*/ 80 h 357"/>
                <a:gd name="T2" fmla="*/ 9 w 173"/>
                <a:gd name="T3" fmla="*/ 72 h 357"/>
                <a:gd name="T4" fmla="*/ 17 w 173"/>
                <a:gd name="T5" fmla="*/ 65 h 357"/>
                <a:gd name="T6" fmla="*/ 25 w 173"/>
                <a:gd name="T7" fmla="*/ 60 h 357"/>
                <a:gd name="T8" fmla="*/ 33 w 173"/>
                <a:gd name="T9" fmla="*/ 56 h 357"/>
                <a:gd name="T10" fmla="*/ 40 w 173"/>
                <a:gd name="T11" fmla="*/ 50 h 357"/>
                <a:gd name="T12" fmla="*/ 67 w 173"/>
                <a:gd name="T13" fmla="*/ 50 h 357"/>
                <a:gd name="T14" fmla="*/ 94 w 173"/>
                <a:gd name="T15" fmla="*/ 0 h 357"/>
                <a:gd name="T16" fmla="*/ 101 w 173"/>
                <a:gd name="T17" fmla="*/ 3 h 357"/>
                <a:gd name="T18" fmla="*/ 108 w 173"/>
                <a:gd name="T19" fmla="*/ 7 h 357"/>
                <a:gd name="T20" fmla="*/ 116 w 173"/>
                <a:gd name="T21" fmla="*/ 12 h 357"/>
                <a:gd name="T22" fmla="*/ 123 w 173"/>
                <a:gd name="T23" fmla="*/ 18 h 357"/>
                <a:gd name="T24" fmla="*/ 131 w 173"/>
                <a:gd name="T25" fmla="*/ 22 h 357"/>
                <a:gd name="T26" fmla="*/ 139 w 173"/>
                <a:gd name="T27" fmla="*/ 27 h 357"/>
                <a:gd name="T28" fmla="*/ 145 w 173"/>
                <a:gd name="T29" fmla="*/ 29 h 357"/>
                <a:gd name="T30" fmla="*/ 153 w 173"/>
                <a:gd name="T31" fmla="*/ 30 h 357"/>
                <a:gd name="T32" fmla="*/ 163 w 173"/>
                <a:gd name="T33" fmla="*/ 39 h 357"/>
                <a:gd name="T34" fmla="*/ 173 w 173"/>
                <a:gd name="T35" fmla="*/ 50 h 357"/>
                <a:gd name="T36" fmla="*/ 173 w 173"/>
                <a:gd name="T37" fmla="*/ 61 h 357"/>
                <a:gd name="T38" fmla="*/ 173 w 173"/>
                <a:gd name="T39" fmla="*/ 69 h 357"/>
                <a:gd name="T40" fmla="*/ 173 w 173"/>
                <a:gd name="T41" fmla="*/ 80 h 357"/>
                <a:gd name="T42" fmla="*/ 173 w 173"/>
                <a:gd name="T43" fmla="*/ 98 h 357"/>
                <a:gd name="T44" fmla="*/ 173 w 173"/>
                <a:gd name="T45" fmla="*/ 109 h 357"/>
                <a:gd name="T46" fmla="*/ 171 w 173"/>
                <a:gd name="T47" fmla="*/ 118 h 357"/>
                <a:gd name="T48" fmla="*/ 167 w 173"/>
                <a:gd name="T49" fmla="*/ 127 h 357"/>
                <a:gd name="T50" fmla="*/ 163 w 173"/>
                <a:gd name="T51" fmla="*/ 135 h 357"/>
                <a:gd name="T52" fmla="*/ 152 w 173"/>
                <a:gd name="T53" fmla="*/ 151 h 357"/>
                <a:gd name="T54" fmla="*/ 140 w 173"/>
                <a:gd name="T55" fmla="*/ 167 h 357"/>
                <a:gd name="T56" fmla="*/ 128 w 173"/>
                <a:gd name="T57" fmla="*/ 183 h 357"/>
                <a:gd name="T58" fmla="*/ 117 w 173"/>
                <a:gd name="T59" fmla="*/ 200 h 357"/>
                <a:gd name="T60" fmla="*/ 112 w 173"/>
                <a:gd name="T61" fmla="*/ 209 h 357"/>
                <a:gd name="T62" fmla="*/ 109 w 173"/>
                <a:gd name="T63" fmla="*/ 219 h 357"/>
                <a:gd name="T64" fmla="*/ 108 w 173"/>
                <a:gd name="T65" fmla="*/ 229 h 357"/>
                <a:gd name="T66" fmla="*/ 107 w 173"/>
                <a:gd name="T67" fmla="*/ 240 h 357"/>
                <a:gd name="T68" fmla="*/ 108 w 173"/>
                <a:gd name="T69" fmla="*/ 273 h 357"/>
                <a:gd name="T70" fmla="*/ 109 w 173"/>
                <a:gd name="T71" fmla="*/ 293 h 357"/>
                <a:gd name="T72" fmla="*/ 110 w 173"/>
                <a:gd name="T73" fmla="*/ 302 h 357"/>
                <a:gd name="T74" fmla="*/ 109 w 173"/>
                <a:gd name="T75" fmla="*/ 313 h 357"/>
                <a:gd name="T76" fmla="*/ 109 w 173"/>
                <a:gd name="T77" fmla="*/ 327 h 357"/>
                <a:gd name="T78" fmla="*/ 107 w 173"/>
                <a:gd name="T79" fmla="*/ 345 h 357"/>
                <a:gd name="T80" fmla="*/ 97 w 173"/>
                <a:gd name="T81" fmla="*/ 346 h 357"/>
                <a:gd name="T82" fmla="*/ 88 w 173"/>
                <a:gd name="T83" fmla="*/ 347 h 357"/>
                <a:gd name="T84" fmla="*/ 79 w 173"/>
                <a:gd name="T85" fmla="*/ 349 h 357"/>
                <a:gd name="T86" fmla="*/ 71 w 173"/>
                <a:gd name="T87" fmla="*/ 351 h 357"/>
                <a:gd name="T88" fmla="*/ 63 w 173"/>
                <a:gd name="T89" fmla="*/ 353 h 357"/>
                <a:gd name="T90" fmla="*/ 55 w 173"/>
                <a:gd name="T91" fmla="*/ 355 h 357"/>
                <a:gd name="T92" fmla="*/ 48 w 173"/>
                <a:gd name="T93" fmla="*/ 357 h 357"/>
                <a:gd name="T94" fmla="*/ 40 w 173"/>
                <a:gd name="T95" fmla="*/ 357 h 357"/>
                <a:gd name="T96" fmla="*/ 40 w 173"/>
                <a:gd name="T97" fmla="*/ 216 h 357"/>
                <a:gd name="T98" fmla="*/ 40 w 173"/>
                <a:gd name="T99" fmla="*/ 206 h 357"/>
                <a:gd name="T100" fmla="*/ 39 w 173"/>
                <a:gd name="T101" fmla="*/ 197 h 357"/>
                <a:gd name="T102" fmla="*/ 37 w 173"/>
                <a:gd name="T103" fmla="*/ 188 h 357"/>
                <a:gd name="T104" fmla="*/ 34 w 173"/>
                <a:gd name="T105" fmla="*/ 179 h 357"/>
                <a:gd name="T106" fmla="*/ 28 w 173"/>
                <a:gd name="T107" fmla="*/ 161 h 357"/>
                <a:gd name="T108" fmla="*/ 20 w 173"/>
                <a:gd name="T109" fmla="*/ 143 h 357"/>
                <a:gd name="T110" fmla="*/ 13 w 173"/>
                <a:gd name="T111" fmla="*/ 126 h 357"/>
                <a:gd name="T112" fmla="*/ 7 w 173"/>
                <a:gd name="T113" fmla="*/ 110 h 357"/>
                <a:gd name="T114" fmla="*/ 4 w 173"/>
                <a:gd name="T115" fmla="*/ 101 h 357"/>
                <a:gd name="T116" fmla="*/ 3 w 173"/>
                <a:gd name="T117" fmla="*/ 94 h 357"/>
                <a:gd name="T118" fmla="*/ 0 w 173"/>
                <a:gd name="T119" fmla="*/ 87 h 357"/>
                <a:gd name="T120" fmla="*/ 0 w 173"/>
                <a:gd name="T121" fmla="*/ 80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0" name="Freeform 270">
              <a:extLst>
                <a:ext uri="{FF2B5EF4-FFF2-40B4-BE49-F238E27FC236}">
                  <a16:creationId xmlns:a16="http://schemas.microsoft.com/office/drawing/2014/main" id="{9D2BE9F3-6A56-45DA-884C-9BAC7748E621}"/>
                </a:ext>
              </a:extLst>
            </p:cNvPr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6291263" y="4479926"/>
              <a:ext cx="25400" cy="60325"/>
            </a:xfrm>
            <a:custGeom>
              <a:avLst/>
              <a:gdLst>
                <a:gd name="T0" fmla="*/ 10 w 50"/>
                <a:gd name="T1" fmla="*/ 0 h 74"/>
                <a:gd name="T2" fmla="*/ 6 w 50"/>
                <a:gd name="T3" fmla="*/ 14 h 74"/>
                <a:gd name="T4" fmla="*/ 2 w 50"/>
                <a:gd name="T5" fmla="*/ 26 h 74"/>
                <a:gd name="T6" fmla="*/ 0 w 50"/>
                <a:gd name="T7" fmla="*/ 36 h 74"/>
                <a:gd name="T8" fmla="*/ 0 w 50"/>
                <a:gd name="T9" fmla="*/ 43 h 74"/>
                <a:gd name="T10" fmla="*/ 0 w 50"/>
                <a:gd name="T11" fmla="*/ 50 h 74"/>
                <a:gd name="T12" fmla="*/ 2 w 50"/>
                <a:gd name="T13" fmla="*/ 56 h 74"/>
                <a:gd name="T14" fmla="*/ 6 w 50"/>
                <a:gd name="T15" fmla="*/ 61 h 74"/>
                <a:gd name="T16" fmla="*/ 10 w 50"/>
                <a:gd name="T17" fmla="*/ 68 h 74"/>
                <a:gd name="T18" fmla="*/ 50 w 50"/>
                <a:gd name="T19" fmla="*/ 74 h 74"/>
                <a:gd name="T20" fmla="*/ 50 w 50"/>
                <a:gd name="T21" fmla="*/ 51 h 74"/>
                <a:gd name="T22" fmla="*/ 50 w 50"/>
                <a:gd name="T23" fmla="*/ 34 h 74"/>
                <a:gd name="T24" fmla="*/ 50 w 50"/>
                <a:gd name="T25" fmla="*/ 19 h 74"/>
                <a:gd name="T26" fmla="*/ 50 w 50"/>
                <a:gd name="T27" fmla="*/ 0 h 74"/>
                <a:gd name="T28" fmla="*/ 38 w 50"/>
                <a:gd name="T29" fmla="*/ 0 h 74"/>
                <a:gd name="T30" fmla="*/ 25 w 50"/>
                <a:gd name="T31" fmla="*/ 0 h 74"/>
                <a:gd name="T32" fmla="*/ 14 w 50"/>
                <a:gd name="T33" fmla="*/ 0 h 74"/>
                <a:gd name="T34" fmla="*/ 10 w 50"/>
                <a:gd name="T3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1" name="Freeform 271">
              <a:extLst>
                <a:ext uri="{FF2B5EF4-FFF2-40B4-BE49-F238E27FC236}">
                  <a16:creationId xmlns:a16="http://schemas.microsoft.com/office/drawing/2014/main" id="{E6DEEFD3-93C4-4801-ACA9-7A8F57C02544}"/>
                </a:ext>
              </a:extLst>
            </p:cNvPr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6186488" y="4576763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2" name="Freeform 272">
              <a:extLst>
                <a:ext uri="{FF2B5EF4-FFF2-40B4-BE49-F238E27FC236}">
                  <a16:creationId xmlns:a16="http://schemas.microsoft.com/office/drawing/2014/main" id="{628491A4-D419-4879-906A-FC447D14A539}"/>
                </a:ext>
              </a:extLst>
            </p:cNvPr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8404225" y="2290763"/>
              <a:ext cx="120650" cy="171450"/>
            </a:xfrm>
            <a:custGeom>
              <a:avLst/>
              <a:gdLst>
                <a:gd name="T0" fmla="*/ 240 w 266"/>
                <a:gd name="T1" fmla="*/ 9 h 326"/>
                <a:gd name="T2" fmla="*/ 240 w 266"/>
                <a:gd name="T3" fmla="*/ 28 h 326"/>
                <a:gd name="T4" fmla="*/ 249 w 266"/>
                <a:gd name="T5" fmla="*/ 42 h 326"/>
                <a:gd name="T6" fmla="*/ 245 w 266"/>
                <a:gd name="T7" fmla="*/ 55 h 326"/>
                <a:gd name="T8" fmla="*/ 225 w 266"/>
                <a:gd name="T9" fmla="*/ 50 h 326"/>
                <a:gd name="T10" fmla="*/ 210 w 266"/>
                <a:gd name="T11" fmla="*/ 51 h 326"/>
                <a:gd name="T12" fmla="*/ 195 w 266"/>
                <a:gd name="T13" fmla="*/ 65 h 326"/>
                <a:gd name="T14" fmla="*/ 193 w 266"/>
                <a:gd name="T15" fmla="*/ 78 h 326"/>
                <a:gd name="T16" fmla="*/ 198 w 266"/>
                <a:gd name="T17" fmla="*/ 89 h 326"/>
                <a:gd name="T18" fmla="*/ 215 w 266"/>
                <a:gd name="T19" fmla="*/ 110 h 326"/>
                <a:gd name="T20" fmla="*/ 224 w 266"/>
                <a:gd name="T21" fmla="*/ 122 h 326"/>
                <a:gd name="T22" fmla="*/ 225 w 266"/>
                <a:gd name="T23" fmla="*/ 133 h 326"/>
                <a:gd name="T24" fmla="*/ 222 w 266"/>
                <a:gd name="T25" fmla="*/ 143 h 326"/>
                <a:gd name="T26" fmla="*/ 207 w 266"/>
                <a:gd name="T27" fmla="*/ 154 h 326"/>
                <a:gd name="T28" fmla="*/ 200 w 266"/>
                <a:gd name="T29" fmla="*/ 160 h 326"/>
                <a:gd name="T30" fmla="*/ 181 w 266"/>
                <a:gd name="T31" fmla="*/ 166 h 326"/>
                <a:gd name="T32" fmla="*/ 164 w 266"/>
                <a:gd name="T33" fmla="*/ 178 h 326"/>
                <a:gd name="T34" fmla="*/ 160 w 266"/>
                <a:gd name="T35" fmla="*/ 191 h 326"/>
                <a:gd name="T36" fmla="*/ 173 w 266"/>
                <a:gd name="T37" fmla="*/ 207 h 326"/>
                <a:gd name="T38" fmla="*/ 189 w 266"/>
                <a:gd name="T39" fmla="*/ 215 h 326"/>
                <a:gd name="T40" fmla="*/ 214 w 266"/>
                <a:gd name="T41" fmla="*/ 227 h 326"/>
                <a:gd name="T42" fmla="*/ 245 w 266"/>
                <a:gd name="T43" fmla="*/ 259 h 326"/>
                <a:gd name="T44" fmla="*/ 251 w 266"/>
                <a:gd name="T45" fmla="*/ 285 h 326"/>
                <a:gd name="T46" fmla="*/ 220 w 266"/>
                <a:gd name="T47" fmla="*/ 291 h 326"/>
                <a:gd name="T48" fmla="*/ 207 w 266"/>
                <a:gd name="T49" fmla="*/ 298 h 326"/>
                <a:gd name="T50" fmla="*/ 198 w 266"/>
                <a:gd name="T51" fmla="*/ 312 h 326"/>
                <a:gd name="T52" fmla="*/ 189 w 266"/>
                <a:gd name="T53" fmla="*/ 326 h 326"/>
                <a:gd name="T54" fmla="*/ 170 w 266"/>
                <a:gd name="T55" fmla="*/ 321 h 326"/>
                <a:gd name="T56" fmla="*/ 167 w 266"/>
                <a:gd name="T57" fmla="*/ 316 h 326"/>
                <a:gd name="T58" fmla="*/ 154 w 266"/>
                <a:gd name="T59" fmla="*/ 310 h 326"/>
                <a:gd name="T60" fmla="*/ 139 w 266"/>
                <a:gd name="T61" fmla="*/ 301 h 326"/>
                <a:gd name="T62" fmla="*/ 126 w 266"/>
                <a:gd name="T63" fmla="*/ 295 h 326"/>
                <a:gd name="T64" fmla="*/ 98 w 266"/>
                <a:gd name="T65" fmla="*/ 290 h 326"/>
                <a:gd name="T66" fmla="*/ 63 w 266"/>
                <a:gd name="T67" fmla="*/ 277 h 326"/>
                <a:gd name="T68" fmla="*/ 54 w 266"/>
                <a:gd name="T69" fmla="*/ 268 h 326"/>
                <a:gd name="T70" fmla="*/ 55 w 266"/>
                <a:gd name="T71" fmla="*/ 256 h 326"/>
                <a:gd name="T72" fmla="*/ 70 w 266"/>
                <a:gd name="T73" fmla="*/ 244 h 326"/>
                <a:gd name="T74" fmla="*/ 59 w 266"/>
                <a:gd name="T75" fmla="*/ 221 h 326"/>
                <a:gd name="T76" fmla="*/ 34 w 266"/>
                <a:gd name="T77" fmla="*/ 194 h 326"/>
                <a:gd name="T78" fmla="*/ 13 w 266"/>
                <a:gd name="T79" fmla="*/ 182 h 326"/>
                <a:gd name="T80" fmla="*/ 4 w 266"/>
                <a:gd name="T81" fmla="*/ 171 h 326"/>
                <a:gd name="T82" fmla="*/ 19 w 266"/>
                <a:gd name="T83" fmla="*/ 152 h 326"/>
                <a:gd name="T84" fmla="*/ 54 w 266"/>
                <a:gd name="T85" fmla="*/ 124 h 326"/>
                <a:gd name="T86" fmla="*/ 73 w 266"/>
                <a:gd name="T87" fmla="*/ 105 h 326"/>
                <a:gd name="T88" fmla="*/ 88 w 266"/>
                <a:gd name="T89" fmla="*/ 92 h 326"/>
                <a:gd name="T90" fmla="*/ 110 w 266"/>
                <a:gd name="T91" fmla="*/ 88 h 326"/>
                <a:gd name="T92" fmla="*/ 144 w 266"/>
                <a:gd name="T93" fmla="*/ 70 h 326"/>
                <a:gd name="T94" fmla="*/ 168 w 266"/>
                <a:gd name="T95" fmla="*/ 46 h 326"/>
                <a:gd name="T96" fmla="*/ 191 w 266"/>
                <a:gd name="T97" fmla="*/ 21 h 326"/>
                <a:gd name="T98" fmla="*/ 220 w 266"/>
                <a:gd name="T99" fmla="*/ 4 h 326"/>
                <a:gd name="T100" fmla="*/ 238 w 266"/>
                <a:gd name="T101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3" name="Freeform 273">
              <a:extLst>
                <a:ext uri="{FF2B5EF4-FFF2-40B4-BE49-F238E27FC236}">
                  <a16:creationId xmlns:a16="http://schemas.microsoft.com/office/drawing/2014/main" id="{1CC5A826-B900-4EA0-B5D6-5E83CC216693}"/>
                </a:ext>
              </a:extLst>
            </p:cNvPr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7475539" y="2705101"/>
              <a:ext cx="206375" cy="123825"/>
            </a:xfrm>
            <a:custGeom>
              <a:avLst/>
              <a:gdLst>
                <a:gd name="T0" fmla="*/ 86 w 471"/>
                <a:gd name="T1" fmla="*/ 0 h 237"/>
                <a:gd name="T2" fmla="*/ 92 w 471"/>
                <a:gd name="T3" fmla="*/ 7 h 237"/>
                <a:gd name="T4" fmla="*/ 102 w 471"/>
                <a:gd name="T5" fmla="*/ 13 h 237"/>
                <a:gd name="T6" fmla="*/ 125 w 471"/>
                <a:gd name="T7" fmla="*/ 23 h 237"/>
                <a:gd name="T8" fmla="*/ 159 w 471"/>
                <a:gd name="T9" fmla="*/ 37 h 237"/>
                <a:gd name="T10" fmla="*/ 223 w 471"/>
                <a:gd name="T11" fmla="*/ 77 h 237"/>
                <a:gd name="T12" fmla="*/ 253 w 471"/>
                <a:gd name="T13" fmla="*/ 97 h 237"/>
                <a:gd name="T14" fmla="*/ 283 w 471"/>
                <a:gd name="T15" fmla="*/ 113 h 237"/>
                <a:gd name="T16" fmla="*/ 316 w 471"/>
                <a:gd name="T17" fmla="*/ 127 h 237"/>
                <a:gd name="T18" fmla="*/ 355 w 471"/>
                <a:gd name="T19" fmla="*/ 139 h 237"/>
                <a:gd name="T20" fmla="*/ 399 w 471"/>
                <a:gd name="T21" fmla="*/ 146 h 237"/>
                <a:gd name="T22" fmla="*/ 451 w 471"/>
                <a:gd name="T23" fmla="*/ 148 h 237"/>
                <a:gd name="T24" fmla="*/ 452 w 471"/>
                <a:gd name="T25" fmla="*/ 187 h 237"/>
                <a:gd name="T26" fmla="*/ 459 w 471"/>
                <a:gd name="T27" fmla="*/ 211 h 237"/>
                <a:gd name="T28" fmla="*/ 467 w 471"/>
                <a:gd name="T29" fmla="*/ 227 h 237"/>
                <a:gd name="T30" fmla="*/ 467 w 471"/>
                <a:gd name="T31" fmla="*/ 236 h 237"/>
                <a:gd name="T32" fmla="*/ 451 w 471"/>
                <a:gd name="T33" fmla="*/ 236 h 237"/>
                <a:gd name="T34" fmla="*/ 416 w 471"/>
                <a:gd name="T35" fmla="*/ 231 h 237"/>
                <a:gd name="T36" fmla="*/ 362 w 471"/>
                <a:gd name="T37" fmla="*/ 219 h 237"/>
                <a:gd name="T38" fmla="*/ 315 w 471"/>
                <a:gd name="T39" fmla="*/ 207 h 237"/>
                <a:gd name="T40" fmla="*/ 294 w 471"/>
                <a:gd name="T41" fmla="*/ 203 h 237"/>
                <a:gd name="T42" fmla="*/ 287 w 471"/>
                <a:gd name="T43" fmla="*/ 199 h 237"/>
                <a:gd name="T44" fmla="*/ 277 w 471"/>
                <a:gd name="T45" fmla="*/ 190 h 237"/>
                <a:gd name="T46" fmla="*/ 267 w 471"/>
                <a:gd name="T47" fmla="*/ 178 h 237"/>
                <a:gd name="T48" fmla="*/ 255 w 471"/>
                <a:gd name="T49" fmla="*/ 166 h 237"/>
                <a:gd name="T50" fmla="*/ 240 w 471"/>
                <a:gd name="T51" fmla="*/ 159 h 237"/>
                <a:gd name="T52" fmla="*/ 227 w 471"/>
                <a:gd name="T53" fmla="*/ 159 h 237"/>
                <a:gd name="T54" fmla="*/ 205 w 471"/>
                <a:gd name="T55" fmla="*/ 163 h 237"/>
                <a:gd name="T56" fmla="*/ 183 w 471"/>
                <a:gd name="T57" fmla="*/ 167 h 237"/>
                <a:gd name="T58" fmla="*/ 169 w 471"/>
                <a:gd name="T59" fmla="*/ 168 h 237"/>
                <a:gd name="T60" fmla="*/ 158 w 471"/>
                <a:gd name="T61" fmla="*/ 164 h 237"/>
                <a:gd name="T62" fmla="*/ 148 w 471"/>
                <a:gd name="T63" fmla="*/ 155 h 237"/>
                <a:gd name="T64" fmla="*/ 139 w 471"/>
                <a:gd name="T65" fmla="*/ 148 h 237"/>
                <a:gd name="T66" fmla="*/ 122 w 471"/>
                <a:gd name="T67" fmla="*/ 145 h 237"/>
                <a:gd name="T68" fmla="*/ 92 w 471"/>
                <a:gd name="T69" fmla="*/ 135 h 237"/>
                <a:gd name="T70" fmla="*/ 48 w 471"/>
                <a:gd name="T71" fmla="*/ 117 h 237"/>
                <a:gd name="T72" fmla="*/ 12 w 471"/>
                <a:gd name="T73" fmla="*/ 96 h 237"/>
                <a:gd name="T74" fmla="*/ 7 w 471"/>
                <a:gd name="T75" fmla="*/ 0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4" name="Freeform 274">
              <a:extLst>
                <a:ext uri="{FF2B5EF4-FFF2-40B4-BE49-F238E27FC236}">
                  <a16:creationId xmlns:a16="http://schemas.microsoft.com/office/drawing/2014/main" id="{B4127D2C-E0D7-4C4A-8C06-DF69F17D24E2}"/>
                </a:ext>
              </a:extLst>
            </p:cNvPr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7691439" y="2760664"/>
              <a:ext cx="73025" cy="65087"/>
            </a:xfrm>
            <a:custGeom>
              <a:avLst/>
              <a:gdLst>
                <a:gd name="T0" fmla="*/ 167 w 167"/>
                <a:gd name="T1" fmla="*/ 43 h 123"/>
                <a:gd name="T2" fmla="*/ 164 w 167"/>
                <a:gd name="T3" fmla="*/ 54 h 123"/>
                <a:gd name="T4" fmla="*/ 161 w 167"/>
                <a:gd name="T5" fmla="*/ 66 h 123"/>
                <a:gd name="T6" fmla="*/ 155 w 167"/>
                <a:gd name="T7" fmla="*/ 79 h 123"/>
                <a:gd name="T8" fmla="*/ 150 w 167"/>
                <a:gd name="T9" fmla="*/ 93 h 123"/>
                <a:gd name="T10" fmla="*/ 146 w 167"/>
                <a:gd name="T11" fmla="*/ 99 h 123"/>
                <a:gd name="T12" fmla="*/ 142 w 167"/>
                <a:gd name="T13" fmla="*/ 105 h 123"/>
                <a:gd name="T14" fmla="*/ 138 w 167"/>
                <a:gd name="T15" fmla="*/ 110 h 123"/>
                <a:gd name="T16" fmla="*/ 132 w 167"/>
                <a:gd name="T17" fmla="*/ 114 h 123"/>
                <a:gd name="T18" fmla="*/ 127 w 167"/>
                <a:gd name="T19" fmla="*/ 118 h 123"/>
                <a:gd name="T20" fmla="*/ 121 w 167"/>
                <a:gd name="T21" fmla="*/ 121 h 123"/>
                <a:gd name="T22" fmla="*/ 115 w 167"/>
                <a:gd name="T23" fmla="*/ 122 h 123"/>
                <a:gd name="T24" fmla="*/ 107 w 167"/>
                <a:gd name="T25" fmla="*/ 123 h 123"/>
                <a:gd name="T26" fmla="*/ 100 w 167"/>
                <a:gd name="T27" fmla="*/ 122 h 123"/>
                <a:gd name="T28" fmla="*/ 92 w 167"/>
                <a:gd name="T29" fmla="*/ 119 h 123"/>
                <a:gd name="T30" fmla="*/ 87 w 167"/>
                <a:gd name="T31" fmla="*/ 116 h 123"/>
                <a:gd name="T32" fmla="*/ 84 w 167"/>
                <a:gd name="T33" fmla="*/ 113 h 123"/>
                <a:gd name="T34" fmla="*/ 82 w 167"/>
                <a:gd name="T35" fmla="*/ 109 h 123"/>
                <a:gd name="T36" fmla="*/ 81 w 167"/>
                <a:gd name="T37" fmla="*/ 105 h 123"/>
                <a:gd name="T38" fmla="*/ 71 w 167"/>
                <a:gd name="T39" fmla="*/ 104 h 123"/>
                <a:gd name="T40" fmla="*/ 61 w 167"/>
                <a:gd name="T41" fmla="*/ 103 h 123"/>
                <a:gd name="T42" fmla="*/ 51 w 167"/>
                <a:gd name="T43" fmla="*/ 101 h 123"/>
                <a:gd name="T44" fmla="*/ 41 w 167"/>
                <a:gd name="T45" fmla="*/ 98 h 123"/>
                <a:gd name="T46" fmla="*/ 21 w 167"/>
                <a:gd name="T47" fmla="*/ 92 h 123"/>
                <a:gd name="T48" fmla="*/ 0 w 167"/>
                <a:gd name="T49" fmla="*/ 86 h 123"/>
                <a:gd name="T50" fmla="*/ 2 w 167"/>
                <a:gd name="T51" fmla="*/ 77 h 123"/>
                <a:gd name="T52" fmla="*/ 5 w 167"/>
                <a:gd name="T53" fmla="*/ 67 h 123"/>
                <a:gd name="T54" fmla="*/ 9 w 167"/>
                <a:gd name="T55" fmla="*/ 56 h 123"/>
                <a:gd name="T56" fmla="*/ 15 w 167"/>
                <a:gd name="T57" fmla="*/ 43 h 123"/>
                <a:gd name="T58" fmla="*/ 20 w 167"/>
                <a:gd name="T59" fmla="*/ 43 h 123"/>
                <a:gd name="T60" fmla="*/ 26 w 167"/>
                <a:gd name="T61" fmla="*/ 42 h 123"/>
                <a:gd name="T62" fmla="*/ 30 w 167"/>
                <a:gd name="T63" fmla="*/ 41 h 123"/>
                <a:gd name="T64" fmla="*/ 33 w 167"/>
                <a:gd name="T65" fmla="*/ 38 h 123"/>
                <a:gd name="T66" fmla="*/ 40 w 167"/>
                <a:gd name="T67" fmla="*/ 33 h 123"/>
                <a:gd name="T68" fmla="*/ 45 w 167"/>
                <a:gd name="T69" fmla="*/ 26 h 123"/>
                <a:gd name="T70" fmla="*/ 52 w 167"/>
                <a:gd name="T71" fmla="*/ 12 h 123"/>
                <a:gd name="T72" fmla="*/ 61 w 167"/>
                <a:gd name="T73" fmla="*/ 0 h 123"/>
                <a:gd name="T74" fmla="*/ 64 w 167"/>
                <a:gd name="T75" fmla="*/ 4 h 123"/>
                <a:gd name="T76" fmla="*/ 67 w 167"/>
                <a:gd name="T77" fmla="*/ 7 h 123"/>
                <a:gd name="T78" fmla="*/ 73 w 167"/>
                <a:gd name="T79" fmla="*/ 11 h 123"/>
                <a:gd name="T80" fmla="*/ 78 w 167"/>
                <a:gd name="T81" fmla="*/ 14 h 123"/>
                <a:gd name="T82" fmla="*/ 92 w 167"/>
                <a:gd name="T83" fmla="*/ 21 h 123"/>
                <a:gd name="T84" fmla="*/ 107 w 167"/>
                <a:gd name="T85" fmla="*/ 28 h 123"/>
                <a:gd name="T86" fmla="*/ 122 w 167"/>
                <a:gd name="T87" fmla="*/ 35 h 123"/>
                <a:gd name="T88" fmla="*/ 139 w 167"/>
                <a:gd name="T89" fmla="*/ 39 h 123"/>
                <a:gd name="T90" fmla="*/ 153 w 167"/>
                <a:gd name="T91" fmla="*/ 42 h 123"/>
                <a:gd name="T92" fmla="*/ 167 w 167"/>
                <a:gd name="T93" fmla="*/ 4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5" name="Freeform 275">
              <a:extLst>
                <a:ext uri="{FF2B5EF4-FFF2-40B4-BE49-F238E27FC236}">
                  <a16:creationId xmlns:a16="http://schemas.microsoft.com/office/drawing/2014/main" id="{CA925A68-F86F-4D12-8A44-2FD23C5F4F14}"/>
                </a:ext>
              </a:extLst>
            </p:cNvPr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7681913" y="2832100"/>
              <a:ext cx="133350" cy="166688"/>
            </a:xfrm>
            <a:custGeom>
              <a:avLst/>
              <a:gdLst>
                <a:gd name="T0" fmla="*/ 259 w 306"/>
                <a:gd name="T1" fmla="*/ 160 h 321"/>
                <a:gd name="T2" fmla="*/ 252 w 306"/>
                <a:gd name="T3" fmla="*/ 173 h 321"/>
                <a:gd name="T4" fmla="*/ 243 w 306"/>
                <a:gd name="T5" fmla="*/ 182 h 321"/>
                <a:gd name="T6" fmla="*/ 233 w 306"/>
                <a:gd name="T7" fmla="*/ 186 h 321"/>
                <a:gd name="T8" fmla="*/ 223 w 306"/>
                <a:gd name="T9" fmla="*/ 184 h 321"/>
                <a:gd name="T10" fmla="*/ 214 w 306"/>
                <a:gd name="T11" fmla="*/ 178 h 321"/>
                <a:gd name="T12" fmla="*/ 209 w 306"/>
                <a:gd name="T13" fmla="*/ 169 h 321"/>
                <a:gd name="T14" fmla="*/ 206 w 306"/>
                <a:gd name="T15" fmla="*/ 160 h 321"/>
                <a:gd name="T16" fmla="*/ 209 w 306"/>
                <a:gd name="T17" fmla="*/ 148 h 321"/>
                <a:gd name="T18" fmla="*/ 213 w 306"/>
                <a:gd name="T19" fmla="*/ 136 h 321"/>
                <a:gd name="T20" fmla="*/ 230 w 306"/>
                <a:gd name="T21" fmla="*/ 114 h 321"/>
                <a:gd name="T22" fmla="*/ 246 w 306"/>
                <a:gd name="T23" fmla="*/ 93 h 321"/>
                <a:gd name="T24" fmla="*/ 250 w 306"/>
                <a:gd name="T25" fmla="*/ 82 h 321"/>
                <a:gd name="T26" fmla="*/ 253 w 306"/>
                <a:gd name="T27" fmla="*/ 69 h 321"/>
                <a:gd name="T28" fmla="*/ 129 w 306"/>
                <a:gd name="T29" fmla="*/ 68 h 321"/>
                <a:gd name="T30" fmla="*/ 119 w 306"/>
                <a:gd name="T31" fmla="*/ 59 h 321"/>
                <a:gd name="T32" fmla="*/ 112 w 306"/>
                <a:gd name="T33" fmla="*/ 45 h 321"/>
                <a:gd name="T34" fmla="*/ 108 w 306"/>
                <a:gd name="T35" fmla="*/ 28 h 321"/>
                <a:gd name="T36" fmla="*/ 101 w 306"/>
                <a:gd name="T37" fmla="*/ 19 h 321"/>
                <a:gd name="T38" fmla="*/ 90 w 306"/>
                <a:gd name="T39" fmla="*/ 17 h 321"/>
                <a:gd name="T40" fmla="*/ 80 w 306"/>
                <a:gd name="T41" fmla="*/ 12 h 321"/>
                <a:gd name="T42" fmla="*/ 75 w 306"/>
                <a:gd name="T43" fmla="*/ 4 h 321"/>
                <a:gd name="T44" fmla="*/ 65 w 306"/>
                <a:gd name="T45" fmla="*/ 0 h 321"/>
                <a:gd name="T46" fmla="*/ 49 w 306"/>
                <a:gd name="T47" fmla="*/ 0 h 321"/>
                <a:gd name="T48" fmla="*/ 34 w 306"/>
                <a:gd name="T49" fmla="*/ 1 h 321"/>
                <a:gd name="T50" fmla="*/ 22 w 306"/>
                <a:gd name="T51" fmla="*/ 5 h 321"/>
                <a:gd name="T52" fmla="*/ 10 w 306"/>
                <a:gd name="T53" fmla="*/ 14 h 321"/>
                <a:gd name="T54" fmla="*/ 1 w 306"/>
                <a:gd name="T55" fmla="*/ 25 h 321"/>
                <a:gd name="T56" fmla="*/ 2 w 306"/>
                <a:gd name="T57" fmla="*/ 35 h 321"/>
                <a:gd name="T58" fmla="*/ 15 w 306"/>
                <a:gd name="T59" fmla="*/ 46 h 321"/>
                <a:gd name="T60" fmla="*/ 35 w 306"/>
                <a:gd name="T61" fmla="*/ 58 h 321"/>
                <a:gd name="T62" fmla="*/ 54 w 306"/>
                <a:gd name="T63" fmla="*/ 67 h 321"/>
                <a:gd name="T64" fmla="*/ 47 w 306"/>
                <a:gd name="T65" fmla="*/ 79 h 321"/>
                <a:gd name="T66" fmla="*/ 25 w 306"/>
                <a:gd name="T67" fmla="*/ 97 h 321"/>
                <a:gd name="T68" fmla="*/ 17 w 306"/>
                <a:gd name="T69" fmla="*/ 107 h 321"/>
                <a:gd name="T70" fmla="*/ 14 w 306"/>
                <a:gd name="T71" fmla="*/ 114 h 321"/>
                <a:gd name="T72" fmla="*/ 14 w 306"/>
                <a:gd name="T73" fmla="*/ 122 h 321"/>
                <a:gd name="T74" fmla="*/ 18 w 306"/>
                <a:gd name="T75" fmla="*/ 129 h 321"/>
                <a:gd name="T76" fmla="*/ 28 w 306"/>
                <a:gd name="T77" fmla="*/ 141 h 321"/>
                <a:gd name="T78" fmla="*/ 47 w 306"/>
                <a:gd name="T79" fmla="*/ 156 h 321"/>
                <a:gd name="T80" fmla="*/ 64 w 306"/>
                <a:gd name="T81" fmla="*/ 164 h 321"/>
                <a:gd name="T82" fmla="*/ 75 w 306"/>
                <a:gd name="T83" fmla="*/ 166 h 321"/>
                <a:gd name="T84" fmla="*/ 107 w 306"/>
                <a:gd name="T85" fmla="*/ 271 h 321"/>
                <a:gd name="T86" fmla="*/ 108 w 306"/>
                <a:gd name="T87" fmla="*/ 263 h 321"/>
                <a:gd name="T88" fmla="*/ 112 w 306"/>
                <a:gd name="T89" fmla="*/ 256 h 321"/>
                <a:gd name="T90" fmla="*/ 127 w 306"/>
                <a:gd name="T91" fmla="*/ 246 h 321"/>
                <a:gd name="T92" fmla="*/ 148 w 306"/>
                <a:gd name="T93" fmla="*/ 240 h 321"/>
                <a:gd name="T94" fmla="*/ 174 w 306"/>
                <a:gd name="T95" fmla="*/ 235 h 321"/>
                <a:gd name="T96" fmla="*/ 174 w 306"/>
                <a:gd name="T97" fmla="*/ 210 h 321"/>
                <a:gd name="T98" fmla="*/ 183 w 306"/>
                <a:gd name="T99" fmla="*/ 212 h 321"/>
                <a:gd name="T100" fmla="*/ 193 w 306"/>
                <a:gd name="T101" fmla="*/ 212 h 321"/>
                <a:gd name="T102" fmla="*/ 213 w 306"/>
                <a:gd name="T103" fmla="*/ 210 h 321"/>
                <a:gd name="T104" fmla="*/ 232 w 306"/>
                <a:gd name="T105" fmla="*/ 261 h 321"/>
                <a:gd name="T106" fmla="*/ 259 w 306"/>
                <a:gd name="T107" fmla="*/ 321 h 321"/>
                <a:gd name="T108" fmla="*/ 272 w 306"/>
                <a:gd name="T109" fmla="*/ 311 h 321"/>
                <a:gd name="T110" fmla="*/ 282 w 306"/>
                <a:gd name="T111" fmla="*/ 302 h 321"/>
                <a:gd name="T112" fmla="*/ 295 w 306"/>
                <a:gd name="T113" fmla="*/ 280 h 321"/>
                <a:gd name="T114" fmla="*/ 306 w 306"/>
                <a:gd name="T115" fmla="*/ 235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6" name="Freeform 276">
              <a:extLst>
                <a:ext uri="{FF2B5EF4-FFF2-40B4-BE49-F238E27FC236}">
                  <a16:creationId xmlns:a16="http://schemas.microsoft.com/office/drawing/2014/main" id="{E6557B38-CB47-4C32-B23A-BCEC1F8465A1}"/>
                </a:ext>
              </a:extLst>
            </p:cNvPr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7999413" y="2947989"/>
              <a:ext cx="201612" cy="269875"/>
            </a:xfrm>
            <a:custGeom>
              <a:avLst/>
              <a:gdLst>
                <a:gd name="T0" fmla="*/ 94 w 471"/>
                <a:gd name="T1" fmla="*/ 12 h 518"/>
                <a:gd name="T2" fmla="*/ 67 w 471"/>
                <a:gd name="T3" fmla="*/ 32 h 518"/>
                <a:gd name="T4" fmla="*/ 40 w 471"/>
                <a:gd name="T5" fmla="*/ 49 h 518"/>
                <a:gd name="T6" fmla="*/ 27 w 471"/>
                <a:gd name="T7" fmla="*/ 82 h 518"/>
                <a:gd name="T8" fmla="*/ 8 w 471"/>
                <a:gd name="T9" fmla="*/ 118 h 518"/>
                <a:gd name="T10" fmla="*/ 7 w 471"/>
                <a:gd name="T11" fmla="*/ 136 h 518"/>
                <a:gd name="T12" fmla="*/ 30 w 471"/>
                <a:gd name="T13" fmla="*/ 153 h 518"/>
                <a:gd name="T14" fmla="*/ 50 w 471"/>
                <a:gd name="T15" fmla="*/ 168 h 518"/>
                <a:gd name="T16" fmla="*/ 62 w 471"/>
                <a:gd name="T17" fmla="*/ 172 h 518"/>
                <a:gd name="T18" fmla="*/ 75 w 471"/>
                <a:gd name="T19" fmla="*/ 211 h 518"/>
                <a:gd name="T20" fmla="*/ 84 w 471"/>
                <a:gd name="T21" fmla="*/ 272 h 518"/>
                <a:gd name="T22" fmla="*/ 94 w 471"/>
                <a:gd name="T23" fmla="*/ 299 h 518"/>
                <a:gd name="T24" fmla="*/ 104 w 471"/>
                <a:gd name="T25" fmla="*/ 302 h 518"/>
                <a:gd name="T26" fmla="*/ 112 w 471"/>
                <a:gd name="T27" fmla="*/ 297 h 518"/>
                <a:gd name="T28" fmla="*/ 128 w 471"/>
                <a:gd name="T29" fmla="*/ 268 h 518"/>
                <a:gd name="T30" fmla="*/ 145 w 471"/>
                <a:gd name="T31" fmla="*/ 262 h 518"/>
                <a:gd name="T32" fmla="*/ 160 w 471"/>
                <a:gd name="T33" fmla="*/ 272 h 518"/>
                <a:gd name="T34" fmla="*/ 173 w 471"/>
                <a:gd name="T35" fmla="*/ 277 h 518"/>
                <a:gd name="T36" fmla="*/ 183 w 471"/>
                <a:gd name="T37" fmla="*/ 274 h 518"/>
                <a:gd name="T38" fmla="*/ 192 w 471"/>
                <a:gd name="T39" fmla="*/ 259 h 518"/>
                <a:gd name="T40" fmla="*/ 203 w 471"/>
                <a:gd name="T41" fmla="*/ 244 h 518"/>
                <a:gd name="T42" fmla="*/ 212 w 471"/>
                <a:gd name="T43" fmla="*/ 241 h 518"/>
                <a:gd name="T44" fmla="*/ 241 w 471"/>
                <a:gd name="T45" fmla="*/ 247 h 518"/>
                <a:gd name="T46" fmla="*/ 259 w 471"/>
                <a:gd name="T47" fmla="*/ 271 h 518"/>
                <a:gd name="T48" fmla="*/ 308 w 471"/>
                <a:gd name="T49" fmla="*/ 336 h 518"/>
                <a:gd name="T50" fmla="*/ 341 w 471"/>
                <a:gd name="T51" fmla="*/ 382 h 518"/>
                <a:gd name="T52" fmla="*/ 358 w 471"/>
                <a:gd name="T53" fmla="*/ 419 h 518"/>
                <a:gd name="T54" fmla="*/ 366 w 471"/>
                <a:gd name="T55" fmla="*/ 457 h 518"/>
                <a:gd name="T56" fmla="*/ 359 w 471"/>
                <a:gd name="T57" fmla="*/ 470 h 518"/>
                <a:gd name="T58" fmla="*/ 339 w 471"/>
                <a:gd name="T59" fmla="*/ 487 h 518"/>
                <a:gd name="T60" fmla="*/ 363 w 471"/>
                <a:gd name="T61" fmla="*/ 496 h 518"/>
                <a:gd name="T62" fmla="*/ 392 w 471"/>
                <a:gd name="T63" fmla="*/ 518 h 518"/>
                <a:gd name="T64" fmla="*/ 401 w 471"/>
                <a:gd name="T65" fmla="*/ 499 h 518"/>
                <a:gd name="T66" fmla="*/ 413 w 471"/>
                <a:gd name="T67" fmla="*/ 489 h 518"/>
                <a:gd name="T68" fmla="*/ 444 w 471"/>
                <a:gd name="T69" fmla="*/ 483 h 518"/>
                <a:gd name="T70" fmla="*/ 468 w 471"/>
                <a:gd name="T71" fmla="*/ 438 h 518"/>
                <a:gd name="T72" fmla="*/ 449 w 471"/>
                <a:gd name="T73" fmla="*/ 387 h 518"/>
                <a:gd name="T74" fmla="*/ 421 w 471"/>
                <a:gd name="T75" fmla="*/ 347 h 518"/>
                <a:gd name="T76" fmla="*/ 345 w 471"/>
                <a:gd name="T77" fmla="*/ 277 h 518"/>
                <a:gd name="T78" fmla="*/ 279 w 471"/>
                <a:gd name="T79" fmla="*/ 218 h 518"/>
                <a:gd name="T80" fmla="*/ 224 w 471"/>
                <a:gd name="T81" fmla="*/ 162 h 518"/>
                <a:gd name="T82" fmla="*/ 179 w 471"/>
                <a:gd name="T83" fmla="*/ 105 h 518"/>
                <a:gd name="T84" fmla="*/ 127 w 471"/>
                <a:gd name="T85" fmla="*/ 40 h 518"/>
                <a:gd name="T86" fmla="*/ 115 w 471"/>
                <a:gd name="T87" fmla="*/ 14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7" name="Freeform 277">
              <a:extLst>
                <a:ext uri="{FF2B5EF4-FFF2-40B4-BE49-F238E27FC236}">
                  <a16:creationId xmlns:a16="http://schemas.microsoft.com/office/drawing/2014/main" id="{D0805149-5278-4E05-8A7C-7FAFFF25B8E5}"/>
                </a:ext>
              </a:extLst>
            </p:cNvPr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8081963" y="3198814"/>
              <a:ext cx="133350" cy="130175"/>
            </a:xfrm>
            <a:custGeom>
              <a:avLst/>
              <a:gdLst>
                <a:gd name="T0" fmla="*/ 152 w 293"/>
                <a:gd name="T1" fmla="*/ 19 h 246"/>
                <a:gd name="T2" fmla="*/ 179 w 293"/>
                <a:gd name="T3" fmla="*/ 30 h 246"/>
                <a:gd name="T4" fmla="*/ 196 w 293"/>
                <a:gd name="T5" fmla="*/ 30 h 246"/>
                <a:gd name="T6" fmla="*/ 202 w 293"/>
                <a:gd name="T7" fmla="*/ 18 h 246"/>
                <a:gd name="T8" fmla="*/ 210 w 293"/>
                <a:gd name="T9" fmla="*/ 10 h 246"/>
                <a:gd name="T10" fmla="*/ 219 w 293"/>
                <a:gd name="T11" fmla="*/ 6 h 246"/>
                <a:gd name="T12" fmla="*/ 245 w 293"/>
                <a:gd name="T13" fmla="*/ 2 h 246"/>
                <a:gd name="T14" fmla="*/ 293 w 293"/>
                <a:gd name="T15" fmla="*/ 80 h 246"/>
                <a:gd name="T16" fmla="*/ 266 w 293"/>
                <a:gd name="T17" fmla="*/ 107 h 246"/>
                <a:gd name="T18" fmla="*/ 237 w 293"/>
                <a:gd name="T19" fmla="*/ 141 h 246"/>
                <a:gd name="T20" fmla="*/ 225 w 293"/>
                <a:gd name="T21" fmla="*/ 159 h 246"/>
                <a:gd name="T22" fmla="*/ 215 w 293"/>
                <a:gd name="T23" fmla="*/ 178 h 246"/>
                <a:gd name="T24" fmla="*/ 209 w 293"/>
                <a:gd name="T25" fmla="*/ 197 h 246"/>
                <a:gd name="T26" fmla="*/ 206 w 293"/>
                <a:gd name="T27" fmla="*/ 216 h 246"/>
                <a:gd name="T28" fmla="*/ 196 w 293"/>
                <a:gd name="T29" fmla="*/ 217 h 246"/>
                <a:gd name="T30" fmla="*/ 186 w 293"/>
                <a:gd name="T31" fmla="*/ 220 h 246"/>
                <a:gd name="T32" fmla="*/ 170 w 293"/>
                <a:gd name="T33" fmla="*/ 229 h 246"/>
                <a:gd name="T34" fmla="*/ 154 w 293"/>
                <a:gd name="T35" fmla="*/ 239 h 246"/>
                <a:gd name="T36" fmla="*/ 133 w 293"/>
                <a:gd name="T37" fmla="*/ 246 h 246"/>
                <a:gd name="T38" fmla="*/ 102 w 293"/>
                <a:gd name="T39" fmla="*/ 240 h 246"/>
                <a:gd name="T40" fmla="*/ 71 w 293"/>
                <a:gd name="T41" fmla="*/ 232 h 246"/>
                <a:gd name="T42" fmla="*/ 59 w 293"/>
                <a:gd name="T43" fmla="*/ 226 h 246"/>
                <a:gd name="T44" fmla="*/ 49 w 293"/>
                <a:gd name="T45" fmla="*/ 220 h 246"/>
                <a:gd name="T46" fmla="*/ 43 w 293"/>
                <a:gd name="T47" fmla="*/ 212 h 246"/>
                <a:gd name="T48" fmla="*/ 41 w 293"/>
                <a:gd name="T49" fmla="*/ 204 h 246"/>
                <a:gd name="T50" fmla="*/ 47 w 293"/>
                <a:gd name="T51" fmla="*/ 178 h 246"/>
                <a:gd name="T52" fmla="*/ 45 w 293"/>
                <a:gd name="T53" fmla="*/ 162 h 246"/>
                <a:gd name="T54" fmla="*/ 40 w 293"/>
                <a:gd name="T55" fmla="*/ 147 h 246"/>
                <a:gd name="T56" fmla="*/ 24 w 293"/>
                <a:gd name="T57" fmla="*/ 119 h 246"/>
                <a:gd name="T58" fmla="*/ 8 w 293"/>
                <a:gd name="T59" fmla="*/ 91 h 246"/>
                <a:gd name="T60" fmla="*/ 2 w 293"/>
                <a:gd name="T61" fmla="*/ 74 h 246"/>
                <a:gd name="T62" fmla="*/ 0 w 293"/>
                <a:gd name="T63" fmla="*/ 55 h 246"/>
                <a:gd name="T64" fmla="*/ 2 w 293"/>
                <a:gd name="T65" fmla="*/ 45 h 246"/>
                <a:gd name="T66" fmla="*/ 8 w 293"/>
                <a:gd name="T67" fmla="*/ 36 h 246"/>
                <a:gd name="T68" fmla="*/ 17 w 293"/>
                <a:gd name="T69" fmla="*/ 29 h 246"/>
                <a:gd name="T70" fmla="*/ 26 w 293"/>
                <a:gd name="T71" fmla="*/ 22 h 246"/>
                <a:gd name="T72" fmla="*/ 48 w 293"/>
                <a:gd name="T73" fmla="*/ 14 h 246"/>
                <a:gd name="T74" fmla="*/ 67 w 293"/>
                <a:gd name="T75" fmla="*/ 12 h 246"/>
                <a:gd name="T76" fmla="*/ 96 w 293"/>
                <a:gd name="T77" fmla="*/ 12 h 246"/>
                <a:gd name="T78" fmla="*/ 133 w 293"/>
                <a:gd name="T79" fmla="*/ 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8" name="Freeform 278">
              <a:extLst>
                <a:ext uri="{FF2B5EF4-FFF2-40B4-BE49-F238E27FC236}">
                  <a16:creationId xmlns:a16="http://schemas.microsoft.com/office/drawing/2014/main" id="{F41233D2-9FB8-414A-866E-1D2BC2F0618C}"/>
                </a:ext>
              </a:extLst>
            </p:cNvPr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8483601" y="2435226"/>
              <a:ext cx="85725" cy="130175"/>
            </a:xfrm>
            <a:custGeom>
              <a:avLst/>
              <a:gdLst>
                <a:gd name="T0" fmla="*/ 18 w 200"/>
                <a:gd name="T1" fmla="*/ 41 h 246"/>
                <a:gd name="T2" fmla="*/ 28 w 200"/>
                <a:gd name="T3" fmla="*/ 26 h 246"/>
                <a:gd name="T4" fmla="*/ 38 w 200"/>
                <a:gd name="T5" fmla="*/ 16 h 246"/>
                <a:gd name="T6" fmla="*/ 50 w 200"/>
                <a:gd name="T7" fmla="*/ 9 h 246"/>
                <a:gd name="T8" fmla="*/ 73 w 200"/>
                <a:gd name="T9" fmla="*/ 1 h 246"/>
                <a:gd name="T10" fmla="*/ 88 w 200"/>
                <a:gd name="T11" fmla="*/ 12 h 246"/>
                <a:gd name="T12" fmla="*/ 108 w 200"/>
                <a:gd name="T13" fmla="*/ 34 h 246"/>
                <a:gd name="T14" fmla="*/ 125 w 200"/>
                <a:gd name="T15" fmla="*/ 50 h 246"/>
                <a:gd name="T16" fmla="*/ 139 w 200"/>
                <a:gd name="T17" fmla="*/ 58 h 246"/>
                <a:gd name="T18" fmla="*/ 152 w 200"/>
                <a:gd name="T19" fmla="*/ 64 h 246"/>
                <a:gd name="T20" fmla="*/ 166 w 200"/>
                <a:gd name="T21" fmla="*/ 67 h 246"/>
                <a:gd name="T22" fmla="*/ 184 w 200"/>
                <a:gd name="T23" fmla="*/ 96 h 246"/>
                <a:gd name="T24" fmla="*/ 195 w 200"/>
                <a:gd name="T25" fmla="*/ 137 h 246"/>
                <a:gd name="T26" fmla="*/ 199 w 200"/>
                <a:gd name="T27" fmla="*/ 165 h 246"/>
                <a:gd name="T28" fmla="*/ 200 w 200"/>
                <a:gd name="T29" fmla="*/ 185 h 246"/>
                <a:gd name="T30" fmla="*/ 198 w 200"/>
                <a:gd name="T31" fmla="*/ 197 h 246"/>
                <a:gd name="T32" fmla="*/ 195 w 200"/>
                <a:gd name="T33" fmla="*/ 207 h 246"/>
                <a:gd name="T34" fmla="*/ 189 w 200"/>
                <a:gd name="T35" fmla="*/ 214 h 246"/>
                <a:gd name="T36" fmla="*/ 179 w 200"/>
                <a:gd name="T37" fmla="*/ 220 h 246"/>
                <a:gd name="T38" fmla="*/ 164 w 200"/>
                <a:gd name="T39" fmla="*/ 224 h 246"/>
                <a:gd name="T40" fmla="*/ 140 w 200"/>
                <a:gd name="T41" fmla="*/ 224 h 246"/>
                <a:gd name="T42" fmla="*/ 118 w 200"/>
                <a:gd name="T43" fmla="*/ 229 h 246"/>
                <a:gd name="T44" fmla="*/ 111 w 200"/>
                <a:gd name="T45" fmla="*/ 235 h 246"/>
                <a:gd name="T46" fmla="*/ 108 w 200"/>
                <a:gd name="T47" fmla="*/ 242 h 246"/>
                <a:gd name="T48" fmla="*/ 98 w 200"/>
                <a:gd name="T49" fmla="*/ 245 h 246"/>
                <a:gd name="T50" fmla="*/ 85 w 200"/>
                <a:gd name="T51" fmla="*/ 240 h 246"/>
                <a:gd name="T52" fmla="*/ 77 w 200"/>
                <a:gd name="T53" fmla="*/ 230 h 246"/>
                <a:gd name="T54" fmla="*/ 73 w 200"/>
                <a:gd name="T55" fmla="*/ 216 h 246"/>
                <a:gd name="T56" fmla="*/ 72 w 200"/>
                <a:gd name="T57" fmla="*/ 192 h 246"/>
                <a:gd name="T58" fmla="*/ 71 w 200"/>
                <a:gd name="T59" fmla="*/ 168 h 246"/>
                <a:gd name="T60" fmla="*/ 69 w 200"/>
                <a:gd name="T61" fmla="*/ 154 h 246"/>
                <a:gd name="T62" fmla="*/ 64 w 200"/>
                <a:gd name="T63" fmla="*/ 142 h 246"/>
                <a:gd name="T64" fmla="*/ 56 w 200"/>
                <a:gd name="T65" fmla="*/ 134 h 246"/>
                <a:gd name="T66" fmla="*/ 40 w 200"/>
                <a:gd name="T67" fmla="*/ 125 h 246"/>
                <a:gd name="T68" fmla="*/ 18 w 200"/>
                <a:gd name="T69" fmla="*/ 115 h 246"/>
                <a:gd name="T70" fmla="*/ 6 w 200"/>
                <a:gd name="T71" fmla="*/ 106 h 246"/>
                <a:gd name="T72" fmla="*/ 1 w 200"/>
                <a:gd name="T73" fmla="*/ 98 h 246"/>
                <a:gd name="T74" fmla="*/ 1 w 200"/>
                <a:gd name="T75" fmla="*/ 87 h 246"/>
                <a:gd name="T76" fmla="*/ 5 w 200"/>
                <a:gd name="T77" fmla="*/ 78 h 246"/>
                <a:gd name="T78" fmla="*/ 10 w 200"/>
                <a:gd name="T79" fmla="*/ 68 h 246"/>
                <a:gd name="T80" fmla="*/ 13 w 200"/>
                <a:gd name="T81" fmla="*/ 5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09" name="Freeform 279">
              <a:extLst>
                <a:ext uri="{FF2B5EF4-FFF2-40B4-BE49-F238E27FC236}">
                  <a16:creationId xmlns:a16="http://schemas.microsoft.com/office/drawing/2014/main" id="{E81E52CF-A18F-4F04-B751-6B7675793D1C}"/>
                </a:ext>
              </a:extLst>
            </p:cNvPr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9051926" y="3732213"/>
              <a:ext cx="231775" cy="254000"/>
            </a:xfrm>
            <a:custGeom>
              <a:avLst/>
              <a:gdLst>
                <a:gd name="T0" fmla="*/ 91 w 538"/>
                <a:gd name="T1" fmla="*/ 21 h 487"/>
                <a:gd name="T2" fmla="*/ 160 w 538"/>
                <a:gd name="T3" fmla="*/ 47 h 487"/>
                <a:gd name="T4" fmla="*/ 202 w 538"/>
                <a:gd name="T5" fmla="*/ 70 h 487"/>
                <a:gd name="T6" fmla="*/ 253 w 538"/>
                <a:gd name="T7" fmla="*/ 110 h 487"/>
                <a:gd name="T8" fmla="*/ 300 w 538"/>
                <a:gd name="T9" fmla="*/ 136 h 487"/>
                <a:gd name="T10" fmla="*/ 299 w 538"/>
                <a:gd name="T11" fmla="*/ 161 h 487"/>
                <a:gd name="T12" fmla="*/ 347 w 538"/>
                <a:gd name="T13" fmla="*/ 205 h 487"/>
                <a:gd name="T14" fmla="*/ 393 w 538"/>
                <a:gd name="T15" fmla="*/ 248 h 487"/>
                <a:gd name="T16" fmla="*/ 379 w 538"/>
                <a:gd name="T17" fmla="*/ 250 h 487"/>
                <a:gd name="T18" fmla="*/ 372 w 538"/>
                <a:gd name="T19" fmla="*/ 256 h 487"/>
                <a:gd name="T20" fmla="*/ 372 w 538"/>
                <a:gd name="T21" fmla="*/ 278 h 487"/>
                <a:gd name="T22" fmla="*/ 377 w 538"/>
                <a:gd name="T23" fmla="*/ 301 h 487"/>
                <a:gd name="T24" fmla="*/ 389 w 538"/>
                <a:gd name="T25" fmla="*/ 325 h 487"/>
                <a:gd name="T26" fmla="*/ 407 w 538"/>
                <a:gd name="T27" fmla="*/ 348 h 487"/>
                <a:gd name="T28" fmla="*/ 428 w 538"/>
                <a:gd name="T29" fmla="*/ 366 h 487"/>
                <a:gd name="T30" fmla="*/ 451 w 538"/>
                <a:gd name="T31" fmla="*/ 376 h 487"/>
                <a:gd name="T32" fmla="*/ 461 w 538"/>
                <a:gd name="T33" fmla="*/ 390 h 487"/>
                <a:gd name="T34" fmla="*/ 472 w 538"/>
                <a:gd name="T35" fmla="*/ 406 h 487"/>
                <a:gd name="T36" fmla="*/ 489 w 538"/>
                <a:gd name="T37" fmla="*/ 417 h 487"/>
                <a:gd name="T38" fmla="*/ 513 w 538"/>
                <a:gd name="T39" fmla="*/ 432 h 487"/>
                <a:gd name="T40" fmla="*/ 518 w 538"/>
                <a:gd name="T41" fmla="*/ 444 h 487"/>
                <a:gd name="T42" fmla="*/ 525 w 538"/>
                <a:gd name="T43" fmla="*/ 450 h 487"/>
                <a:gd name="T44" fmla="*/ 538 w 538"/>
                <a:gd name="T45" fmla="*/ 456 h 487"/>
                <a:gd name="T46" fmla="*/ 534 w 538"/>
                <a:gd name="T47" fmla="*/ 472 h 487"/>
                <a:gd name="T48" fmla="*/ 519 w 538"/>
                <a:gd name="T49" fmla="*/ 484 h 487"/>
                <a:gd name="T50" fmla="*/ 490 w 538"/>
                <a:gd name="T51" fmla="*/ 487 h 487"/>
                <a:gd name="T52" fmla="*/ 448 w 538"/>
                <a:gd name="T53" fmla="*/ 480 h 487"/>
                <a:gd name="T54" fmla="*/ 414 w 538"/>
                <a:gd name="T55" fmla="*/ 466 h 487"/>
                <a:gd name="T56" fmla="*/ 386 w 538"/>
                <a:gd name="T57" fmla="*/ 446 h 487"/>
                <a:gd name="T58" fmla="*/ 355 w 538"/>
                <a:gd name="T59" fmla="*/ 415 h 487"/>
                <a:gd name="T60" fmla="*/ 312 w 538"/>
                <a:gd name="T61" fmla="*/ 365 h 487"/>
                <a:gd name="T62" fmla="*/ 274 w 538"/>
                <a:gd name="T63" fmla="*/ 330 h 487"/>
                <a:gd name="T64" fmla="*/ 246 w 538"/>
                <a:gd name="T65" fmla="*/ 316 h 487"/>
                <a:gd name="T66" fmla="*/ 212 w 538"/>
                <a:gd name="T67" fmla="*/ 309 h 487"/>
                <a:gd name="T68" fmla="*/ 180 w 538"/>
                <a:gd name="T69" fmla="*/ 310 h 487"/>
                <a:gd name="T70" fmla="*/ 153 w 538"/>
                <a:gd name="T71" fmla="*/ 317 h 487"/>
                <a:gd name="T72" fmla="*/ 113 w 538"/>
                <a:gd name="T73" fmla="*/ 345 h 487"/>
                <a:gd name="T74" fmla="*/ 136 w 538"/>
                <a:gd name="T75" fmla="*/ 361 h 487"/>
                <a:gd name="T76" fmla="*/ 140 w 538"/>
                <a:gd name="T77" fmla="*/ 370 h 487"/>
                <a:gd name="T78" fmla="*/ 124 w 538"/>
                <a:gd name="T79" fmla="*/ 401 h 487"/>
                <a:gd name="T80" fmla="*/ 113 w 538"/>
                <a:gd name="T81" fmla="*/ 414 h 487"/>
                <a:gd name="T82" fmla="*/ 47 w 538"/>
                <a:gd name="T83" fmla="*/ 403 h 487"/>
                <a:gd name="T84" fmla="*/ 20 w 538"/>
                <a:gd name="T85" fmla="*/ 259 h 487"/>
                <a:gd name="T86" fmla="*/ 20 w 538"/>
                <a:gd name="T87" fmla="*/ 0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10" name="Freeform 280">
              <a:extLst>
                <a:ext uri="{FF2B5EF4-FFF2-40B4-BE49-F238E27FC236}">
                  <a16:creationId xmlns:a16="http://schemas.microsoft.com/office/drawing/2014/main" id="{EA4B182F-F7E0-493F-8496-0808472E20A9}"/>
                </a:ext>
              </a:extLst>
            </p:cNvPr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9244013" y="3716339"/>
              <a:ext cx="106362" cy="128587"/>
            </a:xfrm>
            <a:custGeom>
              <a:avLst/>
              <a:gdLst>
                <a:gd name="T0" fmla="*/ 136 w 253"/>
                <a:gd name="T1" fmla="*/ 1 h 246"/>
                <a:gd name="T2" fmla="*/ 157 w 253"/>
                <a:gd name="T3" fmla="*/ 8 h 246"/>
                <a:gd name="T4" fmla="*/ 179 w 253"/>
                <a:gd name="T5" fmla="*/ 21 h 246"/>
                <a:gd name="T6" fmla="*/ 199 w 253"/>
                <a:gd name="T7" fmla="*/ 37 h 246"/>
                <a:gd name="T8" fmla="*/ 218 w 253"/>
                <a:gd name="T9" fmla="*/ 57 h 246"/>
                <a:gd name="T10" fmla="*/ 234 w 253"/>
                <a:gd name="T11" fmla="*/ 76 h 246"/>
                <a:gd name="T12" fmla="*/ 245 w 253"/>
                <a:gd name="T13" fmla="*/ 94 h 246"/>
                <a:gd name="T14" fmla="*/ 252 w 253"/>
                <a:gd name="T15" fmla="*/ 111 h 246"/>
                <a:gd name="T16" fmla="*/ 252 w 253"/>
                <a:gd name="T17" fmla="*/ 128 h 246"/>
                <a:gd name="T18" fmla="*/ 243 w 253"/>
                <a:gd name="T19" fmla="*/ 151 h 246"/>
                <a:gd name="T20" fmla="*/ 229 w 253"/>
                <a:gd name="T21" fmla="*/ 174 h 246"/>
                <a:gd name="T22" fmla="*/ 209 w 253"/>
                <a:gd name="T23" fmla="*/ 195 h 246"/>
                <a:gd name="T24" fmla="*/ 184 w 253"/>
                <a:gd name="T25" fmla="*/ 214 h 246"/>
                <a:gd name="T26" fmla="*/ 157 w 253"/>
                <a:gd name="T27" fmla="*/ 229 h 246"/>
                <a:gd name="T28" fmla="*/ 129 w 253"/>
                <a:gd name="T29" fmla="*/ 240 h 246"/>
                <a:gd name="T30" fmla="*/ 100 w 253"/>
                <a:gd name="T31" fmla="*/ 245 h 246"/>
                <a:gd name="T32" fmla="*/ 74 w 253"/>
                <a:gd name="T33" fmla="*/ 245 h 246"/>
                <a:gd name="T34" fmla="*/ 53 w 253"/>
                <a:gd name="T35" fmla="*/ 240 h 246"/>
                <a:gd name="T36" fmla="*/ 33 w 253"/>
                <a:gd name="T37" fmla="*/ 234 h 246"/>
                <a:gd name="T38" fmla="*/ 11 w 253"/>
                <a:gd name="T39" fmla="*/ 229 h 246"/>
                <a:gd name="T40" fmla="*/ 3 w 253"/>
                <a:gd name="T41" fmla="*/ 219 h 246"/>
                <a:gd name="T42" fmla="*/ 10 w 253"/>
                <a:gd name="T43" fmla="*/ 205 h 246"/>
                <a:gd name="T44" fmla="*/ 22 w 253"/>
                <a:gd name="T45" fmla="*/ 196 h 246"/>
                <a:gd name="T46" fmla="*/ 37 w 253"/>
                <a:gd name="T47" fmla="*/ 191 h 246"/>
                <a:gd name="T48" fmla="*/ 50 w 253"/>
                <a:gd name="T49" fmla="*/ 197 h 246"/>
                <a:gd name="T50" fmla="*/ 60 w 253"/>
                <a:gd name="T51" fmla="*/ 207 h 246"/>
                <a:gd name="T52" fmla="*/ 68 w 253"/>
                <a:gd name="T53" fmla="*/ 201 h 246"/>
                <a:gd name="T54" fmla="*/ 75 w 253"/>
                <a:gd name="T55" fmla="*/ 190 h 246"/>
                <a:gd name="T56" fmla="*/ 84 w 253"/>
                <a:gd name="T57" fmla="*/ 180 h 246"/>
                <a:gd name="T58" fmla="*/ 91 w 253"/>
                <a:gd name="T59" fmla="*/ 181 h 246"/>
                <a:gd name="T60" fmla="*/ 98 w 253"/>
                <a:gd name="T61" fmla="*/ 179 h 246"/>
                <a:gd name="T62" fmla="*/ 106 w 253"/>
                <a:gd name="T63" fmla="*/ 178 h 246"/>
                <a:gd name="T64" fmla="*/ 120 w 253"/>
                <a:gd name="T65" fmla="*/ 174 h 246"/>
                <a:gd name="T66" fmla="*/ 149 w 253"/>
                <a:gd name="T67" fmla="*/ 164 h 246"/>
                <a:gd name="T68" fmla="*/ 179 w 253"/>
                <a:gd name="T69" fmla="*/ 147 h 246"/>
                <a:gd name="T70" fmla="*/ 197 w 253"/>
                <a:gd name="T71" fmla="*/ 135 h 246"/>
                <a:gd name="T72" fmla="*/ 210 w 253"/>
                <a:gd name="T73" fmla="*/ 123 h 246"/>
                <a:gd name="T74" fmla="*/ 218 w 253"/>
                <a:gd name="T75" fmla="*/ 111 h 246"/>
                <a:gd name="T76" fmla="*/ 219 w 253"/>
                <a:gd name="T77" fmla="*/ 98 h 246"/>
                <a:gd name="T78" fmla="*/ 214 w 253"/>
                <a:gd name="T79" fmla="*/ 88 h 246"/>
                <a:gd name="T80" fmla="*/ 210 w 253"/>
                <a:gd name="T81" fmla="*/ 80 h 246"/>
                <a:gd name="T82" fmla="*/ 207 w 253"/>
                <a:gd name="T83" fmla="*/ 72 h 246"/>
                <a:gd name="T84" fmla="*/ 201 w 253"/>
                <a:gd name="T85" fmla="*/ 67 h 246"/>
                <a:gd name="T86" fmla="*/ 191 w 253"/>
                <a:gd name="T87" fmla="*/ 65 h 246"/>
                <a:gd name="T88" fmla="*/ 184 w 253"/>
                <a:gd name="T89" fmla="*/ 61 h 246"/>
                <a:gd name="T90" fmla="*/ 180 w 253"/>
                <a:gd name="T91" fmla="*/ 54 h 246"/>
                <a:gd name="T92" fmla="*/ 140 w 253"/>
                <a:gd name="T93" fmla="*/ 49 h 246"/>
                <a:gd name="T94" fmla="*/ 136 w 253"/>
                <a:gd name="T95" fmla="*/ 44 h 246"/>
                <a:gd name="T96" fmla="*/ 136 w 253"/>
                <a:gd name="T97" fmla="*/ 36 h 246"/>
                <a:gd name="T98" fmla="*/ 140 w 253"/>
                <a:gd name="T99" fmla="*/ 18 h 246"/>
                <a:gd name="T100" fmla="*/ 110 w 253"/>
                <a:gd name="T101" fmla="*/ 11 h 246"/>
                <a:gd name="T102" fmla="*/ 97 w 253"/>
                <a:gd name="T103" fmla="*/ 12 h 246"/>
                <a:gd name="T104" fmla="*/ 86 w 253"/>
                <a:gd name="T105" fmla="*/ 18 h 246"/>
                <a:gd name="T106" fmla="*/ 104 w 253"/>
                <a:gd name="T107" fmla="*/ 5 h 246"/>
                <a:gd name="T108" fmla="*/ 113 w 253"/>
                <a:gd name="T109" fmla="*/ 1 h 246"/>
                <a:gd name="T110" fmla="*/ 127 w 253"/>
                <a:gd name="T111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11" name="Freeform 281">
              <a:extLst>
                <a:ext uri="{FF2B5EF4-FFF2-40B4-BE49-F238E27FC236}">
                  <a16:creationId xmlns:a16="http://schemas.microsoft.com/office/drawing/2014/main" id="{70622F1E-E8F6-4644-B4D5-00B8ECE7A580}"/>
                </a:ext>
              </a:extLst>
            </p:cNvPr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7519988" y="3349626"/>
              <a:ext cx="63500" cy="119063"/>
            </a:xfrm>
            <a:custGeom>
              <a:avLst/>
              <a:gdLst>
                <a:gd name="T0" fmla="*/ 41 w 141"/>
                <a:gd name="T1" fmla="*/ 228 h 228"/>
                <a:gd name="T2" fmla="*/ 36 w 141"/>
                <a:gd name="T3" fmla="*/ 220 h 228"/>
                <a:gd name="T4" fmla="*/ 29 w 141"/>
                <a:gd name="T5" fmla="*/ 208 h 228"/>
                <a:gd name="T6" fmla="*/ 22 w 141"/>
                <a:gd name="T7" fmla="*/ 194 h 228"/>
                <a:gd name="T8" fmla="*/ 16 w 141"/>
                <a:gd name="T9" fmla="*/ 178 h 228"/>
                <a:gd name="T10" fmla="*/ 10 w 141"/>
                <a:gd name="T11" fmla="*/ 163 h 228"/>
                <a:gd name="T12" fmla="*/ 5 w 141"/>
                <a:gd name="T13" fmla="*/ 148 h 228"/>
                <a:gd name="T14" fmla="*/ 2 w 141"/>
                <a:gd name="T15" fmla="*/ 135 h 228"/>
                <a:gd name="T16" fmla="*/ 0 w 141"/>
                <a:gd name="T17" fmla="*/ 123 h 228"/>
                <a:gd name="T18" fmla="*/ 2 w 141"/>
                <a:gd name="T19" fmla="*/ 104 h 228"/>
                <a:gd name="T20" fmla="*/ 4 w 141"/>
                <a:gd name="T21" fmla="*/ 87 h 228"/>
                <a:gd name="T22" fmla="*/ 6 w 141"/>
                <a:gd name="T23" fmla="*/ 70 h 228"/>
                <a:gd name="T24" fmla="*/ 9 w 141"/>
                <a:gd name="T25" fmla="*/ 55 h 228"/>
                <a:gd name="T26" fmla="*/ 18 w 141"/>
                <a:gd name="T27" fmla="*/ 28 h 228"/>
                <a:gd name="T28" fmla="*/ 28 w 141"/>
                <a:gd name="T29" fmla="*/ 0 h 228"/>
                <a:gd name="T30" fmla="*/ 45 w 141"/>
                <a:gd name="T31" fmla="*/ 16 h 228"/>
                <a:gd name="T32" fmla="*/ 62 w 141"/>
                <a:gd name="T33" fmla="*/ 28 h 228"/>
                <a:gd name="T34" fmla="*/ 76 w 141"/>
                <a:gd name="T35" fmla="*/ 37 h 228"/>
                <a:gd name="T36" fmla="*/ 89 w 141"/>
                <a:gd name="T37" fmla="*/ 48 h 228"/>
                <a:gd name="T38" fmla="*/ 95 w 141"/>
                <a:gd name="T39" fmla="*/ 55 h 228"/>
                <a:gd name="T40" fmla="*/ 101 w 141"/>
                <a:gd name="T41" fmla="*/ 63 h 228"/>
                <a:gd name="T42" fmla="*/ 107 w 141"/>
                <a:gd name="T43" fmla="*/ 74 h 228"/>
                <a:gd name="T44" fmla="*/ 114 w 141"/>
                <a:gd name="T45" fmla="*/ 86 h 228"/>
                <a:gd name="T46" fmla="*/ 120 w 141"/>
                <a:gd name="T47" fmla="*/ 100 h 228"/>
                <a:gd name="T48" fmla="*/ 127 w 141"/>
                <a:gd name="T49" fmla="*/ 117 h 228"/>
                <a:gd name="T50" fmla="*/ 133 w 141"/>
                <a:gd name="T51" fmla="*/ 138 h 228"/>
                <a:gd name="T52" fmla="*/ 141 w 141"/>
                <a:gd name="T53" fmla="*/ 161 h 228"/>
                <a:gd name="T54" fmla="*/ 140 w 141"/>
                <a:gd name="T55" fmla="*/ 169 h 228"/>
                <a:gd name="T56" fmla="*/ 138 w 141"/>
                <a:gd name="T57" fmla="*/ 177 h 228"/>
                <a:gd name="T58" fmla="*/ 135 w 141"/>
                <a:gd name="T59" fmla="*/ 186 h 228"/>
                <a:gd name="T60" fmla="*/ 131 w 141"/>
                <a:gd name="T61" fmla="*/ 192 h 228"/>
                <a:gd name="T62" fmla="*/ 127 w 141"/>
                <a:gd name="T63" fmla="*/ 199 h 228"/>
                <a:gd name="T64" fmla="*/ 121 w 141"/>
                <a:gd name="T65" fmla="*/ 204 h 228"/>
                <a:gd name="T66" fmla="*/ 115 w 141"/>
                <a:gd name="T67" fmla="*/ 209 h 228"/>
                <a:gd name="T68" fmla="*/ 108 w 141"/>
                <a:gd name="T69" fmla="*/ 213 h 228"/>
                <a:gd name="T70" fmla="*/ 100 w 141"/>
                <a:gd name="T71" fmla="*/ 217 h 228"/>
                <a:gd name="T72" fmla="*/ 93 w 141"/>
                <a:gd name="T73" fmla="*/ 220 h 228"/>
                <a:gd name="T74" fmla="*/ 85 w 141"/>
                <a:gd name="T75" fmla="*/ 223 h 228"/>
                <a:gd name="T76" fmla="*/ 76 w 141"/>
                <a:gd name="T77" fmla="*/ 225 h 228"/>
                <a:gd name="T78" fmla="*/ 59 w 141"/>
                <a:gd name="T79" fmla="*/ 227 h 228"/>
                <a:gd name="T80" fmla="*/ 41 w 141"/>
                <a:gd name="T81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212" name="Group 282">
              <a:extLst>
                <a:ext uri="{FF2B5EF4-FFF2-40B4-BE49-F238E27FC236}">
                  <a16:creationId xmlns:a16="http://schemas.microsoft.com/office/drawing/2014/main" id="{FF9BE3EE-05AB-4189-8A72-9174F8F599EB}"/>
                </a:ext>
              </a:extLst>
            </p:cNvPr>
            <p:cNvGrpSpPr>
              <a:grpSpLocks/>
            </p:cNvGrpSpPr>
            <p:nvPr>
              <p:custDataLst>
                <p:tags r:id="rId209"/>
              </p:custDataLst>
            </p:nvPr>
          </p:nvGrpSpPr>
          <p:grpSpPr bwMode="auto">
            <a:xfrm>
              <a:off x="8459788" y="3060700"/>
              <a:ext cx="233362" cy="439738"/>
              <a:chOff x="5062" y="2295"/>
              <a:chExt cx="177" cy="279"/>
            </a:xfrm>
          </p:grpSpPr>
          <p:sp>
            <p:nvSpPr>
              <p:cNvPr id="457" name="Freeform 283">
                <a:extLst>
                  <a:ext uri="{FF2B5EF4-FFF2-40B4-BE49-F238E27FC236}">
                    <a16:creationId xmlns:a16="http://schemas.microsoft.com/office/drawing/2014/main" id="{7ABA67DC-0196-43A7-AF49-4111302BAA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39 w 60"/>
                  <a:gd name="T1" fmla="*/ 110 h 110"/>
                  <a:gd name="T2" fmla="*/ 42 w 60"/>
                  <a:gd name="T3" fmla="*/ 109 h 110"/>
                  <a:gd name="T4" fmla="*/ 46 w 60"/>
                  <a:gd name="T5" fmla="*/ 106 h 110"/>
                  <a:gd name="T6" fmla="*/ 49 w 60"/>
                  <a:gd name="T7" fmla="*/ 101 h 110"/>
                  <a:gd name="T8" fmla="*/ 52 w 60"/>
                  <a:gd name="T9" fmla="*/ 96 h 110"/>
                  <a:gd name="T10" fmla="*/ 54 w 60"/>
                  <a:gd name="T11" fmla="*/ 90 h 110"/>
                  <a:gd name="T12" fmla="*/ 57 w 60"/>
                  <a:gd name="T13" fmla="*/ 84 h 110"/>
                  <a:gd name="T14" fmla="*/ 59 w 60"/>
                  <a:gd name="T15" fmla="*/ 78 h 110"/>
                  <a:gd name="T16" fmla="*/ 60 w 60"/>
                  <a:gd name="T17" fmla="*/ 73 h 110"/>
                  <a:gd name="T18" fmla="*/ 59 w 60"/>
                  <a:gd name="T19" fmla="*/ 60 h 110"/>
                  <a:gd name="T20" fmla="*/ 58 w 60"/>
                  <a:gd name="T21" fmla="*/ 48 h 110"/>
                  <a:gd name="T22" fmla="*/ 57 w 60"/>
                  <a:gd name="T23" fmla="*/ 38 h 110"/>
                  <a:gd name="T24" fmla="*/ 54 w 60"/>
                  <a:gd name="T25" fmla="*/ 29 h 110"/>
                  <a:gd name="T26" fmla="*/ 51 w 60"/>
                  <a:gd name="T27" fmla="*/ 21 h 110"/>
                  <a:gd name="T28" fmla="*/ 48 w 60"/>
                  <a:gd name="T29" fmla="*/ 13 h 110"/>
                  <a:gd name="T30" fmla="*/ 45 w 60"/>
                  <a:gd name="T31" fmla="*/ 6 h 110"/>
                  <a:gd name="T32" fmla="*/ 39 w 60"/>
                  <a:gd name="T33" fmla="*/ 0 h 110"/>
                  <a:gd name="T34" fmla="*/ 35 w 60"/>
                  <a:gd name="T35" fmla="*/ 3 h 110"/>
                  <a:gd name="T36" fmla="*/ 30 w 60"/>
                  <a:gd name="T37" fmla="*/ 8 h 110"/>
                  <a:gd name="T38" fmla="*/ 27 w 60"/>
                  <a:gd name="T39" fmla="*/ 13 h 110"/>
                  <a:gd name="T40" fmla="*/ 24 w 60"/>
                  <a:gd name="T41" fmla="*/ 18 h 110"/>
                  <a:gd name="T42" fmla="*/ 18 w 60"/>
                  <a:gd name="T43" fmla="*/ 29 h 110"/>
                  <a:gd name="T44" fmla="*/ 15 w 60"/>
                  <a:gd name="T45" fmla="*/ 40 h 110"/>
                  <a:gd name="T46" fmla="*/ 10 w 60"/>
                  <a:gd name="T47" fmla="*/ 51 h 110"/>
                  <a:gd name="T48" fmla="*/ 7 w 60"/>
                  <a:gd name="T49" fmla="*/ 62 h 110"/>
                  <a:gd name="T50" fmla="*/ 6 w 60"/>
                  <a:gd name="T51" fmla="*/ 66 h 110"/>
                  <a:gd name="T52" fmla="*/ 4 w 60"/>
                  <a:gd name="T53" fmla="*/ 69 h 110"/>
                  <a:gd name="T54" fmla="*/ 2 w 60"/>
                  <a:gd name="T55" fmla="*/ 72 h 110"/>
                  <a:gd name="T56" fmla="*/ 0 w 60"/>
                  <a:gd name="T57" fmla="*/ 73 h 110"/>
                  <a:gd name="T58" fmla="*/ 1 w 60"/>
                  <a:gd name="T59" fmla="*/ 78 h 110"/>
                  <a:gd name="T60" fmla="*/ 3 w 60"/>
                  <a:gd name="T61" fmla="*/ 84 h 110"/>
                  <a:gd name="T62" fmla="*/ 7 w 60"/>
                  <a:gd name="T63" fmla="*/ 90 h 110"/>
                  <a:gd name="T64" fmla="*/ 12 w 60"/>
                  <a:gd name="T65" fmla="*/ 96 h 110"/>
                  <a:gd name="T66" fmla="*/ 18 w 60"/>
                  <a:gd name="T67" fmla="*/ 101 h 110"/>
                  <a:gd name="T68" fmla="*/ 25 w 60"/>
                  <a:gd name="T69" fmla="*/ 106 h 110"/>
                  <a:gd name="T70" fmla="*/ 32 w 60"/>
                  <a:gd name="T71" fmla="*/ 109 h 110"/>
                  <a:gd name="T72" fmla="*/ 39 w 60"/>
                  <a:gd name="T73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58" name="Freeform 284">
                <a:extLst>
                  <a:ext uri="{FF2B5EF4-FFF2-40B4-BE49-F238E27FC236}">
                    <a16:creationId xmlns:a16="http://schemas.microsoft.com/office/drawing/2014/main" id="{BE884546-1266-48F5-A530-913D32DDA8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13 h 75"/>
                  <a:gd name="T2" fmla="*/ 8 w 72"/>
                  <a:gd name="T3" fmla="*/ 18 h 75"/>
                  <a:gd name="T4" fmla="*/ 15 w 72"/>
                  <a:gd name="T5" fmla="*/ 25 h 75"/>
                  <a:gd name="T6" fmla="*/ 23 w 72"/>
                  <a:gd name="T7" fmla="*/ 32 h 75"/>
                  <a:gd name="T8" fmla="*/ 31 w 72"/>
                  <a:gd name="T9" fmla="*/ 40 h 75"/>
                  <a:gd name="T10" fmla="*/ 37 w 72"/>
                  <a:gd name="T11" fmla="*/ 48 h 75"/>
                  <a:gd name="T12" fmla="*/ 42 w 72"/>
                  <a:gd name="T13" fmla="*/ 57 h 75"/>
                  <a:gd name="T14" fmla="*/ 45 w 72"/>
                  <a:gd name="T15" fmla="*/ 65 h 75"/>
                  <a:gd name="T16" fmla="*/ 46 w 72"/>
                  <a:gd name="T17" fmla="*/ 75 h 75"/>
                  <a:gd name="T18" fmla="*/ 72 w 72"/>
                  <a:gd name="T19" fmla="*/ 75 h 75"/>
                  <a:gd name="T20" fmla="*/ 65 w 72"/>
                  <a:gd name="T21" fmla="*/ 50 h 75"/>
                  <a:gd name="T22" fmla="*/ 60 w 72"/>
                  <a:gd name="T23" fmla="*/ 34 h 75"/>
                  <a:gd name="T24" fmla="*/ 60 w 72"/>
                  <a:gd name="T25" fmla="*/ 27 h 75"/>
                  <a:gd name="T26" fmla="*/ 63 w 72"/>
                  <a:gd name="T27" fmla="*/ 19 h 75"/>
                  <a:gd name="T28" fmla="*/ 67 w 72"/>
                  <a:gd name="T29" fmla="*/ 11 h 75"/>
                  <a:gd name="T30" fmla="*/ 72 w 72"/>
                  <a:gd name="T31" fmla="*/ 1 h 75"/>
                  <a:gd name="T32" fmla="*/ 52 w 72"/>
                  <a:gd name="T33" fmla="*/ 0 h 75"/>
                  <a:gd name="T34" fmla="*/ 32 w 72"/>
                  <a:gd name="T35" fmla="*/ 0 h 75"/>
                  <a:gd name="T36" fmla="*/ 22 w 72"/>
                  <a:gd name="T37" fmla="*/ 1 h 75"/>
                  <a:gd name="T38" fmla="*/ 13 w 72"/>
                  <a:gd name="T39" fmla="*/ 3 h 75"/>
                  <a:gd name="T40" fmla="*/ 9 w 72"/>
                  <a:gd name="T41" fmla="*/ 5 h 75"/>
                  <a:gd name="T42" fmla="*/ 6 w 72"/>
                  <a:gd name="T43" fmla="*/ 7 h 75"/>
                  <a:gd name="T44" fmla="*/ 2 w 72"/>
                  <a:gd name="T45" fmla="*/ 10 h 75"/>
                  <a:gd name="T46" fmla="*/ 0 w 72"/>
                  <a:gd name="T47" fmla="*/ 1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59" name="Freeform 285">
                <a:extLst>
                  <a:ext uri="{FF2B5EF4-FFF2-40B4-BE49-F238E27FC236}">
                    <a16:creationId xmlns:a16="http://schemas.microsoft.com/office/drawing/2014/main" id="{FBD4CD4B-D0A2-4983-84A9-8F4F85417E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15 w 15"/>
                  <a:gd name="T1" fmla="*/ 49 h 49"/>
                  <a:gd name="T2" fmla="*/ 15 w 15"/>
                  <a:gd name="T3" fmla="*/ 33 h 49"/>
                  <a:gd name="T4" fmla="*/ 15 w 15"/>
                  <a:gd name="T5" fmla="*/ 19 h 49"/>
                  <a:gd name="T6" fmla="*/ 14 w 15"/>
                  <a:gd name="T7" fmla="*/ 13 h 49"/>
                  <a:gd name="T8" fmla="*/ 13 w 15"/>
                  <a:gd name="T9" fmla="*/ 7 h 49"/>
                  <a:gd name="T10" fmla="*/ 11 w 15"/>
                  <a:gd name="T11" fmla="*/ 3 h 49"/>
                  <a:gd name="T12" fmla="*/ 9 w 15"/>
                  <a:gd name="T13" fmla="*/ 0 h 49"/>
                  <a:gd name="T14" fmla="*/ 4 w 15"/>
                  <a:gd name="T15" fmla="*/ 7 h 49"/>
                  <a:gd name="T16" fmla="*/ 2 w 15"/>
                  <a:gd name="T17" fmla="*/ 15 h 49"/>
                  <a:gd name="T18" fmla="*/ 0 w 15"/>
                  <a:gd name="T19" fmla="*/ 23 h 49"/>
                  <a:gd name="T20" fmla="*/ 0 w 15"/>
                  <a:gd name="T21" fmla="*/ 30 h 49"/>
                  <a:gd name="T22" fmla="*/ 1 w 15"/>
                  <a:gd name="T23" fmla="*/ 36 h 49"/>
                  <a:gd name="T24" fmla="*/ 4 w 15"/>
                  <a:gd name="T25" fmla="*/ 42 h 49"/>
                  <a:gd name="T26" fmla="*/ 7 w 15"/>
                  <a:gd name="T27" fmla="*/ 44 h 49"/>
                  <a:gd name="T28" fmla="*/ 9 w 15"/>
                  <a:gd name="T29" fmla="*/ 46 h 49"/>
                  <a:gd name="T30" fmla="*/ 12 w 15"/>
                  <a:gd name="T31" fmla="*/ 48 h 49"/>
                  <a:gd name="T32" fmla="*/ 15 w 15"/>
                  <a:gd name="T3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0" name="Freeform 286">
                <a:extLst>
                  <a:ext uri="{FF2B5EF4-FFF2-40B4-BE49-F238E27FC236}">
                    <a16:creationId xmlns:a16="http://schemas.microsoft.com/office/drawing/2014/main" id="{47324EF7-B193-44C8-9605-7420BFC3CB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20 w 47"/>
                  <a:gd name="T1" fmla="*/ 6 h 40"/>
                  <a:gd name="T2" fmla="*/ 0 w 47"/>
                  <a:gd name="T3" fmla="*/ 37 h 40"/>
                  <a:gd name="T4" fmla="*/ 6 w 47"/>
                  <a:gd name="T5" fmla="*/ 39 h 40"/>
                  <a:gd name="T6" fmla="*/ 12 w 47"/>
                  <a:gd name="T7" fmla="*/ 40 h 40"/>
                  <a:gd name="T8" fmla="*/ 19 w 47"/>
                  <a:gd name="T9" fmla="*/ 39 h 40"/>
                  <a:gd name="T10" fmla="*/ 26 w 47"/>
                  <a:gd name="T11" fmla="*/ 38 h 40"/>
                  <a:gd name="T12" fmla="*/ 32 w 47"/>
                  <a:gd name="T13" fmla="*/ 36 h 40"/>
                  <a:gd name="T14" fmla="*/ 39 w 47"/>
                  <a:gd name="T15" fmla="*/ 33 h 40"/>
                  <a:gd name="T16" fmla="*/ 43 w 47"/>
                  <a:gd name="T17" fmla="*/ 30 h 40"/>
                  <a:gd name="T18" fmla="*/ 47 w 47"/>
                  <a:gd name="T19" fmla="*/ 25 h 40"/>
                  <a:gd name="T20" fmla="*/ 47 w 47"/>
                  <a:gd name="T21" fmla="*/ 0 h 40"/>
                  <a:gd name="T22" fmla="*/ 41 w 47"/>
                  <a:gd name="T23" fmla="*/ 0 h 40"/>
                  <a:gd name="T24" fmla="*/ 33 w 47"/>
                  <a:gd name="T25" fmla="*/ 1 h 40"/>
                  <a:gd name="T26" fmla="*/ 26 w 47"/>
                  <a:gd name="T27" fmla="*/ 3 h 40"/>
                  <a:gd name="T28" fmla="*/ 20 w 47"/>
                  <a:gd name="T29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1" name="Freeform 287">
                <a:extLst>
                  <a:ext uri="{FF2B5EF4-FFF2-40B4-BE49-F238E27FC236}">
                    <a16:creationId xmlns:a16="http://schemas.microsoft.com/office/drawing/2014/main" id="{CAE8409F-AD17-413C-97C5-00257B79EC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3 w 39"/>
                  <a:gd name="T3" fmla="*/ 8 h 31"/>
                  <a:gd name="T4" fmla="*/ 6 w 39"/>
                  <a:gd name="T5" fmla="*/ 13 h 31"/>
                  <a:gd name="T6" fmla="*/ 12 w 39"/>
                  <a:gd name="T7" fmla="*/ 19 h 31"/>
                  <a:gd name="T8" fmla="*/ 17 w 39"/>
                  <a:gd name="T9" fmla="*/ 23 h 31"/>
                  <a:gd name="T10" fmla="*/ 23 w 39"/>
                  <a:gd name="T11" fmla="*/ 26 h 31"/>
                  <a:gd name="T12" fmla="*/ 28 w 39"/>
                  <a:gd name="T13" fmla="*/ 29 h 31"/>
                  <a:gd name="T14" fmla="*/ 34 w 39"/>
                  <a:gd name="T15" fmla="*/ 31 h 31"/>
                  <a:gd name="T16" fmla="*/ 39 w 39"/>
                  <a:gd name="T17" fmla="*/ 31 h 31"/>
                  <a:gd name="T18" fmla="*/ 33 w 39"/>
                  <a:gd name="T19" fmla="*/ 22 h 31"/>
                  <a:gd name="T20" fmla="*/ 25 w 39"/>
                  <a:gd name="T21" fmla="*/ 14 h 31"/>
                  <a:gd name="T22" fmla="*/ 16 w 39"/>
                  <a:gd name="T23" fmla="*/ 7 h 31"/>
                  <a:gd name="T24" fmla="*/ 6 w 39"/>
                  <a:gd name="T2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2" name="Freeform 288">
                <a:extLst>
                  <a:ext uri="{FF2B5EF4-FFF2-40B4-BE49-F238E27FC236}">
                    <a16:creationId xmlns:a16="http://schemas.microsoft.com/office/drawing/2014/main" id="{A9D120E0-03C7-4C35-B3F5-ADA05AE8EA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34 w 34"/>
                  <a:gd name="T3" fmla="*/ 19 h 19"/>
                  <a:gd name="T4" fmla="*/ 34 w 34"/>
                  <a:gd name="T5" fmla="*/ 0 h 19"/>
                  <a:gd name="T6" fmla="*/ 24 w 34"/>
                  <a:gd name="T7" fmla="*/ 0 h 19"/>
                  <a:gd name="T8" fmla="*/ 14 w 34"/>
                  <a:gd name="T9" fmla="*/ 0 h 19"/>
                  <a:gd name="T10" fmla="*/ 7 w 34"/>
                  <a:gd name="T11" fmla="*/ 0 h 19"/>
                  <a:gd name="T12" fmla="*/ 0 w 34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3" name="Freeform 289">
                <a:extLst>
                  <a:ext uri="{FF2B5EF4-FFF2-40B4-BE49-F238E27FC236}">
                    <a16:creationId xmlns:a16="http://schemas.microsoft.com/office/drawing/2014/main" id="{AF9827F1-53DF-42C0-B601-E87570B745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19 w 19"/>
                  <a:gd name="T3" fmla="*/ 12 h 12"/>
                  <a:gd name="T4" fmla="*/ 13 w 19"/>
                  <a:gd name="T5" fmla="*/ 6 h 12"/>
                  <a:gd name="T6" fmla="*/ 6 w 19"/>
                  <a:gd name="T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4" name="Freeform 290">
                <a:extLst>
                  <a:ext uri="{FF2B5EF4-FFF2-40B4-BE49-F238E27FC236}">
                    <a16:creationId xmlns:a16="http://schemas.microsoft.com/office/drawing/2014/main" id="{E40E6123-FED9-49CE-A206-5CEA194080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113 w 126"/>
                  <a:gd name="T1" fmla="*/ 0 h 166"/>
                  <a:gd name="T2" fmla="*/ 117 w 126"/>
                  <a:gd name="T3" fmla="*/ 5 h 166"/>
                  <a:gd name="T4" fmla="*/ 121 w 126"/>
                  <a:gd name="T5" fmla="*/ 10 h 166"/>
                  <a:gd name="T6" fmla="*/ 124 w 126"/>
                  <a:gd name="T7" fmla="*/ 13 h 166"/>
                  <a:gd name="T8" fmla="*/ 125 w 126"/>
                  <a:gd name="T9" fmla="*/ 17 h 166"/>
                  <a:gd name="T10" fmla="*/ 126 w 126"/>
                  <a:gd name="T11" fmla="*/ 20 h 166"/>
                  <a:gd name="T12" fmla="*/ 126 w 126"/>
                  <a:gd name="T13" fmla="*/ 25 h 166"/>
                  <a:gd name="T14" fmla="*/ 123 w 126"/>
                  <a:gd name="T15" fmla="*/ 32 h 166"/>
                  <a:gd name="T16" fmla="*/ 118 w 126"/>
                  <a:gd name="T17" fmla="*/ 41 h 166"/>
                  <a:gd name="T18" fmla="*/ 113 w 126"/>
                  <a:gd name="T19" fmla="*/ 50 h 166"/>
                  <a:gd name="T20" fmla="*/ 106 w 126"/>
                  <a:gd name="T21" fmla="*/ 61 h 166"/>
                  <a:gd name="T22" fmla="*/ 91 w 126"/>
                  <a:gd name="T23" fmla="*/ 83 h 166"/>
                  <a:gd name="T24" fmla="*/ 72 w 126"/>
                  <a:gd name="T25" fmla="*/ 104 h 166"/>
                  <a:gd name="T26" fmla="*/ 53 w 126"/>
                  <a:gd name="T27" fmla="*/ 126 h 166"/>
                  <a:gd name="T28" fmla="*/ 34 w 126"/>
                  <a:gd name="T29" fmla="*/ 144 h 166"/>
                  <a:gd name="T30" fmla="*/ 25 w 126"/>
                  <a:gd name="T31" fmla="*/ 152 h 166"/>
                  <a:gd name="T32" fmla="*/ 16 w 126"/>
                  <a:gd name="T33" fmla="*/ 158 h 166"/>
                  <a:gd name="T34" fmla="*/ 7 w 126"/>
                  <a:gd name="T35" fmla="*/ 163 h 166"/>
                  <a:gd name="T36" fmla="*/ 0 w 126"/>
                  <a:gd name="T37" fmla="*/ 166 h 166"/>
                  <a:gd name="T38" fmla="*/ 0 w 126"/>
                  <a:gd name="T39" fmla="*/ 160 h 166"/>
                  <a:gd name="T40" fmla="*/ 0 w 126"/>
                  <a:gd name="T41" fmla="*/ 153 h 166"/>
                  <a:gd name="T42" fmla="*/ 0 w 126"/>
                  <a:gd name="T43" fmla="*/ 145 h 166"/>
                  <a:gd name="T44" fmla="*/ 0 w 126"/>
                  <a:gd name="T45" fmla="*/ 136 h 166"/>
                  <a:gd name="T46" fmla="*/ 3 w 126"/>
                  <a:gd name="T47" fmla="*/ 131 h 166"/>
                  <a:gd name="T48" fmla="*/ 6 w 126"/>
                  <a:gd name="T49" fmla="*/ 128 h 166"/>
                  <a:gd name="T50" fmla="*/ 12 w 126"/>
                  <a:gd name="T51" fmla="*/ 124 h 166"/>
                  <a:gd name="T52" fmla="*/ 16 w 126"/>
                  <a:gd name="T53" fmla="*/ 121 h 166"/>
                  <a:gd name="T54" fmla="*/ 26 w 126"/>
                  <a:gd name="T55" fmla="*/ 116 h 166"/>
                  <a:gd name="T56" fmla="*/ 33 w 126"/>
                  <a:gd name="T57" fmla="*/ 110 h 166"/>
                  <a:gd name="T58" fmla="*/ 40 w 126"/>
                  <a:gd name="T59" fmla="*/ 104 h 166"/>
                  <a:gd name="T60" fmla="*/ 48 w 126"/>
                  <a:gd name="T61" fmla="*/ 96 h 166"/>
                  <a:gd name="T62" fmla="*/ 53 w 126"/>
                  <a:gd name="T63" fmla="*/ 89 h 166"/>
                  <a:gd name="T64" fmla="*/ 58 w 126"/>
                  <a:gd name="T65" fmla="*/ 82 h 166"/>
                  <a:gd name="T66" fmla="*/ 67 w 126"/>
                  <a:gd name="T67" fmla="*/ 66 h 166"/>
                  <a:gd name="T68" fmla="*/ 72 w 126"/>
                  <a:gd name="T69" fmla="*/ 50 h 166"/>
                  <a:gd name="T70" fmla="*/ 79 w 126"/>
                  <a:gd name="T71" fmla="*/ 36 h 166"/>
                  <a:gd name="T72" fmla="*/ 87 w 126"/>
                  <a:gd name="T73" fmla="*/ 23 h 166"/>
                  <a:gd name="T74" fmla="*/ 92 w 126"/>
                  <a:gd name="T75" fmla="*/ 16 h 166"/>
                  <a:gd name="T76" fmla="*/ 97 w 126"/>
                  <a:gd name="T77" fmla="*/ 11 h 166"/>
                  <a:gd name="T78" fmla="*/ 104 w 126"/>
                  <a:gd name="T79" fmla="*/ 5 h 166"/>
                  <a:gd name="T80" fmla="*/ 113 w 126"/>
                  <a:gd name="T81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5" name="Freeform 291">
                <a:extLst>
                  <a:ext uri="{FF2B5EF4-FFF2-40B4-BE49-F238E27FC236}">
                    <a16:creationId xmlns:a16="http://schemas.microsoft.com/office/drawing/2014/main" id="{53EA0A1C-690E-4BA8-8EDE-2D17546478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8 w 259"/>
                  <a:gd name="T1" fmla="*/ 182 h 259"/>
                  <a:gd name="T2" fmla="*/ 1 w 259"/>
                  <a:gd name="T3" fmla="*/ 163 h 259"/>
                  <a:gd name="T4" fmla="*/ 0 w 259"/>
                  <a:gd name="T5" fmla="*/ 142 h 259"/>
                  <a:gd name="T6" fmla="*/ 6 w 259"/>
                  <a:gd name="T7" fmla="*/ 130 h 259"/>
                  <a:gd name="T8" fmla="*/ 19 w 259"/>
                  <a:gd name="T9" fmla="*/ 126 h 259"/>
                  <a:gd name="T10" fmla="*/ 34 w 259"/>
                  <a:gd name="T11" fmla="*/ 117 h 259"/>
                  <a:gd name="T12" fmla="*/ 48 w 259"/>
                  <a:gd name="T13" fmla="*/ 100 h 259"/>
                  <a:gd name="T14" fmla="*/ 60 w 259"/>
                  <a:gd name="T15" fmla="*/ 91 h 259"/>
                  <a:gd name="T16" fmla="*/ 68 w 259"/>
                  <a:gd name="T17" fmla="*/ 87 h 259"/>
                  <a:gd name="T18" fmla="*/ 83 w 259"/>
                  <a:gd name="T19" fmla="*/ 87 h 259"/>
                  <a:gd name="T20" fmla="*/ 94 w 259"/>
                  <a:gd name="T21" fmla="*/ 93 h 259"/>
                  <a:gd name="T22" fmla="*/ 101 w 259"/>
                  <a:gd name="T23" fmla="*/ 105 h 259"/>
                  <a:gd name="T24" fmla="*/ 108 w 259"/>
                  <a:gd name="T25" fmla="*/ 110 h 259"/>
                  <a:gd name="T26" fmla="*/ 120 w 259"/>
                  <a:gd name="T27" fmla="*/ 110 h 259"/>
                  <a:gd name="T28" fmla="*/ 135 w 259"/>
                  <a:gd name="T29" fmla="*/ 104 h 259"/>
                  <a:gd name="T30" fmla="*/ 148 w 259"/>
                  <a:gd name="T31" fmla="*/ 93 h 259"/>
                  <a:gd name="T32" fmla="*/ 160 w 259"/>
                  <a:gd name="T33" fmla="*/ 78 h 259"/>
                  <a:gd name="T34" fmla="*/ 174 w 259"/>
                  <a:gd name="T35" fmla="*/ 51 h 259"/>
                  <a:gd name="T36" fmla="*/ 188 w 259"/>
                  <a:gd name="T37" fmla="*/ 16 h 259"/>
                  <a:gd name="T38" fmla="*/ 195 w 259"/>
                  <a:gd name="T39" fmla="*/ 4 h 259"/>
                  <a:gd name="T40" fmla="*/ 202 w 259"/>
                  <a:gd name="T41" fmla="*/ 12 h 259"/>
                  <a:gd name="T42" fmla="*/ 213 w 259"/>
                  <a:gd name="T43" fmla="*/ 18 h 259"/>
                  <a:gd name="T44" fmla="*/ 219 w 259"/>
                  <a:gd name="T45" fmla="*/ 32 h 259"/>
                  <a:gd name="T46" fmla="*/ 219 w 259"/>
                  <a:gd name="T47" fmla="*/ 52 h 259"/>
                  <a:gd name="T48" fmla="*/ 227 w 259"/>
                  <a:gd name="T49" fmla="*/ 61 h 259"/>
                  <a:gd name="T50" fmla="*/ 234 w 259"/>
                  <a:gd name="T51" fmla="*/ 70 h 259"/>
                  <a:gd name="T52" fmla="*/ 234 w 259"/>
                  <a:gd name="T53" fmla="*/ 88 h 259"/>
                  <a:gd name="T54" fmla="*/ 234 w 259"/>
                  <a:gd name="T55" fmla="*/ 104 h 259"/>
                  <a:gd name="T56" fmla="*/ 237 w 259"/>
                  <a:gd name="T57" fmla="*/ 110 h 259"/>
                  <a:gd name="T58" fmla="*/ 243 w 259"/>
                  <a:gd name="T59" fmla="*/ 121 h 259"/>
                  <a:gd name="T60" fmla="*/ 249 w 259"/>
                  <a:gd name="T61" fmla="*/ 137 h 259"/>
                  <a:gd name="T62" fmla="*/ 254 w 259"/>
                  <a:gd name="T63" fmla="*/ 161 h 259"/>
                  <a:gd name="T64" fmla="*/ 245 w 259"/>
                  <a:gd name="T65" fmla="*/ 235 h 259"/>
                  <a:gd name="T66" fmla="*/ 239 w 259"/>
                  <a:gd name="T67" fmla="*/ 222 h 259"/>
                  <a:gd name="T68" fmla="*/ 237 w 259"/>
                  <a:gd name="T69" fmla="*/ 208 h 259"/>
                  <a:gd name="T70" fmla="*/ 239 w 259"/>
                  <a:gd name="T71" fmla="*/ 192 h 259"/>
                  <a:gd name="T72" fmla="*/ 222 w 259"/>
                  <a:gd name="T73" fmla="*/ 188 h 259"/>
                  <a:gd name="T74" fmla="*/ 206 w 259"/>
                  <a:gd name="T75" fmla="*/ 179 h 259"/>
                  <a:gd name="T76" fmla="*/ 194 w 259"/>
                  <a:gd name="T77" fmla="*/ 199 h 259"/>
                  <a:gd name="T78" fmla="*/ 188 w 259"/>
                  <a:gd name="T79" fmla="*/ 219 h 259"/>
                  <a:gd name="T80" fmla="*/ 185 w 259"/>
                  <a:gd name="T81" fmla="*/ 259 h 259"/>
                  <a:gd name="T82" fmla="*/ 124 w 259"/>
                  <a:gd name="T83" fmla="*/ 242 h 259"/>
                  <a:gd name="T84" fmla="*/ 110 w 259"/>
                  <a:gd name="T85" fmla="*/ 220 h 259"/>
                  <a:gd name="T86" fmla="*/ 99 w 259"/>
                  <a:gd name="T87" fmla="*/ 209 h 259"/>
                  <a:gd name="T88" fmla="*/ 97 w 259"/>
                  <a:gd name="T89" fmla="*/ 196 h 259"/>
                  <a:gd name="T90" fmla="*/ 105 w 259"/>
                  <a:gd name="T91" fmla="*/ 186 h 259"/>
                  <a:gd name="T92" fmla="*/ 112 w 259"/>
                  <a:gd name="T93" fmla="*/ 180 h 259"/>
                  <a:gd name="T94" fmla="*/ 117 w 259"/>
                  <a:gd name="T95" fmla="*/ 173 h 259"/>
                  <a:gd name="T96" fmla="*/ 93 w 259"/>
                  <a:gd name="T97" fmla="*/ 154 h 259"/>
                  <a:gd name="T98" fmla="*/ 28 w 259"/>
                  <a:gd name="T99" fmla="*/ 155 h 259"/>
                  <a:gd name="T100" fmla="*/ 20 w 259"/>
                  <a:gd name="T101" fmla="*/ 163 h 259"/>
                  <a:gd name="T102" fmla="*/ 16 w 259"/>
                  <a:gd name="T103" fmla="*/ 175 h 259"/>
                  <a:gd name="T104" fmla="*/ 13 w 259"/>
                  <a:gd name="T105" fmla="*/ 18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6" name="Freeform 292">
                <a:extLst>
                  <a:ext uri="{FF2B5EF4-FFF2-40B4-BE49-F238E27FC236}">
                    <a16:creationId xmlns:a16="http://schemas.microsoft.com/office/drawing/2014/main" id="{06DF4573-FAAE-455B-BBA1-3C8C2A7736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72 w 72"/>
                  <a:gd name="T1" fmla="*/ 43 h 92"/>
                  <a:gd name="T2" fmla="*/ 72 w 72"/>
                  <a:gd name="T3" fmla="*/ 92 h 92"/>
                  <a:gd name="T4" fmla="*/ 65 w 72"/>
                  <a:gd name="T5" fmla="*/ 86 h 92"/>
                  <a:gd name="T6" fmla="*/ 58 w 72"/>
                  <a:gd name="T7" fmla="*/ 81 h 92"/>
                  <a:gd name="T8" fmla="*/ 51 w 72"/>
                  <a:gd name="T9" fmla="*/ 75 h 92"/>
                  <a:gd name="T10" fmla="*/ 46 w 72"/>
                  <a:gd name="T11" fmla="*/ 69 h 92"/>
                  <a:gd name="T12" fmla="*/ 38 w 72"/>
                  <a:gd name="T13" fmla="*/ 58 h 92"/>
                  <a:gd name="T14" fmla="*/ 32 w 72"/>
                  <a:gd name="T15" fmla="*/ 46 h 92"/>
                  <a:gd name="T16" fmla="*/ 25 w 72"/>
                  <a:gd name="T17" fmla="*/ 34 h 92"/>
                  <a:gd name="T18" fmla="*/ 19 w 72"/>
                  <a:gd name="T19" fmla="*/ 23 h 92"/>
                  <a:gd name="T20" fmla="*/ 11 w 72"/>
                  <a:gd name="T21" fmla="*/ 12 h 92"/>
                  <a:gd name="T22" fmla="*/ 0 w 72"/>
                  <a:gd name="T23" fmla="*/ 0 h 92"/>
                  <a:gd name="T24" fmla="*/ 25 w 72"/>
                  <a:gd name="T25" fmla="*/ 12 h 92"/>
                  <a:gd name="T26" fmla="*/ 44 w 72"/>
                  <a:gd name="T27" fmla="*/ 21 h 92"/>
                  <a:gd name="T28" fmla="*/ 51 w 72"/>
                  <a:gd name="T29" fmla="*/ 26 h 92"/>
                  <a:gd name="T30" fmla="*/ 58 w 72"/>
                  <a:gd name="T31" fmla="*/ 31 h 92"/>
                  <a:gd name="T32" fmla="*/ 66 w 72"/>
                  <a:gd name="T33" fmla="*/ 36 h 92"/>
                  <a:gd name="T34" fmla="*/ 72 w 72"/>
                  <a:gd name="T35" fmla="*/ 43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7" name="Freeform 293">
                <a:extLst>
                  <a:ext uri="{FF2B5EF4-FFF2-40B4-BE49-F238E27FC236}">
                    <a16:creationId xmlns:a16="http://schemas.microsoft.com/office/drawing/2014/main" id="{5C5D7C13-6E72-4A81-AA7A-849C963036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6 w 46"/>
                  <a:gd name="T1" fmla="*/ 6 h 62"/>
                  <a:gd name="T2" fmla="*/ 19 w 46"/>
                  <a:gd name="T3" fmla="*/ 5 h 62"/>
                  <a:gd name="T4" fmla="*/ 31 w 46"/>
                  <a:gd name="T5" fmla="*/ 3 h 62"/>
                  <a:gd name="T6" fmla="*/ 39 w 46"/>
                  <a:gd name="T7" fmla="*/ 1 h 62"/>
                  <a:gd name="T8" fmla="*/ 46 w 46"/>
                  <a:gd name="T9" fmla="*/ 0 h 62"/>
                  <a:gd name="T10" fmla="*/ 46 w 46"/>
                  <a:gd name="T11" fmla="*/ 9 h 62"/>
                  <a:gd name="T12" fmla="*/ 46 w 46"/>
                  <a:gd name="T13" fmla="*/ 18 h 62"/>
                  <a:gd name="T14" fmla="*/ 46 w 46"/>
                  <a:gd name="T15" fmla="*/ 27 h 62"/>
                  <a:gd name="T16" fmla="*/ 46 w 46"/>
                  <a:gd name="T17" fmla="*/ 38 h 62"/>
                  <a:gd name="T18" fmla="*/ 45 w 46"/>
                  <a:gd name="T19" fmla="*/ 46 h 62"/>
                  <a:gd name="T20" fmla="*/ 41 w 46"/>
                  <a:gd name="T21" fmla="*/ 54 h 62"/>
                  <a:gd name="T22" fmla="*/ 39 w 46"/>
                  <a:gd name="T23" fmla="*/ 57 h 62"/>
                  <a:gd name="T24" fmla="*/ 37 w 46"/>
                  <a:gd name="T25" fmla="*/ 60 h 62"/>
                  <a:gd name="T26" fmla="*/ 35 w 46"/>
                  <a:gd name="T27" fmla="*/ 61 h 62"/>
                  <a:gd name="T28" fmla="*/ 33 w 46"/>
                  <a:gd name="T29" fmla="*/ 62 h 62"/>
                  <a:gd name="T30" fmla="*/ 27 w 46"/>
                  <a:gd name="T31" fmla="*/ 61 h 62"/>
                  <a:gd name="T32" fmla="*/ 22 w 46"/>
                  <a:gd name="T33" fmla="*/ 60 h 62"/>
                  <a:gd name="T34" fmla="*/ 17 w 46"/>
                  <a:gd name="T35" fmla="*/ 59 h 62"/>
                  <a:gd name="T36" fmla="*/ 14 w 46"/>
                  <a:gd name="T37" fmla="*/ 57 h 62"/>
                  <a:gd name="T38" fmla="*/ 11 w 46"/>
                  <a:gd name="T39" fmla="*/ 54 h 62"/>
                  <a:gd name="T40" fmla="*/ 7 w 46"/>
                  <a:gd name="T41" fmla="*/ 51 h 62"/>
                  <a:gd name="T42" fmla="*/ 5 w 46"/>
                  <a:gd name="T43" fmla="*/ 47 h 62"/>
                  <a:gd name="T44" fmla="*/ 4 w 46"/>
                  <a:gd name="T45" fmla="*/ 44 h 62"/>
                  <a:gd name="T46" fmla="*/ 1 w 46"/>
                  <a:gd name="T47" fmla="*/ 34 h 62"/>
                  <a:gd name="T48" fmla="*/ 0 w 46"/>
                  <a:gd name="T49" fmla="*/ 25 h 62"/>
                  <a:gd name="T50" fmla="*/ 0 w 46"/>
                  <a:gd name="T51" fmla="*/ 16 h 62"/>
                  <a:gd name="T52" fmla="*/ 0 w 46"/>
                  <a:gd name="T53" fmla="*/ 6 h 62"/>
                  <a:gd name="T54" fmla="*/ 6 w 46"/>
                  <a:gd name="T55" fmla="*/ 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8" name="Freeform 294">
                <a:extLst>
                  <a:ext uri="{FF2B5EF4-FFF2-40B4-BE49-F238E27FC236}">
                    <a16:creationId xmlns:a16="http://schemas.microsoft.com/office/drawing/2014/main" id="{211A674A-7E2F-44AD-ABF2-A0F3E56F59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59 w 152"/>
                  <a:gd name="T1" fmla="*/ 0 h 296"/>
                  <a:gd name="T2" fmla="*/ 66 w 152"/>
                  <a:gd name="T3" fmla="*/ 9 h 296"/>
                  <a:gd name="T4" fmla="*/ 77 w 152"/>
                  <a:gd name="T5" fmla="*/ 17 h 296"/>
                  <a:gd name="T6" fmla="*/ 88 w 152"/>
                  <a:gd name="T7" fmla="*/ 23 h 296"/>
                  <a:gd name="T8" fmla="*/ 99 w 152"/>
                  <a:gd name="T9" fmla="*/ 25 h 296"/>
                  <a:gd name="T10" fmla="*/ 108 w 152"/>
                  <a:gd name="T11" fmla="*/ 21 h 296"/>
                  <a:gd name="T12" fmla="*/ 118 w 152"/>
                  <a:gd name="T13" fmla="*/ 12 h 296"/>
                  <a:gd name="T14" fmla="*/ 122 w 152"/>
                  <a:gd name="T15" fmla="*/ 35 h 296"/>
                  <a:gd name="T16" fmla="*/ 130 w 152"/>
                  <a:gd name="T17" fmla="*/ 62 h 296"/>
                  <a:gd name="T18" fmla="*/ 141 w 152"/>
                  <a:gd name="T19" fmla="*/ 86 h 296"/>
                  <a:gd name="T20" fmla="*/ 147 w 152"/>
                  <a:gd name="T21" fmla="*/ 94 h 296"/>
                  <a:gd name="T22" fmla="*/ 152 w 152"/>
                  <a:gd name="T23" fmla="*/ 99 h 296"/>
                  <a:gd name="T24" fmla="*/ 143 w 152"/>
                  <a:gd name="T25" fmla="*/ 120 h 296"/>
                  <a:gd name="T26" fmla="*/ 129 w 152"/>
                  <a:gd name="T27" fmla="*/ 140 h 296"/>
                  <a:gd name="T28" fmla="*/ 117 w 152"/>
                  <a:gd name="T29" fmla="*/ 157 h 296"/>
                  <a:gd name="T30" fmla="*/ 112 w 152"/>
                  <a:gd name="T31" fmla="*/ 172 h 296"/>
                  <a:gd name="T32" fmla="*/ 115 w 152"/>
                  <a:gd name="T33" fmla="*/ 197 h 296"/>
                  <a:gd name="T34" fmla="*/ 115 w 152"/>
                  <a:gd name="T35" fmla="*/ 205 h 296"/>
                  <a:gd name="T36" fmla="*/ 112 w 152"/>
                  <a:gd name="T37" fmla="*/ 216 h 296"/>
                  <a:gd name="T38" fmla="*/ 126 w 152"/>
                  <a:gd name="T39" fmla="*/ 216 h 296"/>
                  <a:gd name="T40" fmla="*/ 146 w 152"/>
                  <a:gd name="T41" fmla="*/ 216 h 296"/>
                  <a:gd name="T42" fmla="*/ 136 w 152"/>
                  <a:gd name="T43" fmla="*/ 252 h 296"/>
                  <a:gd name="T44" fmla="*/ 136 w 152"/>
                  <a:gd name="T45" fmla="*/ 267 h 296"/>
                  <a:gd name="T46" fmla="*/ 146 w 152"/>
                  <a:gd name="T47" fmla="*/ 283 h 296"/>
                  <a:gd name="T48" fmla="*/ 125 w 152"/>
                  <a:gd name="T49" fmla="*/ 291 h 296"/>
                  <a:gd name="T50" fmla="*/ 105 w 152"/>
                  <a:gd name="T51" fmla="*/ 296 h 296"/>
                  <a:gd name="T52" fmla="*/ 85 w 152"/>
                  <a:gd name="T53" fmla="*/ 294 h 296"/>
                  <a:gd name="T54" fmla="*/ 73 w 152"/>
                  <a:gd name="T55" fmla="*/ 288 h 296"/>
                  <a:gd name="T56" fmla="*/ 67 w 152"/>
                  <a:gd name="T57" fmla="*/ 280 h 296"/>
                  <a:gd name="T58" fmla="*/ 66 w 152"/>
                  <a:gd name="T59" fmla="*/ 271 h 296"/>
                  <a:gd name="T60" fmla="*/ 85 w 152"/>
                  <a:gd name="T61" fmla="*/ 253 h 296"/>
                  <a:gd name="T62" fmla="*/ 69 w 152"/>
                  <a:gd name="T63" fmla="*/ 249 h 296"/>
                  <a:gd name="T64" fmla="*/ 52 w 152"/>
                  <a:gd name="T65" fmla="*/ 242 h 296"/>
                  <a:gd name="T66" fmla="*/ 38 w 152"/>
                  <a:gd name="T67" fmla="*/ 231 h 296"/>
                  <a:gd name="T68" fmla="*/ 25 w 152"/>
                  <a:gd name="T69" fmla="*/ 219 h 296"/>
                  <a:gd name="T70" fmla="*/ 14 w 152"/>
                  <a:gd name="T71" fmla="*/ 205 h 296"/>
                  <a:gd name="T72" fmla="*/ 6 w 152"/>
                  <a:gd name="T73" fmla="*/ 190 h 296"/>
                  <a:gd name="T74" fmla="*/ 1 w 152"/>
                  <a:gd name="T75" fmla="*/ 172 h 296"/>
                  <a:gd name="T76" fmla="*/ 0 w 152"/>
                  <a:gd name="T77" fmla="*/ 154 h 296"/>
                  <a:gd name="T78" fmla="*/ 0 w 152"/>
                  <a:gd name="T79" fmla="*/ 130 h 296"/>
                  <a:gd name="T80" fmla="*/ 27 w 152"/>
                  <a:gd name="T81" fmla="*/ 106 h 296"/>
                  <a:gd name="T82" fmla="*/ 32 w 152"/>
                  <a:gd name="T83" fmla="*/ 46 h 296"/>
                  <a:gd name="T84" fmla="*/ 31 w 152"/>
                  <a:gd name="T85" fmla="*/ 18 h 296"/>
                  <a:gd name="T86" fmla="*/ 28 w 152"/>
                  <a:gd name="T87" fmla="*/ 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69" name="Freeform 295">
                <a:extLst>
                  <a:ext uri="{FF2B5EF4-FFF2-40B4-BE49-F238E27FC236}">
                    <a16:creationId xmlns:a16="http://schemas.microsoft.com/office/drawing/2014/main" id="{C0B4332D-8378-4409-8AA3-B99E888EAB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26 w 26"/>
                  <a:gd name="T1" fmla="*/ 38 h 38"/>
                  <a:gd name="T2" fmla="*/ 26 w 26"/>
                  <a:gd name="T3" fmla="*/ 0 h 38"/>
                  <a:gd name="T4" fmla="*/ 21 w 26"/>
                  <a:gd name="T5" fmla="*/ 1 h 38"/>
                  <a:gd name="T6" fmla="*/ 13 w 26"/>
                  <a:gd name="T7" fmla="*/ 4 h 38"/>
                  <a:gd name="T8" fmla="*/ 6 w 26"/>
                  <a:gd name="T9" fmla="*/ 8 h 38"/>
                  <a:gd name="T10" fmla="*/ 0 w 26"/>
                  <a:gd name="T11" fmla="*/ 13 h 38"/>
                  <a:gd name="T12" fmla="*/ 18 w 26"/>
                  <a:gd name="T13" fmla="*/ 30 h 38"/>
                  <a:gd name="T14" fmla="*/ 26 w 26"/>
                  <a:gd name="T1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70" name="Freeform 296">
                <a:extLst>
                  <a:ext uri="{FF2B5EF4-FFF2-40B4-BE49-F238E27FC236}">
                    <a16:creationId xmlns:a16="http://schemas.microsoft.com/office/drawing/2014/main" id="{76E28C5F-EC35-457A-AF24-6EDEF99F67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18 h 31"/>
                  <a:gd name="T2" fmla="*/ 8 w 34"/>
                  <a:gd name="T3" fmla="*/ 22 h 31"/>
                  <a:gd name="T4" fmla="*/ 17 w 34"/>
                  <a:gd name="T5" fmla="*/ 26 h 31"/>
                  <a:gd name="T6" fmla="*/ 27 w 34"/>
                  <a:gd name="T7" fmla="*/ 30 h 31"/>
                  <a:gd name="T8" fmla="*/ 34 w 34"/>
                  <a:gd name="T9" fmla="*/ 31 h 31"/>
                  <a:gd name="T10" fmla="*/ 33 w 34"/>
                  <a:gd name="T11" fmla="*/ 24 h 31"/>
                  <a:gd name="T12" fmla="*/ 30 w 34"/>
                  <a:gd name="T13" fmla="*/ 15 h 31"/>
                  <a:gd name="T14" fmla="*/ 26 w 34"/>
                  <a:gd name="T15" fmla="*/ 6 h 31"/>
                  <a:gd name="T16" fmla="*/ 20 w 34"/>
                  <a:gd name="T17" fmla="*/ 0 h 31"/>
                  <a:gd name="T18" fmla="*/ 16 w 34"/>
                  <a:gd name="T19" fmla="*/ 5 h 31"/>
                  <a:gd name="T20" fmla="*/ 10 w 34"/>
                  <a:gd name="T21" fmla="*/ 11 h 31"/>
                  <a:gd name="T22" fmla="*/ 8 w 34"/>
                  <a:gd name="T23" fmla="*/ 14 h 31"/>
                  <a:gd name="T24" fmla="*/ 6 w 34"/>
                  <a:gd name="T25" fmla="*/ 16 h 31"/>
                  <a:gd name="T26" fmla="*/ 4 w 34"/>
                  <a:gd name="T27" fmla="*/ 18 h 31"/>
                  <a:gd name="T28" fmla="*/ 0 w 34"/>
                  <a:gd name="T29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71" name="Freeform 297">
                <a:extLst>
                  <a:ext uri="{FF2B5EF4-FFF2-40B4-BE49-F238E27FC236}">
                    <a16:creationId xmlns:a16="http://schemas.microsoft.com/office/drawing/2014/main" id="{EC783E89-BF34-4BDC-9281-F21C52EA03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6 h 37"/>
                  <a:gd name="T2" fmla="*/ 0 w 20"/>
                  <a:gd name="T3" fmla="*/ 37 h 37"/>
                  <a:gd name="T4" fmla="*/ 7 w 20"/>
                  <a:gd name="T5" fmla="*/ 33 h 37"/>
                  <a:gd name="T6" fmla="*/ 20 w 20"/>
                  <a:gd name="T7" fmla="*/ 30 h 37"/>
                  <a:gd name="T8" fmla="*/ 20 w 20"/>
                  <a:gd name="T9" fmla="*/ 0 h 37"/>
                  <a:gd name="T10" fmla="*/ 0 w 20"/>
                  <a:gd name="T11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72" name="Line 298">
                <a:extLst>
                  <a:ext uri="{FF2B5EF4-FFF2-40B4-BE49-F238E27FC236}">
                    <a16:creationId xmlns:a16="http://schemas.microsoft.com/office/drawing/2014/main" id="{98B66292-D159-4967-A1CD-C3443734EDF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73" name="Freeform 299">
                <a:extLst>
                  <a:ext uri="{FF2B5EF4-FFF2-40B4-BE49-F238E27FC236}">
                    <a16:creationId xmlns:a16="http://schemas.microsoft.com/office/drawing/2014/main" id="{3AF6B913-9044-4728-BE37-AFFD947EB1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18 h 18"/>
                  <a:gd name="T2" fmla="*/ 1 w 13"/>
                  <a:gd name="T3" fmla="*/ 13 h 18"/>
                  <a:gd name="T4" fmla="*/ 3 w 13"/>
                  <a:gd name="T5" fmla="*/ 9 h 18"/>
                  <a:gd name="T6" fmla="*/ 7 w 13"/>
                  <a:gd name="T7" fmla="*/ 4 h 18"/>
                  <a:gd name="T8" fmla="*/ 13 w 13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74" name="Line 300">
                <a:extLst>
                  <a:ext uri="{FF2B5EF4-FFF2-40B4-BE49-F238E27FC236}">
                    <a16:creationId xmlns:a16="http://schemas.microsoft.com/office/drawing/2014/main" id="{E467E5C9-8133-48E3-8F4F-ED8F0329C72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75" name="Freeform 301">
                <a:extLst>
                  <a:ext uri="{FF2B5EF4-FFF2-40B4-BE49-F238E27FC236}">
                    <a16:creationId xmlns:a16="http://schemas.microsoft.com/office/drawing/2014/main" id="{0F1E08F0-4B07-40D5-9FDB-214AE6C785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20 w 27"/>
                  <a:gd name="T3" fmla="*/ 31 h 31"/>
                  <a:gd name="T4" fmla="*/ 27 w 27"/>
                  <a:gd name="T5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76" name="Freeform 302">
                <a:extLst>
                  <a:ext uri="{FF2B5EF4-FFF2-40B4-BE49-F238E27FC236}">
                    <a16:creationId xmlns:a16="http://schemas.microsoft.com/office/drawing/2014/main" id="{301625D1-4053-4048-91F3-7D0D8EFA69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20 w 20"/>
                  <a:gd name="T1" fmla="*/ 10 w 20"/>
                  <a:gd name="T2" fmla="*/ 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77" name="Freeform 303">
                <a:extLst>
                  <a:ext uri="{FF2B5EF4-FFF2-40B4-BE49-F238E27FC236}">
                    <a16:creationId xmlns:a16="http://schemas.microsoft.com/office/drawing/2014/main" id="{09E6FDFF-2DD8-46E4-BBC5-0351881B2C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13 h 13"/>
                  <a:gd name="T2" fmla="*/ 6 w 34"/>
                  <a:gd name="T3" fmla="*/ 13 h 13"/>
                  <a:gd name="T4" fmla="*/ 10 w 34"/>
                  <a:gd name="T5" fmla="*/ 11 h 13"/>
                  <a:gd name="T6" fmla="*/ 16 w 34"/>
                  <a:gd name="T7" fmla="*/ 10 h 13"/>
                  <a:gd name="T8" fmla="*/ 20 w 34"/>
                  <a:gd name="T9" fmla="*/ 7 h 13"/>
                  <a:gd name="T10" fmla="*/ 28 w 34"/>
                  <a:gd name="T11" fmla="*/ 2 h 13"/>
                  <a:gd name="T12" fmla="*/ 34 w 34"/>
                  <a:gd name="T13" fmla="*/ 0 h 13"/>
                  <a:gd name="T14" fmla="*/ 25 w 34"/>
                  <a:gd name="T15" fmla="*/ 0 h 13"/>
                  <a:gd name="T16" fmla="*/ 15 w 34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78" name="Freeform 304">
                <a:extLst>
                  <a:ext uri="{FF2B5EF4-FFF2-40B4-BE49-F238E27FC236}">
                    <a16:creationId xmlns:a16="http://schemas.microsoft.com/office/drawing/2014/main" id="{FDD1D8AD-0275-45CF-81EB-24FAB2C9F6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34 w 34"/>
                  <a:gd name="T1" fmla="*/ 18 h 18"/>
                  <a:gd name="T2" fmla="*/ 34 w 34"/>
                  <a:gd name="T3" fmla="*/ 0 h 18"/>
                  <a:gd name="T4" fmla="*/ 28 w 34"/>
                  <a:gd name="T5" fmla="*/ 0 h 18"/>
                  <a:gd name="T6" fmla="*/ 20 w 34"/>
                  <a:gd name="T7" fmla="*/ 0 h 18"/>
                  <a:gd name="T8" fmla="*/ 10 w 34"/>
                  <a:gd name="T9" fmla="*/ 0 h 18"/>
                  <a:gd name="T10" fmla="*/ 0 w 34"/>
                  <a:gd name="T11" fmla="*/ 0 h 18"/>
                  <a:gd name="T12" fmla="*/ 34 w 34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79" name="Freeform 305">
                <a:extLst>
                  <a:ext uri="{FF2B5EF4-FFF2-40B4-BE49-F238E27FC236}">
                    <a16:creationId xmlns:a16="http://schemas.microsoft.com/office/drawing/2014/main" id="{FA7AB03F-FBC2-4160-8F70-083C6985B5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53 w 59"/>
                  <a:gd name="T1" fmla="*/ 25 h 25"/>
                  <a:gd name="T2" fmla="*/ 56 w 59"/>
                  <a:gd name="T3" fmla="*/ 12 h 25"/>
                  <a:gd name="T4" fmla="*/ 59 w 59"/>
                  <a:gd name="T5" fmla="*/ 0 h 25"/>
                  <a:gd name="T6" fmla="*/ 44 w 59"/>
                  <a:gd name="T7" fmla="*/ 0 h 25"/>
                  <a:gd name="T8" fmla="*/ 27 w 59"/>
                  <a:gd name="T9" fmla="*/ 0 h 25"/>
                  <a:gd name="T10" fmla="*/ 19 w 59"/>
                  <a:gd name="T11" fmla="*/ 1 h 25"/>
                  <a:gd name="T12" fmla="*/ 12 w 59"/>
                  <a:gd name="T13" fmla="*/ 2 h 25"/>
                  <a:gd name="T14" fmla="*/ 5 w 59"/>
                  <a:gd name="T15" fmla="*/ 4 h 25"/>
                  <a:gd name="T16" fmla="*/ 0 w 59"/>
                  <a:gd name="T17" fmla="*/ 6 h 25"/>
                  <a:gd name="T18" fmla="*/ 13 w 59"/>
                  <a:gd name="T19" fmla="*/ 14 h 25"/>
                  <a:gd name="T20" fmla="*/ 26 w 59"/>
                  <a:gd name="T21" fmla="*/ 20 h 25"/>
                  <a:gd name="T22" fmla="*/ 33 w 59"/>
                  <a:gd name="T23" fmla="*/ 22 h 25"/>
                  <a:gd name="T24" fmla="*/ 38 w 59"/>
                  <a:gd name="T25" fmla="*/ 24 h 25"/>
                  <a:gd name="T26" fmla="*/ 46 w 59"/>
                  <a:gd name="T27" fmla="*/ 25 h 25"/>
                  <a:gd name="T28" fmla="*/ 53 w 59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80" name="Line 306">
                <a:extLst>
                  <a:ext uri="{FF2B5EF4-FFF2-40B4-BE49-F238E27FC236}">
                    <a16:creationId xmlns:a16="http://schemas.microsoft.com/office/drawing/2014/main" id="{FE0A77DE-54EC-435A-AFD0-50C47D0D768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213" name="Freeform 307">
              <a:extLst>
                <a:ext uri="{FF2B5EF4-FFF2-40B4-BE49-F238E27FC236}">
                  <a16:creationId xmlns:a16="http://schemas.microsoft.com/office/drawing/2014/main" id="{3BE083D4-1949-47BE-B64E-2C461D208B82}"/>
                </a:ext>
              </a:extLst>
            </p:cNvPr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8804275" y="3879851"/>
              <a:ext cx="14288" cy="55563"/>
            </a:xfrm>
            <a:custGeom>
              <a:avLst/>
              <a:gdLst>
                <a:gd name="T0" fmla="*/ 0 w 33"/>
                <a:gd name="T1" fmla="*/ 43 h 43"/>
                <a:gd name="T2" fmla="*/ 1 w 33"/>
                <a:gd name="T3" fmla="*/ 34 h 43"/>
                <a:gd name="T4" fmla="*/ 2 w 33"/>
                <a:gd name="T5" fmla="*/ 27 h 43"/>
                <a:gd name="T6" fmla="*/ 5 w 33"/>
                <a:gd name="T7" fmla="*/ 21 h 43"/>
                <a:gd name="T8" fmla="*/ 9 w 33"/>
                <a:gd name="T9" fmla="*/ 15 h 43"/>
                <a:gd name="T10" fmla="*/ 14 w 33"/>
                <a:gd name="T11" fmla="*/ 9 h 43"/>
                <a:gd name="T12" fmla="*/ 20 w 33"/>
                <a:gd name="T13" fmla="*/ 5 h 43"/>
                <a:gd name="T14" fmla="*/ 26 w 33"/>
                <a:gd name="T15" fmla="*/ 2 h 43"/>
                <a:gd name="T16" fmla="*/ 33 w 33"/>
                <a:gd name="T17" fmla="*/ 0 h 43"/>
                <a:gd name="T18" fmla="*/ 33 w 33"/>
                <a:gd name="T19" fmla="*/ 25 h 43"/>
                <a:gd name="T20" fmla="*/ 23 w 33"/>
                <a:gd name="T21" fmla="*/ 27 h 43"/>
                <a:gd name="T22" fmla="*/ 18 w 33"/>
                <a:gd name="T23" fmla="*/ 29 h 43"/>
                <a:gd name="T24" fmla="*/ 16 w 33"/>
                <a:gd name="T25" fmla="*/ 32 h 43"/>
                <a:gd name="T26" fmla="*/ 16 w 33"/>
                <a:gd name="T27" fmla="*/ 34 h 43"/>
                <a:gd name="T28" fmla="*/ 16 w 33"/>
                <a:gd name="T29" fmla="*/ 36 h 43"/>
                <a:gd name="T30" fmla="*/ 14 w 33"/>
                <a:gd name="T31" fmla="*/ 38 h 43"/>
                <a:gd name="T32" fmla="*/ 10 w 33"/>
                <a:gd name="T33" fmla="*/ 41 h 43"/>
                <a:gd name="T34" fmla="*/ 0 w 33"/>
                <a:gd name="T3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14" name="Freeform 308">
              <a:extLst>
                <a:ext uri="{FF2B5EF4-FFF2-40B4-BE49-F238E27FC236}">
                  <a16:creationId xmlns:a16="http://schemas.microsoft.com/office/drawing/2014/main" id="{25197096-33B3-49DC-A595-E2083F8C3AB5}"/>
                </a:ext>
              </a:extLst>
            </p:cNvPr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8880476" y="3819525"/>
              <a:ext cx="22225" cy="58738"/>
            </a:xfrm>
            <a:custGeom>
              <a:avLst/>
              <a:gdLst>
                <a:gd name="T0" fmla="*/ 0 w 54"/>
                <a:gd name="T1" fmla="*/ 55 h 92"/>
                <a:gd name="T2" fmla="*/ 1 w 54"/>
                <a:gd name="T3" fmla="*/ 51 h 92"/>
                <a:gd name="T4" fmla="*/ 2 w 54"/>
                <a:gd name="T5" fmla="*/ 46 h 92"/>
                <a:gd name="T6" fmla="*/ 3 w 54"/>
                <a:gd name="T7" fmla="*/ 42 h 92"/>
                <a:gd name="T8" fmla="*/ 6 w 54"/>
                <a:gd name="T9" fmla="*/ 37 h 92"/>
                <a:gd name="T10" fmla="*/ 11 w 54"/>
                <a:gd name="T11" fmla="*/ 29 h 92"/>
                <a:gd name="T12" fmla="*/ 18 w 54"/>
                <a:gd name="T13" fmla="*/ 21 h 92"/>
                <a:gd name="T14" fmla="*/ 31 w 54"/>
                <a:gd name="T15" fmla="*/ 7 h 92"/>
                <a:gd name="T16" fmla="*/ 41 w 54"/>
                <a:gd name="T17" fmla="*/ 0 h 92"/>
                <a:gd name="T18" fmla="*/ 54 w 54"/>
                <a:gd name="T19" fmla="*/ 12 h 92"/>
                <a:gd name="T20" fmla="*/ 51 w 54"/>
                <a:gd name="T21" fmla="*/ 21 h 92"/>
                <a:gd name="T22" fmla="*/ 47 w 54"/>
                <a:gd name="T23" fmla="*/ 29 h 92"/>
                <a:gd name="T24" fmla="*/ 44 w 54"/>
                <a:gd name="T25" fmla="*/ 35 h 92"/>
                <a:gd name="T26" fmla="*/ 41 w 54"/>
                <a:gd name="T27" fmla="*/ 41 h 92"/>
                <a:gd name="T28" fmla="*/ 33 w 54"/>
                <a:gd name="T29" fmla="*/ 49 h 92"/>
                <a:gd name="T30" fmla="*/ 28 w 54"/>
                <a:gd name="T31" fmla="*/ 55 h 92"/>
                <a:gd name="T32" fmla="*/ 26 w 54"/>
                <a:gd name="T33" fmla="*/ 64 h 92"/>
                <a:gd name="T34" fmla="*/ 26 w 54"/>
                <a:gd name="T35" fmla="*/ 74 h 92"/>
                <a:gd name="T36" fmla="*/ 24 w 54"/>
                <a:gd name="T37" fmla="*/ 83 h 92"/>
                <a:gd name="T38" fmla="*/ 20 w 54"/>
                <a:gd name="T39" fmla="*/ 92 h 92"/>
                <a:gd name="T40" fmla="*/ 14 w 54"/>
                <a:gd name="T41" fmla="*/ 83 h 92"/>
                <a:gd name="T42" fmla="*/ 8 w 54"/>
                <a:gd name="T43" fmla="*/ 74 h 92"/>
                <a:gd name="T44" fmla="*/ 5 w 54"/>
                <a:gd name="T45" fmla="*/ 70 h 92"/>
                <a:gd name="T46" fmla="*/ 2 w 54"/>
                <a:gd name="T47" fmla="*/ 64 h 92"/>
                <a:gd name="T48" fmla="*/ 1 w 54"/>
                <a:gd name="T49" fmla="*/ 60 h 92"/>
                <a:gd name="T50" fmla="*/ 0 w 54"/>
                <a:gd name="T51" fmla="*/ 5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15" name="Freeform 309">
              <a:extLst>
                <a:ext uri="{FF2B5EF4-FFF2-40B4-BE49-F238E27FC236}">
                  <a16:creationId xmlns:a16="http://schemas.microsoft.com/office/drawing/2014/main" id="{ABAD7FD2-7ABC-43D4-A928-994C548DA994}"/>
                </a:ext>
              </a:extLst>
            </p:cNvPr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8928101" y="3698875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19 w 60"/>
                <a:gd name="T3" fmla="*/ 4 h 18"/>
                <a:gd name="T4" fmla="*/ 37 w 60"/>
                <a:gd name="T5" fmla="*/ 9 h 18"/>
                <a:gd name="T6" fmla="*/ 45 w 60"/>
                <a:gd name="T7" fmla="*/ 11 h 18"/>
                <a:gd name="T8" fmla="*/ 51 w 60"/>
                <a:gd name="T9" fmla="*/ 13 h 18"/>
                <a:gd name="T10" fmla="*/ 56 w 60"/>
                <a:gd name="T11" fmla="*/ 16 h 18"/>
                <a:gd name="T12" fmla="*/ 60 w 60"/>
                <a:gd name="T13" fmla="*/ 18 h 18"/>
                <a:gd name="T14" fmla="*/ 38 w 60"/>
                <a:gd name="T15" fmla="*/ 18 h 18"/>
                <a:gd name="T16" fmla="*/ 23 w 60"/>
                <a:gd name="T17" fmla="*/ 18 h 18"/>
                <a:gd name="T18" fmla="*/ 10 w 60"/>
                <a:gd name="T19" fmla="*/ 18 h 18"/>
                <a:gd name="T20" fmla="*/ 0 w 60"/>
                <a:gd name="T21" fmla="*/ 18 h 18"/>
                <a:gd name="T22" fmla="*/ 0 w 6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16" name="Freeform 310">
              <a:extLst>
                <a:ext uri="{FF2B5EF4-FFF2-40B4-BE49-F238E27FC236}">
                  <a16:creationId xmlns:a16="http://schemas.microsoft.com/office/drawing/2014/main" id="{A83B9319-8B93-4BA0-AF89-06CCBF3BBB2B}"/>
                </a:ext>
              </a:extLst>
            </p:cNvPr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8912225" y="3668713"/>
              <a:ext cx="25400" cy="57150"/>
            </a:xfrm>
            <a:custGeom>
              <a:avLst/>
              <a:gdLst>
                <a:gd name="T0" fmla="*/ 0 w 66"/>
                <a:gd name="T1" fmla="*/ 18 h 18"/>
                <a:gd name="T2" fmla="*/ 66 w 66"/>
                <a:gd name="T3" fmla="*/ 18 h 18"/>
                <a:gd name="T4" fmla="*/ 52 w 66"/>
                <a:gd name="T5" fmla="*/ 13 h 18"/>
                <a:gd name="T6" fmla="*/ 40 w 66"/>
                <a:gd name="T7" fmla="*/ 7 h 18"/>
                <a:gd name="T8" fmla="*/ 35 w 66"/>
                <a:gd name="T9" fmla="*/ 4 h 18"/>
                <a:gd name="T10" fmla="*/ 29 w 66"/>
                <a:gd name="T11" fmla="*/ 2 h 18"/>
                <a:gd name="T12" fmla="*/ 25 w 66"/>
                <a:gd name="T13" fmla="*/ 1 h 18"/>
                <a:gd name="T14" fmla="*/ 19 w 66"/>
                <a:gd name="T15" fmla="*/ 0 h 18"/>
                <a:gd name="T16" fmla="*/ 0 w 66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17" name="Freeform 311">
              <a:extLst>
                <a:ext uri="{FF2B5EF4-FFF2-40B4-BE49-F238E27FC236}">
                  <a16:creationId xmlns:a16="http://schemas.microsoft.com/office/drawing/2014/main" id="{B5E8E457-A710-40D2-86BE-16AA5303B751}"/>
                </a:ext>
              </a:extLst>
            </p:cNvPr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8737600" y="3565525"/>
              <a:ext cx="7938" cy="57150"/>
            </a:xfrm>
            <a:custGeom>
              <a:avLst/>
              <a:gdLst>
                <a:gd name="T0" fmla="*/ 0 w 17"/>
                <a:gd name="T1" fmla="*/ 36 h 42"/>
                <a:gd name="T2" fmla="*/ 13 w 17"/>
                <a:gd name="T3" fmla="*/ 42 h 42"/>
                <a:gd name="T4" fmla="*/ 14 w 17"/>
                <a:gd name="T5" fmla="*/ 33 h 42"/>
                <a:gd name="T6" fmla="*/ 16 w 17"/>
                <a:gd name="T7" fmla="*/ 23 h 42"/>
                <a:gd name="T8" fmla="*/ 17 w 17"/>
                <a:gd name="T9" fmla="*/ 18 h 42"/>
                <a:gd name="T10" fmla="*/ 16 w 17"/>
                <a:gd name="T11" fmla="*/ 12 h 42"/>
                <a:gd name="T12" fmla="*/ 16 w 17"/>
                <a:gd name="T13" fmla="*/ 6 h 42"/>
                <a:gd name="T14" fmla="*/ 13 w 17"/>
                <a:gd name="T15" fmla="*/ 0 h 42"/>
                <a:gd name="T16" fmla="*/ 0 w 17"/>
                <a:gd name="T17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18" name="Freeform 312">
              <a:extLst>
                <a:ext uri="{FF2B5EF4-FFF2-40B4-BE49-F238E27FC236}">
                  <a16:creationId xmlns:a16="http://schemas.microsoft.com/office/drawing/2014/main" id="{F7CAC52C-ABDA-443D-9330-80139DD0B675}"/>
                </a:ext>
              </a:extLst>
            </p:cNvPr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8664576" y="3700464"/>
              <a:ext cx="30163" cy="58737"/>
            </a:xfrm>
            <a:custGeom>
              <a:avLst/>
              <a:gdLst>
                <a:gd name="T0" fmla="*/ 6 w 72"/>
                <a:gd name="T1" fmla="*/ 29 h 29"/>
                <a:gd name="T2" fmla="*/ 15 w 72"/>
                <a:gd name="T3" fmla="*/ 26 h 29"/>
                <a:gd name="T4" fmla="*/ 24 w 72"/>
                <a:gd name="T5" fmla="*/ 24 h 29"/>
                <a:gd name="T6" fmla="*/ 32 w 72"/>
                <a:gd name="T7" fmla="*/ 24 h 29"/>
                <a:gd name="T8" fmla="*/ 39 w 72"/>
                <a:gd name="T9" fmla="*/ 24 h 29"/>
                <a:gd name="T10" fmla="*/ 55 w 72"/>
                <a:gd name="T11" fmla="*/ 27 h 29"/>
                <a:gd name="T12" fmla="*/ 72 w 72"/>
                <a:gd name="T13" fmla="*/ 29 h 29"/>
                <a:gd name="T14" fmla="*/ 72 w 72"/>
                <a:gd name="T15" fmla="*/ 4 h 29"/>
                <a:gd name="T16" fmla="*/ 58 w 72"/>
                <a:gd name="T17" fmla="*/ 1 h 29"/>
                <a:gd name="T18" fmla="*/ 47 w 72"/>
                <a:gd name="T19" fmla="*/ 0 h 29"/>
                <a:gd name="T20" fmla="*/ 39 w 72"/>
                <a:gd name="T21" fmla="*/ 0 h 29"/>
                <a:gd name="T22" fmla="*/ 34 w 72"/>
                <a:gd name="T23" fmla="*/ 2 h 29"/>
                <a:gd name="T24" fmla="*/ 27 w 72"/>
                <a:gd name="T25" fmla="*/ 3 h 29"/>
                <a:gd name="T26" fmla="*/ 21 w 72"/>
                <a:gd name="T27" fmla="*/ 5 h 29"/>
                <a:gd name="T28" fmla="*/ 12 w 72"/>
                <a:gd name="T29" fmla="*/ 5 h 29"/>
                <a:gd name="T30" fmla="*/ 0 w 72"/>
                <a:gd name="T31" fmla="*/ 4 h 29"/>
                <a:gd name="T32" fmla="*/ 3 w 72"/>
                <a:gd name="T33" fmla="*/ 16 h 29"/>
                <a:gd name="T34" fmla="*/ 6 w 72"/>
                <a:gd name="T3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19" name="Freeform 313">
              <a:extLst>
                <a:ext uri="{FF2B5EF4-FFF2-40B4-BE49-F238E27FC236}">
                  <a16:creationId xmlns:a16="http://schemas.microsoft.com/office/drawing/2014/main" id="{34D59ADE-90EC-4F09-B808-DBD271AB8B31}"/>
                </a:ext>
              </a:extLst>
            </p:cNvPr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8672513" y="3886201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9 w 46"/>
                <a:gd name="T3" fmla="*/ 9 h 37"/>
                <a:gd name="T4" fmla="*/ 20 w 46"/>
                <a:gd name="T5" fmla="*/ 15 h 37"/>
                <a:gd name="T6" fmla="*/ 31 w 46"/>
                <a:gd name="T7" fmla="*/ 20 h 37"/>
                <a:gd name="T8" fmla="*/ 46 w 46"/>
                <a:gd name="T9" fmla="*/ 25 h 37"/>
                <a:gd name="T10" fmla="*/ 37 w 46"/>
                <a:gd name="T11" fmla="*/ 29 h 37"/>
                <a:gd name="T12" fmla="*/ 29 w 46"/>
                <a:gd name="T13" fmla="*/ 33 h 37"/>
                <a:gd name="T14" fmla="*/ 21 w 46"/>
                <a:gd name="T15" fmla="*/ 36 h 37"/>
                <a:gd name="T16" fmla="*/ 13 w 46"/>
                <a:gd name="T17" fmla="*/ 37 h 37"/>
                <a:gd name="T18" fmla="*/ 9 w 46"/>
                <a:gd name="T19" fmla="*/ 36 h 37"/>
                <a:gd name="T20" fmla="*/ 7 w 46"/>
                <a:gd name="T21" fmla="*/ 33 h 37"/>
                <a:gd name="T22" fmla="*/ 5 w 46"/>
                <a:gd name="T23" fmla="*/ 29 h 37"/>
                <a:gd name="T24" fmla="*/ 3 w 46"/>
                <a:gd name="T25" fmla="*/ 23 h 37"/>
                <a:gd name="T26" fmla="*/ 1 w 46"/>
                <a:gd name="T27" fmla="*/ 12 h 37"/>
                <a:gd name="T28" fmla="*/ 0 w 46"/>
                <a:gd name="T2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0" name="Freeform 314">
              <a:extLst>
                <a:ext uri="{FF2B5EF4-FFF2-40B4-BE49-F238E27FC236}">
                  <a16:creationId xmlns:a16="http://schemas.microsoft.com/office/drawing/2014/main" id="{E6CCA4D9-825C-4234-B629-D1716EECF7C5}"/>
                </a:ext>
              </a:extLst>
            </p:cNvPr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8785226" y="3705225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26 w 26"/>
                <a:gd name="T3" fmla="*/ 19 h 19"/>
                <a:gd name="T4" fmla="*/ 26 w 26"/>
                <a:gd name="T5" fmla="*/ 9 h 19"/>
                <a:gd name="T6" fmla="*/ 26 w 26"/>
                <a:gd name="T7" fmla="*/ 0 h 19"/>
                <a:gd name="T8" fmla="*/ 15 w 26"/>
                <a:gd name="T9" fmla="*/ 0 h 19"/>
                <a:gd name="T10" fmla="*/ 0 w 26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1" name="Freeform 315">
              <a:extLst>
                <a:ext uri="{FF2B5EF4-FFF2-40B4-BE49-F238E27FC236}">
                  <a16:creationId xmlns:a16="http://schemas.microsoft.com/office/drawing/2014/main" id="{0A1F4A33-76BD-43FB-BBE7-46098FAB744D}"/>
                </a:ext>
              </a:extLst>
            </p:cNvPr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8645525" y="3700464"/>
              <a:ext cx="19050" cy="58737"/>
            </a:xfrm>
            <a:custGeom>
              <a:avLst/>
              <a:gdLst>
                <a:gd name="T0" fmla="*/ 2 w 43"/>
                <a:gd name="T1" fmla="*/ 0 h 31"/>
                <a:gd name="T2" fmla="*/ 1 w 43"/>
                <a:gd name="T3" fmla="*/ 12 h 31"/>
                <a:gd name="T4" fmla="*/ 0 w 43"/>
                <a:gd name="T5" fmla="*/ 23 h 31"/>
                <a:gd name="T6" fmla="*/ 0 w 43"/>
                <a:gd name="T7" fmla="*/ 26 h 31"/>
                <a:gd name="T8" fmla="*/ 0 w 43"/>
                <a:gd name="T9" fmla="*/ 29 h 31"/>
                <a:gd name="T10" fmla="*/ 0 w 43"/>
                <a:gd name="T11" fmla="*/ 31 h 31"/>
                <a:gd name="T12" fmla="*/ 2 w 43"/>
                <a:gd name="T13" fmla="*/ 31 h 31"/>
                <a:gd name="T14" fmla="*/ 13 w 43"/>
                <a:gd name="T15" fmla="*/ 22 h 31"/>
                <a:gd name="T16" fmla="*/ 25 w 43"/>
                <a:gd name="T17" fmla="*/ 13 h 31"/>
                <a:gd name="T18" fmla="*/ 35 w 43"/>
                <a:gd name="T19" fmla="*/ 5 h 31"/>
                <a:gd name="T20" fmla="*/ 43 w 43"/>
                <a:gd name="T21" fmla="*/ 0 h 31"/>
                <a:gd name="T22" fmla="*/ 2 w 43"/>
                <a:gd name="T2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2" name="Freeform 316">
              <a:extLst>
                <a:ext uri="{FF2B5EF4-FFF2-40B4-BE49-F238E27FC236}">
                  <a16:creationId xmlns:a16="http://schemas.microsoft.com/office/drawing/2014/main" id="{85CF38E6-204A-415C-B9A4-2D64E1C6955D}"/>
                </a:ext>
              </a:extLst>
            </p:cNvPr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8689976" y="3748088"/>
              <a:ext cx="30163" cy="57150"/>
            </a:xfrm>
            <a:custGeom>
              <a:avLst/>
              <a:gdLst>
                <a:gd name="T0" fmla="*/ 4 w 71"/>
                <a:gd name="T1" fmla="*/ 12 h 49"/>
                <a:gd name="T2" fmla="*/ 4 w 71"/>
                <a:gd name="T3" fmla="*/ 18 h 49"/>
                <a:gd name="T4" fmla="*/ 5 w 71"/>
                <a:gd name="T5" fmla="*/ 25 h 49"/>
                <a:gd name="T6" fmla="*/ 7 w 71"/>
                <a:gd name="T7" fmla="*/ 31 h 49"/>
                <a:gd name="T8" fmla="*/ 9 w 71"/>
                <a:gd name="T9" fmla="*/ 37 h 49"/>
                <a:gd name="T10" fmla="*/ 14 w 71"/>
                <a:gd name="T11" fmla="*/ 41 h 49"/>
                <a:gd name="T12" fmla="*/ 18 w 71"/>
                <a:gd name="T13" fmla="*/ 46 h 49"/>
                <a:gd name="T14" fmla="*/ 23 w 71"/>
                <a:gd name="T15" fmla="*/ 48 h 49"/>
                <a:gd name="T16" fmla="*/ 30 w 71"/>
                <a:gd name="T17" fmla="*/ 49 h 49"/>
                <a:gd name="T18" fmla="*/ 35 w 71"/>
                <a:gd name="T19" fmla="*/ 48 h 49"/>
                <a:gd name="T20" fmla="*/ 40 w 71"/>
                <a:gd name="T21" fmla="*/ 46 h 49"/>
                <a:gd name="T22" fmla="*/ 45 w 71"/>
                <a:gd name="T23" fmla="*/ 42 h 49"/>
                <a:gd name="T24" fmla="*/ 50 w 71"/>
                <a:gd name="T25" fmla="*/ 37 h 49"/>
                <a:gd name="T26" fmla="*/ 60 w 71"/>
                <a:gd name="T27" fmla="*/ 28 h 49"/>
                <a:gd name="T28" fmla="*/ 71 w 71"/>
                <a:gd name="T29" fmla="*/ 18 h 49"/>
                <a:gd name="T30" fmla="*/ 61 w 71"/>
                <a:gd name="T31" fmla="*/ 12 h 49"/>
                <a:gd name="T32" fmla="*/ 52 w 71"/>
                <a:gd name="T33" fmla="*/ 9 h 49"/>
                <a:gd name="T34" fmla="*/ 44 w 71"/>
                <a:gd name="T35" fmla="*/ 7 h 49"/>
                <a:gd name="T36" fmla="*/ 37 w 71"/>
                <a:gd name="T37" fmla="*/ 6 h 49"/>
                <a:gd name="T38" fmla="*/ 29 w 71"/>
                <a:gd name="T39" fmla="*/ 6 h 49"/>
                <a:gd name="T40" fmla="*/ 21 w 71"/>
                <a:gd name="T41" fmla="*/ 5 h 49"/>
                <a:gd name="T42" fmla="*/ 14 w 71"/>
                <a:gd name="T43" fmla="*/ 3 h 49"/>
                <a:gd name="T44" fmla="*/ 4 w 71"/>
                <a:gd name="T45" fmla="*/ 0 h 49"/>
                <a:gd name="T46" fmla="*/ 3 w 71"/>
                <a:gd name="T47" fmla="*/ 1 h 49"/>
                <a:gd name="T48" fmla="*/ 1 w 71"/>
                <a:gd name="T49" fmla="*/ 6 h 49"/>
                <a:gd name="T50" fmla="*/ 0 w 71"/>
                <a:gd name="T51" fmla="*/ 8 h 49"/>
                <a:gd name="T52" fmla="*/ 0 w 71"/>
                <a:gd name="T53" fmla="*/ 10 h 49"/>
                <a:gd name="T54" fmla="*/ 1 w 71"/>
                <a:gd name="T55" fmla="*/ 11 h 49"/>
                <a:gd name="T56" fmla="*/ 4 w 71"/>
                <a:gd name="T57" fmla="*/ 1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3" name="Freeform 317">
              <a:extLst>
                <a:ext uri="{FF2B5EF4-FFF2-40B4-BE49-F238E27FC236}">
                  <a16:creationId xmlns:a16="http://schemas.microsoft.com/office/drawing/2014/main" id="{CE97E647-2EA1-4526-8B24-F4576D0C9E7B}"/>
                </a:ext>
              </a:extLst>
            </p:cNvPr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8491539" y="3951289"/>
              <a:ext cx="46037" cy="58737"/>
            </a:xfrm>
            <a:custGeom>
              <a:avLst/>
              <a:gdLst>
                <a:gd name="T0" fmla="*/ 46 w 112"/>
                <a:gd name="T1" fmla="*/ 2 h 26"/>
                <a:gd name="T2" fmla="*/ 56 w 112"/>
                <a:gd name="T3" fmla="*/ 2 h 26"/>
                <a:gd name="T4" fmla="*/ 66 w 112"/>
                <a:gd name="T5" fmla="*/ 3 h 26"/>
                <a:gd name="T6" fmla="*/ 74 w 112"/>
                <a:gd name="T7" fmla="*/ 4 h 26"/>
                <a:gd name="T8" fmla="*/ 84 w 112"/>
                <a:gd name="T9" fmla="*/ 6 h 26"/>
                <a:gd name="T10" fmla="*/ 92 w 112"/>
                <a:gd name="T11" fmla="*/ 9 h 26"/>
                <a:gd name="T12" fmla="*/ 100 w 112"/>
                <a:gd name="T13" fmla="*/ 12 h 26"/>
                <a:gd name="T14" fmla="*/ 106 w 112"/>
                <a:gd name="T15" fmla="*/ 16 h 26"/>
                <a:gd name="T16" fmla="*/ 112 w 112"/>
                <a:gd name="T17" fmla="*/ 20 h 26"/>
                <a:gd name="T18" fmla="*/ 110 w 112"/>
                <a:gd name="T19" fmla="*/ 22 h 26"/>
                <a:gd name="T20" fmla="*/ 105 w 112"/>
                <a:gd name="T21" fmla="*/ 23 h 26"/>
                <a:gd name="T22" fmla="*/ 101 w 112"/>
                <a:gd name="T23" fmla="*/ 25 h 26"/>
                <a:gd name="T24" fmla="*/ 95 w 112"/>
                <a:gd name="T25" fmla="*/ 25 h 26"/>
                <a:gd name="T26" fmla="*/ 87 w 112"/>
                <a:gd name="T27" fmla="*/ 26 h 26"/>
                <a:gd name="T28" fmla="*/ 79 w 112"/>
                <a:gd name="T29" fmla="*/ 26 h 26"/>
                <a:gd name="T30" fmla="*/ 66 w 112"/>
                <a:gd name="T31" fmla="*/ 24 h 26"/>
                <a:gd name="T32" fmla="*/ 41 w 112"/>
                <a:gd name="T33" fmla="*/ 19 h 26"/>
                <a:gd name="T34" fmla="*/ 16 w 112"/>
                <a:gd name="T35" fmla="*/ 13 h 26"/>
                <a:gd name="T36" fmla="*/ 0 w 112"/>
                <a:gd name="T37" fmla="*/ 8 h 26"/>
                <a:gd name="T38" fmla="*/ 5 w 112"/>
                <a:gd name="T39" fmla="*/ 4 h 26"/>
                <a:gd name="T40" fmla="*/ 11 w 112"/>
                <a:gd name="T41" fmla="*/ 2 h 26"/>
                <a:gd name="T42" fmla="*/ 18 w 112"/>
                <a:gd name="T43" fmla="*/ 1 h 26"/>
                <a:gd name="T44" fmla="*/ 25 w 112"/>
                <a:gd name="T45" fmla="*/ 0 h 26"/>
                <a:gd name="T46" fmla="*/ 37 w 112"/>
                <a:gd name="T47" fmla="*/ 1 h 26"/>
                <a:gd name="T48" fmla="*/ 46 w 112"/>
                <a:gd name="T49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4" name="Freeform 318">
              <a:extLst>
                <a:ext uri="{FF2B5EF4-FFF2-40B4-BE49-F238E27FC236}">
                  <a16:creationId xmlns:a16="http://schemas.microsoft.com/office/drawing/2014/main" id="{6100B8FF-6D7B-4E33-806A-C3353237338D}"/>
                </a:ext>
              </a:extLst>
            </p:cNvPr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8589964" y="3989389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41 w 41"/>
                <a:gd name="T3" fmla="*/ 0 h 25"/>
                <a:gd name="T4" fmla="*/ 28 w 41"/>
                <a:gd name="T5" fmla="*/ 8 h 25"/>
                <a:gd name="T6" fmla="*/ 18 w 41"/>
                <a:gd name="T7" fmla="*/ 15 h 25"/>
                <a:gd name="T8" fmla="*/ 9 w 41"/>
                <a:gd name="T9" fmla="*/ 20 h 25"/>
                <a:gd name="T10" fmla="*/ 0 w 41"/>
                <a:gd name="T11" fmla="*/ 25 h 25"/>
                <a:gd name="T12" fmla="*/ 0 w 41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5" name="Freeform 319">
              <a:extLst>
                <a:ext uri="{FF2B5EF4-FFF2-40B4-BE49-F238E27FC236}">
                  <a16:creationId xmlns:a16="http://schemas.microsoft.com/office/drawing/2014/main" id="{77CDC0EC-8640-41A2-8375-48A5F3C2DD98}"/>
                </a:ext>
              </a:extLst>
            </p:cNvPr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8423276" y="3921126"/>
              <a:ext cx="36513" cy="55563"/>
            </a:xfrm>
            <a:custGeom>
              <a:avLst/>
              <a:gdLst>
                <a:gd name="T0" fmla="*/ 0 w 81"/>
                <a:gd name="T1" fmla="*/ 31 h 31"/>
                <a:gd name="T2" fmla="*/ 0 w 81"/>
                <a:gd name="T3" fmla="*/ 22 h 31"/>
                <a:gd name="T4" fmla="*/ 0 w 81"/>
                <a:gd name="T5" fmla="*/ 13 h 31"/>
                <a:gd name="T6" fmla="*/ 0 w 81"/>
                <a:gd name="T7" fmla="*/ 10 h 31"/>
                <a:gd name="T8" fmla="*/ 2 w 81"/>
                <a:gd name="T9" fmla="*/ 8 h 31"/>
                <a:gd name="T10" fmla="*/ 3 w 81"/>
                <a:gd name="T11" fmla="*/ 6 h 31"/>
                <a:gd name="T12" fmla="*/ 4 w 81"/>
                <a:gd name="T13" fmla="*/ 4 h 31"/>
                <a:gd name="T14" fmla="*/ 8 w 81"/>
                <a:gd name="T15" fmla="*/ 2 h 31"/>
                <a:gd name="T16" fmla="*/ 14 w 81"/>
                <a:gd name="T17" fmla="*/ 0 h 31"/>
                <a:gd name="T18" fmla="*/ 26 w 81"/>
                <a:gd name="T19" fmla="*/ 1 h 31"/>
                <a:gd name="T20" fmla="*/ 41 w 81"/>
                <a:gd name="T21" fmla="*/ 1 h 31"/>
                <a:gd name="T22" fmla="*/ 56 w 81"/>
                <a:gd name="T23" fmla="*/ 1 h 31"/>
                <a:gd name="T24" fmla="*/ 65 w 81"/>
                <a:gd name="T25" fmla="*/ 1 h 31"/>
                <a:gd name="T26" fmla="*/ 73 w 81"/>
                <a:gd name="T27" fmla="*/ 1 h 31"/>
                <a:gd name="T28" fmla="*/ 81 w 81"/>
                <a:gd name="T29" fmla="*/ 1 h 31"/>
                <a:gd name="T30" fmla="*/ 73 w 81"/>
                <a:gd name="T31" fmla="*/ 6 h 31"/>
                <a:gd name="T32" fmla="*/ 67 w 81"/>
                <a:gd name="T33" fmla="*/ 10 h 31"/>
                <a:gd name="T34" fmla="*/ 64 w 81"/>
                <a:gd name="T35" fmla="*/ 14 h 31"/>
                <a:gd name="T36" fmla="*/ 62 w 81"/>
                <a:gd name="T37" fmla="*/ 18 h 31"/>
                <a:gd name="T38" fmla="*/ 59 w 81"/>
                <a:gd name="T39" fmla="*/ 21 h 31"/>
                <a:gd name="T40" fmla="*/ 54 w 81"/>
                <a:gd name="T41" fmla="*/ 23 h 31"/>
                <a:gd name="T42" fmla="*/ 47 w 81"/>
                <a:gd name="T43" fmla="*/ 25 h 31"/>
                <a:gd name="T44" fmla="*/ 34 w 81"/>
                <a:gd name="T45" fmla="*/ 25 h 31"/>
                <a:gd name="T46" fmla="*/ 0 w 81"/>
                <a:gd name="T4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6" name="Freeform 320">
              <a:extLst>
                <a:ext uri="{FF2B5EF4-FFF2-40B4-BE49-F238E27FC236}">
                  <a16:creationId xmlns:a16="http://schemas.microsoft.com/office/drawing/2014/main" id="{978E5F3D-95A6-449A-98E6-C33F74227DA6}"/>
                </a:ext>
              </a:extLst>
            </p:cNvPr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8467725" y="3906838"/>
              <a:ext cx="39688" cy="55562"/>
            </a:xfrm>
            <a:custGeom>
              <a:avLst/>
              <a:gdLst>
                <a:gd name="T0" fmla="*/ 2 w 89"/>
                <a:gd name="T1" fmla="*/ 49 h 49"/>
                <a:gd name="T2" fmla="*/ 89 w 89"/>
                <a:gd name="T3" fmla="*/ 49 h 49"/>
                <a:gd name="T4" fmla="*/ 78 w 89"/>
                <a:gd name="T5" fmla="*/ 41 h 49"/>
                <a:gd name="T6" fmla="*/ 68 w 89"/>
                <a:gd name="T7" fmla="*/ 35 h 49"/>
                <a:gd name="T8" fmla="*/ 57 w 89"/>
                <a:gd name="T9" fmla="*/ 30 h 49"/>
                <a:gd name="T10" fmla="*/ 46 w 89"/>
                <a:gd name="T11" fmla="*/ 25 h 49"/>
                <a:gd name="T12" fmla="*/ 36 w 89"/>
                <a:gd name="T13" fmla="*/ 21 h 49"/>
                <a:gd name="T14" fmla="*/ 26 w 89"/>
                <a:gd name="T15" fmla="*/ 14 h 49"/>
                <a:gd name="T16" fmla="*/ 16 w 89"/>
                <a:gd name="T17" fmla="*/ 8 h 49"/>
                <a:gd name="T18" fmla="*/ 9 w 89"/>
                <a:gd name="T19" fmla="*/ 0 h 49"/>
                <a:gd name="T20" fmla="*/ 4 w 89"/>
                <a:gd name="T21" fmla="*/ 10 h 49"/>
                <a:gd name="T22" fmla="*/ 1 w 89"/>
                <a:gd name="T23" fmla="*/ 23 h 49"/>
                <a:gd name="T24" fmla="*/ 0 w 89"/>
                <a:gd name="T25" fmla="*/ 29 h 49"/>
                <a:gd name="T26" fmla="*/ 0 w 89"/>
                <a:gd name="T27" fmla="*/ 36 h 49"/>
                <a:gd name="T28" fmla="*/ 0 w 89"/>
                <a:gd name="T29" fmla="*/ 43 h 49"/>
                <a:gd name="T30" fmla="*/ 2 w 89"/>
                <a:gd name="T3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7" name="Freeform 321">
              <a:extLst>
                <a:ext uri="{FF2B5EF4-FFF2-40B4-BE49-F238E27FC236}">
                  <a16:creationId xmlns:a16="http://schemas.microsoft.com/office/drawing/2014/main" id="{9391B6A4-0C91-4864-8F32-45E3AFA84D70}"/>
                </a:ext>
              </a:extLst>
            </p:cNvPr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8520113" y="3916364"/>
              <a:ext cx="36512" cy="58737"/>
            </a:xfrm>
            <a:custGeom>
              <a:avLst/>
              <a:gdLst>
                <a:gd name="T0" fmla="*/ 0 w 86"/>
                <a:gd name="T1" fmla="*/ 21 h 46"/>
                <a:gd name="T2" fmla="*/ 14 w 86"/>
                <a:gd name="T3" fmla="*/ 26 h 46"/>
                <a:gd name="T4" fmla="*/ 25 w 86"/>
                <a:gd name="T5" fmla="*/ 29 h 46"/>
                <a:gd name="T6" fmla="*/ 30 w 86"/>
                <a:gd name="T7" fmla="*/ 30 h 46"/>
                <a:gd name="T8" fmla="*/ 36 w 86"/>
                <a:gd name="T9" fmla="*/ 30 h 46"/>
                <a:gd name="T10" fmla="*/ 41 w 86"/>
                <a:gd name="T11" fmla="*/ 29 h 46"/>
                <a:gd name="T12" fmla="*/ 46 w 86"/>
                <a:gd name="T13" fmla="*/ 27 h 46"/>
                <a:gd name="T14" fmla="*/ 46 w 86"/>
                <a:gd name="T15" fmla="*/ 36 h 46"/>
                <a:gd name="T16" fmla="*/ 46 w 86"/>
                <a:gd name="T17" fmla="*/ 46 h 46"/>
                <a:gd name="T18" fmla="*/ 56 w 86"/>
                <a:gd name="T19" fmla="*/ 45 h 46"/>
                <a:gd name="T20" fmla="*/ 67 w 86"/>
                <a:gd name="T21" fmla="*/ 43 h 46"/>
                <a:gd name="T22" fmla="*/ 77 w 86"/>
                <a:gd name="T23" fmla="*/ 40 h 46"/>
                <a:gd name="T24" fmla="*/ 86 w 86"/>
                <a:gd name="T25" fmla="*/ 40 h 46"/>
                <a:gd name="T26" fmla="*/ 83 w 86"/>
                <a:gd name="T27" fmla="*/ 32 h 46"/>
                <a:gd name="T28" fmla="*/ 80 w 86"/>
                <a:gd name="T29" fmla="*/ 25 h 46"/>
                <a:gd name="T30" fmla="*/ 74 w 86"/>
                <a:gd name="T31" fmla="*/ 19 h 46"/>
                <a:gd name="T32" fmla="*/ 70 w 86"/>
                <a:gd name="T33" fmla="*/ 14 h 46"/>
                <a:gd name="T34" fmla="*/ 64 w 86"/>
                <a:gd name="T35" fmla="*/ 9 h 46"/>
                <a:gd name="T36" fmla="*/ 58 w 86"/>
                <a:gd name="T37" fmla="*/ 6 h 46"/>
                <a:gd name="T38" fmla="*/ 51 w 86"/>
                <a:gd name="T39" fmla="*/ 3 h 46"/>
                <a:gd name="T40" fmla="*/ 46 w 86"/>
                <a:gd name="T41" fmla="*/ 1 h 46"/>
                <a:gd name="T42" fmla="*/ 39 w 86"/>
                <a:gd name="T43" fmla="*/ 0 h 46"/>
                <a:gd name="T44" fmla="*/ 33 w 86"/>
                <a:gd name="T45" fmla="*/ 0 h 46"/>
                <a:gd name="T46" fmla="*/ 26 w 86"/>
                <a:gd name="T47" fmla="*/ 1 h 46"/>
                <a:gd name="T48" fmla="*/ 19 w 86"/>
                <a:gd name="T49" fmla="*/ 3 h 46"/>
                <a:gd name="T50" fmla="*/ 14 w 86"/>
                <a:gd name="T51" fmla="*/ 6 h 46"/>
                <a:gd name="T52" fmla="*/ 8 w 86"/>
                <a:gd name="T53" fmla="*/ 10 h 46"/>
                <a:gd name="T54" fmla="*/ 4 w 86"/>
                <a:gd name="T55" fmla="*/ 15 h 46"/>
                <a:gd name="T56" fmla="*/ 0 w 86"/>
                <a:gd name="T57" fmla="*/ 2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8" name="Freeform 322">
              <a:extLst>
                <a:ext uri="{FF2B5EF4-FFF2-40B4-BE49-F238E27FC236}">
                  <a16:creationId xmlns:a16="http://schemas.microsoft.com/office/drawing/2014/main" id="{E1C93752-0A72-44A9-A965-B6488EAE2C33}"/>
                </a:ext>
              </a:extLst>
            </p:cNvPr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8572500" y="3921126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18 h 18"/>
                <a:gd name="T4" fmla="*/ 39 w 59"/>
                <a:gd name="T5" fmla="*/ 18 h 18"/>
                <a:gd name="T6" fmla="*/ 59 w 59"/>
                <a:gd name="T7" fmla="*/ 6 h 18"/>
                <a:gd name="T8" fmla="*/ 51 w 59"/>
                <a:gd name="T9" fmla="*/ 5 h 18"/>
                <a:gd name="T10" fmla="*/ 45 w 59"/>
                <a:gd name="T11" fmla="*/ 4 h 18"/>
                <a:gd name="T12" fmla="*/ 37 w 59"/>
                <a:gd name="T13" fmla="*/ 5 h 18"/>
                <a:gd name="T14" fmla="*/ 29 w 59"/>
                <a:gd name="T15" fmla="*/ 6 h 18"/>
                <a:gd name="T16" fmla="*/ 22 w 59"/>
                <a:gd name="T17" fmla="*/ 6 h 18"/>
                <a:gd name="T18" fmla="*/ 14 w 59"/>
                <a:gd name="T19" fmla="*/ 5 h 18"/>
                <a:gd name="T20" fmla="*/ 7 w 59"/>
                <a:gd name="T21" fmla="*/ 4 h 18"/>
                <a:gd name="T22" fmla="*/ 0 w 59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29" name="Freeform 323">
              <a:extLst>
                <a:ext uri="{FF2B5EF4-FFF2-40B4-BE49-F238E27FC236}">
                  <a16:creationId xmlns:a16="http://schemas.microsoft.com/office/drawing/2014/main" id="{6DA65ABE-9DFF-421E-8F25-5740CC4AF785}"/>
                </a:ext>
              </a:extLst>
            </p:cNvPr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8645525" y="3913188"/>
              <a:ext cx="1588" cy="55562"/>
            </a:xfrm>
            <a:custGeom>
              <a:avLst/>
              <a:gdLst>
                <a:gd name="T0" fmla="*/ 4 w 4"/>
                <a:gd name="T1" fmla="*/ 19 h 19"/>
                <a:gd name="T2" fmla="*/ 4 w 4"/>
                <a:gd name="T3" fmla="*/ 0 h 19"/>
                <a:gd name="T4" fmla="*/ 2 w 4"/>
                <a:gd name="T5" fmla="*/ 1 h 19"/>
                <a:gd name="T6" fmla="*/ 1 w 4"/>
                <a:gd name="T7" fmla="*/ 3 h 19"/>
                <a:gd name="T8" fmla="*/ 0 w 4"/>
                <a:gd name="T9" fmla="*/ 6 h 19"/>
                <a:gd name="T10" fmla="*/ 0 w 4"/>
                <a:gd name="T11" fmla="*/ 10 h 19"/>
                <a:gd name="T12" fmla="*/ 0 w 4"/>
                <a:gd name="T13" fmla="*/ 14 h 19"/>
                <a:gd name="T14" fmla="*/ 1 w 4"/>
                <a:gd name="T15" fmla="*/ 16 h 19"/>
                <a:gd name="T16" fmla="*/ 2 w 4"/>
                <a:gd name="T17" fmla="*/ 19 h 19"/>
                <a:gd name="T18" fmla="*/ 4 w 4"/>
                <a:gd name="T1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0" name="Freeform 324">
              <a:extLst>
                <a:ext uri="{FF2B5EF4-FFF2-40B4-BE49-F238E27FC236}">
                  <a16:creationId xmlns:a16="http://schemas.microsoft.com/office/drawing/2014/main" id="{FE2256DE-1501-4483-8D87-7870A4ADE8A8}"/>
                </a:ext>
              </a:extLst>
            </p:cNvPr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8220075" y="3727450"/>
              <a:ext cx="20638" cy="58738"/>
            </a:xfrm>
            <a:custGeom>
              <a:avLst/>
              <a:gdLst>
                <a:gd name="T0" fmla="*/ 0 w 46"/>
                <a:gd name="T1" fmla="*/ 50 h 50"/>
                <a:gd name="T2" fmla="*/ 7 w 46"/>
                <a:gd name="T3" fmla="*/ 0 h 50"/>
                <a:gd name="T4" fmla="*/ 23 w 46"/>
                <a:gd name="T5" fmla="*/ 8 h 50"/>
                <a:gd name="T6" fmla="*/ 34 w 46"/>
                <a:gd name="T7" fmla="*/ 14 h 50"/>
                <a:gd name="T8" fmla="*/ 37 w 46"/>
                <a:gd name="T9" fmla="*/ 18 h 50"/>
                <a:gd name="T10" fmla="*/ 41 w 46"/>
                <a:gd name="T11" fmla="*/ 22 h 50"/>
                <a:gd name="T12" fmla="*/ 44 w 46"/>
                <a:gd name="T13" fmla="*/ 30 h 50"/>
                <a:gd name="T14" fmla="*/ 46 w 46"/>
                <a:gd name="T15" fmla="*/ 38 h 50"/>
                <a:gd name="T16" fmla="*/ 34 w 46"/>
                <a:gd name="T17" fmla="*/ 42 h 50"/>
                <a:gd name="T18" fmla="*/ 21 w 46"/>
                <a:gd name="T19" fmla="*/ 46 h 50"/>
                <a:gd name="T20" fmla="*/ 8 w 46"/>
                <a:gd name="T21" fmla="*/ 49 h 50"/>
                <a:gd name="T22" fmla="*/ 0 w 46"/>
                <a:gd name="T2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1" name="Freeform 325">
              <a:extLst>
                <a:ext uri="{FF2B5EF4-FFF2-40B4-BE49-F238E27FC236}">
                  <a16:creationId xmlns:a16="http://schemas.microsoft.com/office/drawing/2014/main" id="{1B635AC2-B922-4A83-BC08-B6E6CFEE6E56}"/>
                </a:ext>
              </a:extLst>
            </p:cNvPr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8166101" y="3700464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10 w 66"/>
                <a:gd name="T3" fmla="*/ 0 h 80"/>
                <a:gd name="T4" fmla="*/ 18 w 66"/>
                <a:gd name="T5" fmla="*/ 0 h 80"/>
                <a:gd name="T6" fmla="*/ 26 w 66"/>
                <a:gd name="T7" fmla="*/ 0 h 80"/>
                <a:gd name="T8" fmla="*/ 33 w 66"/>
                <a:gd name="T9" fmla="*/ 0 h 80"/>
                <a:gd name="T10" fmla="*/ 33 w 66"/>
                <a:gd name="T11" fmla="*/ 7 h 80"/>
                <a:gd name="T12" fmla="*/ 34 w 66"/>
                <a:gd name="T13" fmla="*/ 14 h 80"/>
                <a:gd name="T14" fmla="*/ 36 w 66"/>
                <a:gd name="T15" fmla="*/ 21 h 80"/>
                <a:gd name="T16" fmla="*/ 38 w 66"/>
                <a:gd name="T17" fmla="*/ 27 h 80"/>
                <a:gd name="T18" fmla="*/ 44 w 66"/>
                <a:gd name="T19" fmla="*/ 36 h 80"/>
                <a:gd name="T20" fmla="*/ 49 w 66"/>
                <a:gd name="T21" fmla="*/ 45 h 80"/>
                <a:gd name="T22" fmla="*/ 56 w 66"/>
                <a:gd name="T23" fmla="*/ 52 h 80"/>
                <a:gd name="T24" fmla="*/ 61 w 66"/>
                <a:gd name="T25" fmla="*/ 60 h 80"/>
                <a:gd name="T26" fmla="*/ 62 w 66"/>
                <a:gd name="T27" fmla="*/ 65 h 80"/>
                <a:gd name="T28" fmla="*/ 65 w 66"/>
                <a:gd name="T29" fmla="*/ 69 h 80"/>
                <a:gd name="T30" fmla="*/ 66 w 66"/>
                <a:gd name="T31" fmla="*/ 75 h 80"/>
                <a:gd name="T32" fmla="*/ 66 w 66"/>
                <a:gd name="T33" fmla="*/ 80 h 80"/>
                <a:gd name="T34" fmla="*/ 0 w 66"/>
                <a:gd name="T35" fmla="*/ 18 h 80"/>
                <a:gd name="T36" fmla="*/ 0 w 66"/>
                <a:gd name="T3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2" name="Freeform 326">
              <a:extLst>
                <a:ext uri="{FF2B5EF4-FFF2-40B4-BE49-F238E27FC236}">
                  <a16:creationId xmlns:a16="http://schemas.microsoft.com/office/drawing/2014/main" id="{E8AE6EF2-A67B-408E-BDB2-7543957A3CE7}"/>
                </a:ext>
              </a:extLst>
            </p:cNvPr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8001000" y="3684588"/>
              <a:ext cx="7938" cy="57150"/>
            </a:xfrm>
            <a:custGeom>
              <a:avLst/>
              <a:gdLst>
                <a:gd name="T0" fmla="*/ 20 w 20"/>
                <a:gd name="T1" fmla="*/ 48 h 48"/>
                <a:gd name="T2" fmla="*/ 20 w 20"/>
                <a:gd name="T3" fmla="*/ 39 h 48"/>
                <a:gd name="T4" fmla="*/ 19 w 20"/>
                <a:gd name="T5" fmla="*/ 32 h 48"/>
                <a:gd name="T6" fmla="*/ 16 w 20"/>
                <a:gd name="T7" fmla="*/ 25 h 48"/>
                <a:gd name="T8" fmla="*/ 14 w 20"/>
                <a:gd name="T9" fmla="*/ 19 h 48"/>
                <a:gd name="T10" fmla="*/ 12 w 20"/>
                <a:gd name="T11" fmla="*/ 14 h 48"/>
                <a:gd name="T12" fmla="*/ 9 w 20"/>
                <a:gd name="T13" fmla="*/ 9 h 48"/>
                <a:gd name="T14" fmla="*/ 4 w 20"/>
                <a:gd name="T15" fmla="*/ 4 h 48"/>
                <a:gd name="T16" fmla="*/ 0 w 20"/>
                <a:gd name="T17" fmla="*/ 0 h 48"/>
                <a:gd name="T18" fmla="*/ 0 w 20"/>
                <a:gd name="T19" fmla="*/ 8 h 48"/>
                <a:gd name="T20" fmla="*/ 2 w 20"/>
                <a:gd name="T21" fmla="*/ 17 h 48"/>
                <a:gd name="T22" fmla="*/ 4 w 20"/>
                <a:gd name="T23" fmla="*/ 24 h 48"/>
                <a:gd name="T24" fmla="*/ 8 w 20"/>
                <a:gd name="T25" fmla="*/ 31 h 48"/>
                <a:gd name="T26" fmla="*/ 14 w 20"/>
                <a:gd name="T27" fmla="*/ 41 h 48"/>
                <a:gd name="T28" fmla="*/ 20 w 20"/>
                <a:gd name="T2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3" name="Line 327" descr="Horizontal dunkel">
              <a:extLst>
                <a:ext uri="{FF2B5EF4-FFF2-40B4-BE49-F238E27FC236}">
                  <a16:creationId xmlns:a16="http://schemas.microsoft.com/office/drawing/2014/main" id="{F7CF376E-9F0B-4B17-9877-7DAC19F7F986}"/>
                </a:ext>
              </a:extLst>
            </p:cNvPr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8026401" y="3721100"/>
              <a:ext cx="4763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4" name="Freeform 328">
              <a:extLst>
                <a:ext uri="{FF2B5EF4-FFF2-40B4-BE49-F238E27FC236}">
                  <a16:creationId xmlns:a16="http://schemas.microsoft.com/office/drawing/2014/main" id="{8DD12592-D5AF-4211-BED2-EDC29BB5536B}"/>
                </a:ext>
              </a:extLst>
            </p:cNvPr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8023225" y="3721100"/>
              <a:ext cx="7938" cy="57150"/>
            </a:xfrm>
            <a:custGeom>
              <a:avLst/>
              <a:gdLst>
                <a:gd name="T0" fmla="*/ 20 w 20"/>
                <a:gd name="T1" fmla="*/ 12 h 12"/>
                <a:gd name="T2" fmla="*/ 20 w 20"/>
                <a:gd name="T3" fmla="*/ 8 h 12"/>
                <a:gd name="T4" fmla="*/ 18 w 20"/>
                <a:gd name="T5" fmla="*/ 5 h 12"/>
                <a:gd name="T6" fmla="*/ 15 w 20"/>
                <a:gd name="T7" fmla="*/ 3 h 12"/>
                <a:gd name="T8" fmla="*/ 13 w 20"/>
                <a:gd name="T9" fmla="*/ 2 h 12"/>
                <a:gd name="T10" fmla="*/ 7 w 20"/>
                <a:gd name="T11" fmla="*/ 0 h 12"/>
                <a:gd name="T12" fmla="*/ 0 w 2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5" name="Freeform 329">
              <a:extLst>
                <a:ext uri="{FF2B5EF4-FFF2-40B4-BE49-F238E27FC236}">
                  <a16:creationId xmlns:a16="http://schemas.microsoft.com/office/drawing/2014/main" id="{A197EC3B-5E4D-4474-8B02-6B1CEAFC4A2C}"/>
                </a:ext>
              </a:extLst>
            </p:cNvPr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7924801" y="3565525"/>
              <a:ext cx="22225" cy="57150"/>
            </a:xfrm>
            <a:custGeom>
              <a:avLst/>
              <a:gdLst>
                <a:gd name="T0" fmla="*/ 7 w 53"/>
                <a:gd name="T1" fmla="*/ 0 h 30"/>
                <a:gd name="T2" fmla="*/ 11 w 53"/>
                <a:gd name="T3" fmla="*/ 4 h 30"/>
                <a:gd name="T4" fmla="*/ 23 w 53"/>
                <a:gd name="T5" fmla="*/ 13 h 30"/>
                <a:gd name="T6" fmla="*/ 37 w 53"/>
                <a:gd name="T7" fmla="*/ 23 h 30"/>
                <a:gd name="T8" fmla="*/ 46 w 53"/>
                <a:gd name="T9" fmla="*/ 30 h 30"/>
                <a:gd name="T10" fmla="*/ 49 w 53"/>
                <a:gd name="T11" fmla="*/ 18 h 30"/>
                <a:gd name="T12" fmla="*/ 53 w 53"/>
                <a:gd name="T13" fmla="*/ 6 h 30"/>
                <a:gd name="T14" fmla="*/ 37 w 53"/>
                <a:gd name="T15" fmla="*/ 5 h 30"/>
                <a:gd name="T16" fmla="*/ 26 w 53"/>
                <a:gd name="T17" fmla="*/ 3 h 30"/>
                <a:gd name="T18" fmla="*/ 21 w 53"/>
                <a:gd name="T19" fmla="*/ 3 h 30"/>
                <a:gd name="T20" fmla="*/ 15 w 53"/>
                <a:gd name="T21" fmla="*/ 3 h 30"/>
                <a:gd name="T22" fmla="*/ 9 w 53"/>
                <a:gd name="T23" fmla="*/ 4 h 30"/>
                <a:gd name="T24" fmla="*/ 0 w 53"/>
                <a:gd name="T25" fmla="*/ 6 h 30"/>
                <a:gd name="T26" fmla="*/ 7 w 53"/>
                <a:gd name="T2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6" name="Freeform 330">
              <a:extLst>
                <a:ext uri="{FF2B5EF4-FFF2-40B4-BE49-F238E27FC236}">
                  <a16:creationId xmlns:a16="http://schemas.microsoft.com/office/drawing/2014/main" id="{8E66D606-BAE7-425D-85D9-D4BE0A7683E2}"/>
                </a:ext>
              </a:extLst>
            </p:cNvPr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8453438" y="3929063"/>
              <a:ext cx="11112" cy="57150"/>
            </a:xfrm>
            <a:custGeom>
              <a:avLst/>
              <a:gdLst>
                <a:gd name="T0" fmla="*/ 0 w 33"/>
                <a:gd name="T1" fmla="*/ 6 h 31"/>
                <a:gd name="T2" fmla="*/ 4 w 33"/>
                <a:gd name="T3" fmla="*/ 21 h 31"/>
                <a:gd name="T4" fmla="*/ 7 w 33"/>
                <a:gd name="T5" fmla="*/ 31 h 31"/>
                <a:gd name="T6" fmla="*/ 22 w 33"/>
                <a:gd name="T7" fmla="*/ 31 h 31"/>
                <a:gd name="T8" fmla="*/ 33 w 33"/>
                <a:gd name="T9" fmla="*/ 31 h 31"/>
                <a:gd name="T10" fmla="*/ 33 w 33"/>
                <a:gd name="T11" fmla="*/ 0 h 31"/>
                <a:gd name="T12" fmla="*/ 27 w 33"/>
                <a:gd name="T13" fmla="*/ 0 h 31"/>
                <a:gd name="T14" fmla="*/ 19 w 33"/>
                <a:gd name="T15" fmla="*/ 0 h 31"/>
                <a:gd name="T16" fmla="*/ 10 w 33"/>
                <a:gd name="T17" fmla="*/ 0 h 31"/>
                <a:gd name="T18" fmla="*/ 0 w 33"/>
                <a:gd name="T19" fmla="*/ 0 h 31"/>
                <a:gd name="T20" fmla="*/ 0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7" name="Freeform 331">
              <a:extLst>
                <a:ext uri="{FF2B5EF4-FFF2-40B4-BE49-F238E27FC236}">
                  <a16:creationId xmlns:a16="http://schemas.microsoft.com/office/drawing/2014/main" id="{533B21F4-9A28-4183-8C84-0F59CC79D36F}"/>
                </a:ext>
              </a:extLst>
            </p:cNvPr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8969376" y="3886201"/>
              <a:ext cx="28575" cy="55563"/>
            </a:xfrm>
            <a:custGeom>
              <a:avLst/>
              <a:gdLst>
                <a:gd name="T0" fmla="*/ 19 w 65"/>
                <a:gd name="T1" fmla="*/ 68 h 68"/>
                <a:gd name="T2" fmla="*/ 16 w 65"/>
                <a:gd name="T3" fmla="*/ 68 h 68"/>
                <a:gd name="T4" fmla="*/ 14 w 65"/>
                <a:gd name="T5" fmla="*/ 66 h 68"/>
                <a:gd name="T6" fmla="*/ 11 w 65"/>
                <a:gd name="T7" fmla="*/ 64 h 68"/>
                <a:gd name="T8" fmla="*/ 7 w 65"/>
                <a:gd name="T9" fmla="*/ 61 h 68"/>
                <a:gd name="T10" fmla="*/ 4 w 65"/>
                <a:gd name="T11" fmla="*/ 59 h 68"/>
                <a:gd name="T12" fmla="*/ 2 w 65"/>
                <a:gd name="T13" fmla="*/ 55 h 68"/>
                <a:gd name="T14" fmla="*/ 0 w 65"/>
                <a:gd name="T15" fmla="*/ 52 h 68"/>
                <a:gd name="T16" fmla="*/ 0 w 65"/>
                <a:gd name="T17" fmla="*/ 49 h 68"/>
                <a:gd name="T18" fmla="*/ 0 w 65"/>
                <a:gd name="T19" fmla="*/ 38 h 68"/>
                <a:gd name="T20" fmla="*/ 2 w 65"/>
                <a:gd name="T21" fmla="*/ 29 h 68"/>
                <a:gd name="T22" fmla="*/ 5 w 65"/>
                <a:gd name="T23" fmla="*/ 21 h 68"/>
                <a:gd name="T24" fmla="*/ 9 w 65"/>
                <a:gd name="T25" fmla="*/ 14 h 68"/>
                <a:gd name="T26" fmla="*/ 15 w 65"/>
                <a:gd name="T27" fmla="*/ 8 h 68"/>
                <a:gd name="T28" fmla="*/ 22 w 65"/>
                <a:gd name="T29" fmla="*/ 4 h 68"/>
                <a:gd name="T30" fmla="*/ 30 w 65"/>
                <a:gd name="T31" fmla="*/ 2 h 68"/>
                <a:gd name="T32" fmla="*/ 39 w 65"/>
                <a:gd name="T33" fmla="*/ 0 h 68"/>
                <a:gd name="T34" fmla="*/ 52 w 65"/>
                <a:gd name="T35" fmla="*/ 0 h 68"/>
                <a:gd name="T36" fmla="*/ 65 w 65"/>
                <a:gd name="T37" fmla="*/ 0 h 68"/>
                <a:gd name="T38" fmla="*/ 65 w 65"/>
                <a:gd name="T39" fmla="*/ 43 h 68"/>
                <a:gd name="T40" fmla="*/ 56 w 65"/>
                <a:gd name="T41" fmla="*/ 52 h 68"/>
                <a:gd name="T42" fmla="*/ 45 w 65"/>
                <a:gd name="T43" fmla="*/ 61 h 68"/>
                <a:gd name="T44" fmla="*/ 39 w 65"/>
                <a:gd name="T45" fmla="*/ 64 h 68"/>
                <a:gd name="T46" fmla="*/ 34 w 65"/>
                <a:gd name="T47" fmla="*/ 66 h 68"/>
                <a:gd name="T48" fmla="*/ 27 w 65"/>
                <a:gd name="T49" fmla="*/ 68 h 68"/>
                <a:gd name="T50" fmla="*/ 19 w 65"/>
                <a:gd name="T5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8" name="Freeform 332">
              <a:extLst>
                <a:ext uri="{FF2B5EF4-FFF2-40B4-BE49-F238E27FC236}">
                  <a16:creationId xmlns:a16="http://schemas.microsoft.com/office/drawing/2014/main" id="{072055F4-AC18-4071-B21E-CD550ED0900C}"/>
                </a:ext>
              </a:extLst>
            </p:cNvPr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7907339" y="3468688"/>
              <a:ext cx="274637" cy="368300"/>
            </a:xfrm>
            <a:custGeom>
              <a:avLst/>
              <a:gdLst>
                <a:gd name="T0" fmla="*/ 502 w 625"/>
                <a:gd name="T1" fmla="*/ 337 h 694"/>
                <a:gd name="T2" fmla="*/ 484 w 625"/>
                <a:gd name="T3" fmla="*/ 341 h 694"/>
                <a:gd name="T4" fmla="*/ 479 w 625"/>
                <a:gd name="T5" fmla="*/ 382 h 694"/>
                <a:gd name="T6" fmla="*/ 515 w 625"/>
                <a:gd name="T7" fmla="*/ 404 h 694"/>
                <a:gd name="T8" fmla="*/ 534 w 625"/>
                <a:gd name="T9" fmla="*/ 405 h 694"/>
                <a:gd name="T10" fmla="*/ 550 w 625"/>
                <a:gd name="T11" fmla="*/ 424 h 694"/>
                <a:gd name="T12" fmla="*/ 560 w 625"/>
                <a:gd name="T13" fmla="*/ 459 h 694"/>
                <a:gd name="T14" fmla="*/ 572 w 625"/>
                <a:gd name="T15" fmla="*/ 474 h 694"/>
                <a:gd name="T16" fmla="*/ 588 w 625"/>
                <a:gd name="T17" fmla="*/ 483 h 694"/>
                <a:gd name="T18" fmla="*/ 614 w 625"/>
                <a:gd name="T19" fmla="*/ 487 h 694"/>
                <a:gd name="T20" fmla="*/ 625 w 625"/>
                <a:gd name="T21" fmla="*/ 505 h 694"/>
                <a:gd name="T22" fmla="*/ 625 w 625"/>
                <a:gd name="T23" fmla="*/ 539 h 694"/>
                <a:gd name="T24" fmla="*/ 618 w 625"/>
                <a:gd name="T25" fmla="*/ 603 h 694"/>
                <a:gd name="T26" fmla="*/ 611 w 625"/>
                <a:gd name="T27" fmla="*/ 672 h 694"/>
                <a:gd name="T28" fmla="*/ 562 w 625"/>
                <a:gd name="T29" fmla="*/ 693 h 694"/>
                <a:gd name="T30" fmla="*/ 539 w 625"/>
                <a:gd name="T31" fmla="*/ 693 h 694"/>
                <a:gd name="T32" fmla="*/ 394 w 625"/>
                <a:gd name="T33" fmla="*/ 564 h 694"/>
                <a:gd name="T34" fmla="*/ 397 w 625"/>
                <a:gd name="T35" fmla="*/ 552 h 694"/>
                <a:gd name="T36" fmla="*/ 394 w 625"/>
                <a:gd name="T37" fmla="*/ 539 h 694"/>
                <a:gd name="T38" fmla="*/ 338 w 625"/>
                <a:gd name="T39" fmla="*/ 488 h 694"/>
                <a:gd name="T40" fmla="*/ 305 w 625"/>
                <a:gd name="T41" fmla="*/ 453 h 694"/>
                <a:gd name="T42" fmla="*/ 293 w 625"/>
                <a:gd name="T43" fmla="*/ 419 h 694"/>
                <a:gd name="T44" fmla="*/ 291 w 625"/>
                <a:gd name="T45" fmla="*/ 381 h 694"/>
                <a:gd name="T46" fmla="*/ 285 w 625"/>
                <a:gd name="T47" fmla="*/ 360 h 694"/>
                <a:gd name="T48" fmla="*/ 268 w 625"/>
                <a:gd name="T49" fmla="*/ 342 h 694"/>
                <a:gd name="T50" fmla="*/ 241 w 625"/>
                <a:gd name="T51" fmla="*/ 310 h 694"/>
                <a:gd name="T52" fmla="*/ 224 w 625"/>
                <a:gd name="T53" fmla="*/ 269 h 694"/>
                <a:gd name="T54" fmla="*/ 213 w 625"/>
                <a:gd name="T55" fmla="*/ 238 h 694"/>
                <a:gd name="T56" fmla="*/ 190 w 625"/>
                <a:gd name="T57" fmla="*/ 212 h 694"/>
                <a:gd name="T58" fmla="*/ 150 w 625"/>
                <a:gd name="T59" fmla="*/ 171 h 694"/>
                <a:gd name="T60" fmla="*/ 136 w 625"/>
                <a:gd name="T61" fmla="*/ 146 h 694"/>
                <a:gd name="T62" fmla="*/ 112 w 625"/>
                <a:gd name="T63" fmla="*/ 132 h 694"/>
                <a:gd name="T64" fmla="*/ 80 w 625"/>
                <a:gd name="T65" fmla="*/ 113 h 694"/>
                <a:gd name="T66" fmla="*/ 49 w 625"/>
                <a:gd name="T67" fmla="*/ 85 h 694"/>
                <a:gd name="T68" fmla="*/ 23 w 625"/>
                <a:gd name="T69" fmla="*/ 51 h 694"/>
                <a:gd name="T70" fmla="*/ 5 w 625"/>
                <a:gd name="T71" fmla="*/ 19 h 694"/>
                <a:gd name="T72" fmla="*/ 10 w 625"/>
                <a:gd name="T73" fmla="*/ 4 h 694"/>
                <a:gd name="T74" fmla="*/ 37 w 625"/>
                <a:gd name="T75" fmla="*/ 13 h 694"/>
                <a:gd name="T76" fmla="*/ 84 w 625"/>
                <a:gd name="T77" fmla="*/ 16 h 694"/>
                <a:gd name="T78" fmla="*/ 116 w 625"/>
                <a:gd name="T79" fmla="*/ 20 h 694"/>
                <a:gd name="T80" fmla="*/ 138 w 625"/>
                <a:gd name="T81" fmla="*/ 27 h 694"/>
                <a:gd name="T82" fmla="*/ 156 w 625"/>
                <a:gd name="T83" fmla="*/ 42 h 694"/>
                <a:gd name="T84" fmla="*/ 204 w 625"/>
                <a:gd name="T85" fmla="*/ 109 h 694"/>
                <a:gd name="T86" fmla="*/ 254 w 625"/>
                <a:gd name="T87" fmla="*/ 163 h 694"/>
                <a:gd name="T88" fmla="*/ 299 w 625"/>
                <a:gd name="T89" fmla="*/ 202 h 694"/>
                <a:gd name="T90" fmla="*/ 329 w 625"/>
                <a:gd name="T91" fmla="*/ 219 h 694"/>
                <a:gd name="T92" fmla="*/ 366 w 625"/>
                <a:gd name="T93" fmla="*/ 227 h 694"/>
                <a:gd name="T94" fmla="*/ 388 w 625"/>
                <a:gd name="T95" fmla="*/ 230 h 694"/>
                <a:gd name="T96" fmla="*/ 401 w 625"/>
                <a:gd name="T97" fmla="*/ 241 h 694"/>
                <a:gd name="T98" fmla="*/ 416 w 625"/>
                <a:gd name="T99" fmla="*/ 260 h 694"/>
                <a:gd name="T100" fmla="*/ 427 w 625"/>
                <a:gd name="T101" fmla="*/ 265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39" name="Freeform 333">
              <a:extLst>
                <a:ext uri="{FF2B5EF4-FFF2-40B4-BE49-F238E27FC236}">
                  <a16:creationId xmlns:a16="http://schemas.microsoft.com/office/drawing/2014/main" id="{63BE4420-B3E5-4895-8250-2B0F5574BE2F}"/>
                </a:ext>
              </a:extLst>
            </p:cNvPr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8248650" y="3517901"/>
              <a:ext cx="254000" cy="257175"/>
            </a:xfrm>
            <a:custGeom>
              <a:avLst/>
              <a:gdLst>
                <a:gd name="T0" fmla="*/ 516 w 585"/>
                <a:gd name="T1" fmla="*/ 28 h 493"/>
                <a:gd name="T2" fmla="*/ 495 w 585"/>
                <a:gd name="T3" fmla="*/ 55 h 493"/>
                <a:gd name="T4" fmla="*/ 512 w 585"/>
                <a:gd name="T5" fmla="*/ 93 h 493"/>
                <a:gd name="T6" fmla="*/ 534 w 585"/>
                <a:gd name="T7" fmla="*/ 130 h 493"/>
                <a:gd name="T8" fmla="*/ 573 w 585"/>
                <a:gd name="T9" fmla="*/ 177 h 493"/>
                <a:gd name="T10" fmla="*/ 580 w 585"/>
                <a:gd name="T11" fmla="*/ 205 h 493"/>
                <a:gd name="T12" fmla="*/ 547 w 585"/>
                <a:gd name="T13" fmla="*/ 204 h 493"/>
                <a:gd name="T14" fmla="*/ 516 w 585"/>
                <a:gd name="T15" fmla="*/ 233 h 493"/>
                <a:gd name="T16" fmla="*/ 506 w 585"/>
                <a:gd name="T17" fmla="*/ 246 h 493"/>
                <a:gd name="T18" fmla="*/ 518 w 585"/>
                <a:gd name="T19" fmla="*/ 271 h 493"/>
                <a:gd name="T20" fmla="*/ 525 w 585"/>
                <a:gd name="T21" fmla="*/ 294 h 493"/>
                <a:gd name="T22" fmla="*/ 505 w 585"/>
                <a:gd name="T23" fmla="*/ 308 h 493"/>
                <a:gd name="T24" fmla="*/ 459 w 585"/>
                <a:gd name="T25" fmla="*/ 323 h 493"/>
                <a:gd name="T26" fmla="*/ 443 w 585"/>
                <a:gd name="T27" fmla="*/ 354 h 493"/>
                <a:gd name="T28" fmla="*/ 445 w 585"/>
                <a:gd name="T29" fmla="*/ 415 h 493"/>
                <a:gd name="T30" fmla="*/ 430 w 585"/>
                <a:gd name="T31" fmla="*/ 454 h 493"/>
                <a:gd name="T32" fmla="*/ 400 w 585"/>
                <a:gd name="T33" fmla="*/ 472 h 493"/>
                <a:gd name="T34" fmla="*/ 370 w 585"/>
                <a:gd name="T35" fmla="*/ 488 h 493"/>
                <a:gd name="T36" fmla="*/ 341 w 585"/>
                <a:gd name="T37" fmla="*/ 493 h 493"/>
                <a:gd name="T38" fmla="*/ 329 w 585"/>
                <a:gd name="T39" fmla="*/ 487 h 493"/>
                <a:gd name="T40" fmla="*/ 327 w 585"/>
                <a:gd name="T41" fmla="*/ 471 h 493"/>
                <a:gd name="T42" fmla="*/ 304 w 585"/>
                <a:gd name="T43" fmla="*/ 451 h 493"/>
                <a:gd name="T44" fmla="*/ 251 w 585"/>
                <a:gd name="T45" fmla="*/ 454 h 493"/>
                <a:gd name="T46" fmla="*/ 219 w 585"/>
                <a:gd name="T47" fmla="*/ 462 h 493"/>
                <a:gd name="T48" fmla="*/ 176 w 585"/>
                <a:gd name="T49" fmla="*/ 440 h 493"/>
                <a:gd name="T50" fmla="*/ 122 w 585"/>
                <a:gd name="T51" fmla="*/ 436 h 493"/>
                <a:gd name="T52" fmla="*/ 95 w 585"/>
                <a:gd name="T53" fmla="*/ 429 h 493"/>
                <a:gd name="T54" fmla="*/ 81 w 585"/>
                <a:gd name="T55" fmla="*/ 366 h 493"/>
                <a:gd name="T56" fmla="*/ 58 w 585"/>
                <a:gd name="T57" fmla="*/ 310 h 493"/>
                <a:gd name="T58" fmla="*/ 35 w 585"/>
                <a:gd name="T59" fmla="*/ 292 h 493"/>
                <a:gd name="T60" fmla="*/ 12 w 585"/>
                <a:gd name="T61" fmla="*/ 260 h 493"/>
                <a:gd name="T62" fmla="*/ 5 w 585"/>
                <a:gd name="T63" fmla="*/ 204 h 493"/>
                <a:gd name="T64" fmla="*/ 31 w 585"/>
                <a:gd name="T65" fmla="*/ 153 h 493"/>
                <a:gd name="T66" fmla="*/ 54 w 585"/>
                <a:gd name="T67" fmla="*/ 141 h 493"/>
                <a:gd name="T68" fmla="*/ 75 w 585"/>
                <a:gd name="T69" fmla="*/ 152 h 493"/>
                <a:gd name="T70" fmla="*/ 97 w 585"/>
                <a:gd name="T71" fmla="*/ 187 h 493"/>
                <a:gd name="T72" fmla="*/ 129 w 585"/>
                <a:gd name="T73" fmla="*/ 214 h 493"/>
                <a:gd name="T74" fmla="*/ 170 w 585"/>
                <a:gd name="T75" fmla="*/ 213 h 493"/>
                <a:gd name="T76" fmla="*/ 221 w 585"/>
                <a:gd name="T77" fmla="*/ 189 h 493"/>
                <a:gd name="T78" fmla="*/ 233 w 585"/>
                <a:gd name="T79" fmla="*/ 172 h 493"/>
                <a:gd name="T80" fmla="*/ 288 w 585"/>
                <a:gd name="T81" fmla="*/ 178 h 493"/>
                <a:gd name="T82" fmla="*/ 326 w 585"/>
                <a:gd name="T83" fmla="*/ 181 h 493"/>
                <a:gd name="T84" fmla="*/ 337 w 585"/>
                <a:gd name="T85" fmla="*/ 170 h 493"/>
                <a:gd name="T86" fmla="*/ 362 w 585"/>
                <a:gd name="T87" fmla="*/ 158 h 493"/>
                <a:gd name="T88" fmla="*/ 383 w 585"/>
                <a:gd name="T89" fmla="*/ 136 h 493"/>
                <a:gd name="T90" fmla="*/ 415 w 585"/>
                <a:gd name="T91" fmla="*/ 79 h 493"/>
                <a:gd name="T92" fmla="*/ 427 w 585"/>
                <a:gd name="T93" fmla="*/ 25 h 493"/>
                <a:gd name="T94" fmla="*/ 447 w 585"/>
                <a:gd name="T95" fmla="*/ 6 h 493"/>
                <a:gd name="T96" fmla="*/ 479 w 585"/>
                <a:gd name="T97" fmla="*/ 2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0" name="Freeform 334">
              <a:extLst>
                <a:ext uri="{FF2B5EF4-FFF2-40B4-BE49-F238E27FC236}">
                  <a16:creationId xmlns:a16="http://schemas.microsoft.com/office/drawing/2014/main" id="{93F47C99-A096-4168-B2DC-145A32375884}"/>
                </a:ext>
              </a:extLst>
            </p:cNvPr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8604251" y="3924300"/>
              <a:ext cx="92075" cy="57150"/>
            </a:xfrm>
            <a:custGeom>
              <a:avLst/>
              <a:gdLst>
                <a:gd name="T0" fmla="*/ 0 w 212"/>
                <a:gd name="T1" fmla="*/ 105 h 105"/>
                <a:gd name="T2" fmla="*/ 16 w 212"/>
                <a:gd name="T3" fmla="*/ 85 h 105"/>
                <a:gd name="T4" fmla="*/ 35 w 212"/>
                <a:gd name="T5" fmla="*/ 68 h 105"/>
                <a:gd name="T6" fmla="*/ 44 w 212"/>
                <a:gd name="T7" fmla="*/ 60 h 105"/>
                <a:gd name="T8" fmla="*/ 54 w 212"/>
                <a:gd name="T9" fmla="*/ 53 h 105"/>
                <a:gd name="T10" fmla="*/ 64 w 212"/>
                <a:gd name="T11" fmla="*/ 46 h 105"/>
                <a:gd name="T12" fmla="*/ 73 w 212"/>
                <a:gd name="T13" fmla="*/ 38 h 105"/>
                <a:gd name="T14" fmla="*/ 83 w 212"/>
                <a:gd name="T15" fmla="*/ 32 h 105"/>
                <a:gd name="T16" fmla="*/ 94 w 212"/>
                <a:gd name="T17" fmla="*/ 27 h 105"/>
                <a:gd name="T18" fmla="*/ 106 w 212"/>
                <a:gd name="T19" fmla="*/ 21 h 105"/>
                <a:gd name="T20" fmla="*/ 118 w 212"/>
                <a:gd name="T21" fmla="*/ 16 h 105"/>
                <a:gd name="T22" fmla="*/ 144 w 212"/>
                <a:gd name="T23" fmla="*/ 8 h 105"/>
                <a:gd name="T24" fmla="*/ 172 w 212"/>
                <a:gd name="T25" fmla="*/ 0 h 105"/>
                <a:gd name="T26" fmla="*/ 212 w 212"/>
                <a:gd name="T27" fmla="*/ 0 h 105"/>
                <a:gd name="T28" fmla="*/ 202 w 212"/>
                <a:gd name="T29" fmla="*/ 9 h 105"/>
                <a:gd name="T30" fmla="*/ 190 w 212"/>
                <a:gd name="T31" fmla="*/ 18 h 105"/>
                <a:gd name="T32" fmla="*/ 178 w 212"/>
                <a:gd name="T33" fmla="*/ 27 h 105"/>
                <a:gd name="T34" fmla="*/ 165 w 212"/>
                <a:gd name="T35" fmla="*/ 35 h 105"/>
                <a:gd name="T36" fmla="*/ 137 w 212"/>
                <a:gd name="T37" fmla="*/ 52 h 105"/>
                <a:gd name="T38" fmla="*/ 109 w 212"/>
                <a:gd name="T39" fmla="*/ 66 h 105"/>
                <a:gd name="T40" fmla="*/ 79 w 212"/>
                <a:gd name="T41" fmla="*/ 79 h 105"/>
                <a:gd name="T42" fmla="*/ 50 w 212"/>
                <a:gd name="T43" fmla="*/ 90 h 105"/>
                <a:gd name="T44" fmla="*/ 23 w 212"/>
                <a:gd name="T45" fmla="*/ 99 h 105"/>
                <a:gd name="T46" fmla="*/ 0 w 212"/>
                <a:gd name="T47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1" name="Freeform 335">
              <a:extLst>
                <a:ext uri="{FF2B5EF4-FFF2-40B4-BE49-F238E27FC236}">
                  <a16:creationId xmlns:a16="http://schemas.microsoft.com/office/drawing/2014/main" id="{B42F0419-DE74-4889-BE83-CA709237E5C0}"/>
                </a:ext>
              </a:extLst>
            </p:cNvPr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8720138" y="3590925"/>
              <a:ext cx="42862" cy="88900"/>
            </a:xfrm>
            <a:custGeom>
              <a:avLst/>
              <a:gdLst>
                <a:gd name="T0" fmla="*/ 0 w 92"/>
                <a:gd name="T1" fmla="*/ 81 h 166"/>
                <a:gd name="T2" fmla="*/ 0 w 92"/>
                <a:gd name="T3" fmla="*/ 148 h 166"/>
                <a:gd name="T4" fmla="*/ 5 w 92"/>
                <a:gd name="T5" fmla="*/ 144 h 166"/>
                <a:gd name="T6" fmla="*/ 12 w 92"/>
                <a:gd name="T7" fmla="*/ 139 h 166"/>
                <a:gd name="T8" fmla="*/ 14 w 92"/>
                <a:gd name="T9" fmla="*/ 137 h 166"/>
                <a:gd name="T10" fmla="*/ 17 w 92"/>
                <a:gd name="T11" fmla="*/ 135 h 166"/>
                <a:gd name="T12" fmla="*/ 18 w 92"/>
                <a:gd name="T13" fmla="*/ 132 h 166"/>
                <a:gd name="T14" fmla="*/ 19 w 92"/>
                <a:gd name="T15" fmla="*/ 130 h 166"/>
                <a:gd name="T16" fmla="*/ 20 w 92"/>
                <a:gd name="T17" fmla="*/ 138 h 166"/>
                <a:gd name="T18" fmla="*/ 24 w 92"/>
                <a:gd name="T19" fmla="*/ 148 h 166"/>
                <a:gd name="T20" fmla="*/ 27 w 92"/>
                <a:gd name="T21" fmla="*/ 154 h 166"/>
                <a:gd name="T22" fmla="*/ 30 w 92"/>
                <a:gd name="T23" fmla="*/ 159 h 166"/>
                <a:gd name="T24" fmla="*/ 35 w 92"/>
                <a:gd name="T25" fmla="*/ 163 h 166"/>
                <a:gd name="T26" fmla="*/ 39 w 92"/>
                <a:gd name="T27" fmla="*/ 166 h 166"/>
                <a:gd name="T28" fmla="*/ 41 w 92"/>
                <a:gd name="T29" fmla="*/ 158 h 166"/>
                <a:gd name="T30" fmla="*/ 41 w 92"/>
                <a:gd name="T31" fmla="*/ 148 h 166"/>
                <a:gd name="T32" fmla="*/ 41 w 92"/>
                <a:gd name="T33" fmla="*/ 137 h 166"/>
                <a:gd name="T34" fmla="*/ 41 w 92"/>
                <a:gd name="T35" fmla="*/ 126 h 166"/>
                <a:gd name="T36" fmla="*/ 40 w 92"/>
                <a:gd name="T37" fmla="*/ 107 h 166"/>
                <a:gd name="T38" fmla="*/ 39 w 92"/>
                <a:gd name="T39" fmla="*/ 99 h 166"/>
                <a:gd name="T40" fmla="*/ 48 w 92"/>
                <a:gd name="T41" fmla="*/ 100 h 166"/>
                <a:gd name="T42" fmla="*/ 57 w 92"/>
                <a:gd name="T43" fmla="*/ 102 h 166"/>
                <a:gd name="T44" fmla="*/ 64 w 92"/>
                <a:gd name="T45" fmla="*/ 105 h 166"/>
                <a:gd name="T46" fmla="*/ 71 w 92"/>
                <a:gd name="T47" fmla="*/ 108 h 166"/>
                <a:gd name="T48" fmla="*/ 76 w 92"/>
                <a:gd name="T49" fmla="*/ 111 h 166"/>
                <a:gd name="T50" fmla="*/ 82 w 92"/>
                <a:gd name="T51" fmla="*/ 114 h 166"/>
                <a:gd name="T52" fmla="*/ 87 w 92"/>
                <a:gd name="T53" fmla="*/ 116 h 166"/>
                <a:gd name="T54" fmla="*/ 92 w 92"/>
                <a:gd name="T55" fmla="*/ 118 h 166"/>
                <a:gd name="T56" fmla="*/ 85 w 92"/>
                <a:gd name="T57" fmla="*/ 103 h 166"/>
                <a:gd name="T58" fmla="*/ 81 w 92"/>
                <a:gd name="T59" fmla="*/ 89 h 166"/>
                <a:gd name="T60" fmla="*/ 76 w 92"/>
                <a:gd name="T61" fmla="*/ 75 h 166"/>
                <a:gd name="T62" fmla="*/ 73 w 92"/>
                <a:gd name="T63" fmla="*/ 60 h 166"/>
                <a:gd name="T64" fmla="*/ 70 w 92"/>
                <a:gd name="T65" fmla="*/ 47 h 166"/>
                <a:gd name="T66" fmla="*/ 67 w 92"/>
                <a:gd name="T67" fmla="*/ 34 h 166"/>
                <a:gd name="T68" fmla="*/ 63 w 92"/>
                <a:gd name="T69" fmla="*/ 23 h 166"/>
                <a:gd name="T70" fmla="*/ 59 w 92"/>
                <a:gd name="T71" fmla="*/ 13 h 166"/>
                <a:gd name="T72" fmla="*/ 59 w 92"/>
                <a:gd name="T73" fmla="*/ 19 h 166"/>
                <a:gd name="T74" fmla="*/ 59 w 92"/>
                <a:gd name="T75" fmla="*/ 25 h 166"/>
                <a:gd name="T76" fmla="*/ 50 w 92"/>
                <a:gd name="T77" fmla="*/ 23 h 166"/>
                <a:gd name="T78" fmla="*/ 42 w 92"/>
                <a:gd name="T79" fmla="*/ 19 h 166"/>
                <a:gd name="T80" fmla="*/ 35 w 92"/>
                <a:gd name="T81" fmla="*/ 15 h 166"/>
                <a:gd name="T82" fmla="*/ 29 w 92"/>
                <a:gd name="T83" fmla="*/ 11 h 166"/>
                <a:gd name="T84" fmla="*/ 23 w 92"/>
                <a:gd name="T85" fmla="*/ 7 h 166"/>
                <a:gd name="T86" fmla="*/ 16 w 92"/>
                <a:gd name="T87" fmla="*/ 3 h 166"/>
                <a:gd name="T88" fmla="*/ 8 w 92"/>
                <a:gd name="T89" fmla="*/ 1 h 166"/>
                <a:gd name="T90" fmla="*/ 0 w 92"/>
                <a:gd name="T91" fmla="*/ 0 h 166"/>
                <a:gd name="T92" fmla="*/ 0 w 92"/>
                <a:gd name="T93" fmla="*/ 10 h 166"/>
                <a:gd name="T94" fmla="*/ 0 w 92"/>
                <a:gd name="T95" fmla="*/ 19 h 166"/>
                <a:gd name="T96" fmla="*/ 0 w 92"/>
                <a:gd name="T97" fmla="*/ 33 h 166"/>
                <a:gd name="T98" fmla="*/ 0 w 92"/>
                <a:gd name="T99" fmla="*/ 52 h 166"/>
                <a:gd name="T100" fmla="*/ 0 w 92"/>
                <a:gd name="T101" fmla="*/ 70 h 166"/>
                <a:gd name="T102" fmla="*/ 0 w 92"/>
                <a:gd name="T103" fmla="*/ 8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2" name="Freeform 336">
              <a:extLst>
                <a:ext uri="{FF2B5EF4-FFF2-40B4-BE49-F238E27FC236}">
                  <a16:creationId xmlns:a16="http://schemas.microsoft.com/office/drawing/2014/main" id="{0976B230-AD9E-46E6-934A-5D092D11B953}"/>
                </a:ext>
              </a:extLst>
            </p:cNvPr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8732839" y="3735388"/>
              <a:ext cx="71437" cy="55562"/>
            </a:xfrm>
            <a:custGeom>
              <a:avLst/>
              <a:gdLst>
                <a:gd name="T0" fmla="*/ 7 w 166"/>
                <a:gd name="T1" fmla="*/ 0 h 62"/>
                <a:gd name="T2" fmla="*/ 14 w 166"/>
                <a:gd name="T3" fmla="*/ 3 h 62"/>
                <a:gd name="T4" fmla="*/ 22 w 166"/>
                <a:gd name="T5" fmla="*/ 6 h 62"/>
                <a:gd name="T6" fmla="*/ 30 w 166"/>
                <a:gd name="T7" fmla="*/ 7 h 62"/>
                <a:gd name="T8" fmla="*/ 36 w 166"/>
                <a:gd name="T9" fmla="*/ 8 h 62"/>
                <a:gd name="T10" fmla="*/ 48 w 166"/>
                <a:gd name="T11" fmla="*/ 8 h 62"/>
                <a:gd name="T12" fmla="*/ 58 w 166"/>
                <a:gd name="T13" fmla="*/ 7 h 62"/>
                <a:gd name="T14" fmla="*/ 69 w 166"/>
                <a:gd name="T15" fmla="*/ 5 h 62"/>
                <a:gd name="T16" fmla="*/ 80 w 166"/>
                <a:gd name="T17" fmla="*/ 3 h 62"/>
                <a:gd name="T18" fmla="*/ 92 w 166"/>
                <a:gd name="T19" fmla="*/ 1 h 62"/>
                <a:gd name="T20" fmla="*/ 106 w 166"/>
                <a:gd name="T21" fmla="*/ 0 h 62"/>
                <a:gd name="T22" fmla="*/ 111 w 166"/>
                <a:gd name="T23" fmla="*/ 1 h 62"/>
                <a:gd name="T24" fmla="*/ 115 w 166"/>
                <a:gd name="T25" fmla="*/ 2 h 62"/>
                <a:gd name="T26" fmla="*/ 120 w 166"/>
                <a:gd name="T27" fmla="*/ 5 h 62"/>
                <a:gd name="T28" fmla="*/ 124 w 166"/>
                <a:gd name="T29" fmla="*/ 8 h 62"/>
                <a:gd name="T30" fmla="*/ 132 w 166"/>
                <a:gd name="T31" fmla="*/ 17 h 62"/>
                <a:gd name="T32" fmla="*/ 138 w 166"/>
                <a:gd name="T33" fmla="*/ 26 h 62"/>
                <a:gd name="T34" fmla="*/ 145 w 166"/>
                <a:gd name="T35" fmla="*/ 36 h 62"/>
                <a:gd name="T36" fmla="*/ 151 w 166"/>
                <a:gd name="T37" fmla="*/ 45 h 62"/>
                <a:gd name="T38" fmla="*/ 155 w 166"/>
                <a:gd name="T39" fmla="*/ 49 h 62"/>
                <a:gd name="T40" fmla="*/ 158 w 166"/>
                <a:gd name="T41" fmla="*/ 52 h 62"/>
                <a:gd name="T42" fmla="*/ 162 w 166"/>
                <a:gd name="T43" fmla="*/ 54 h 62"/>
                <a:gd name="T44" fmla="*/ 166 w 166"/>
                <a:gd name="T45" fmla="*/ 56 h 62"/>
                <a:gd name="T46" fmla="*/ 159 w 166"/>
                <a:gd name="T47" fmla="*/ 57 h 62"/>
                <a:gd name="T48" fmla="*/ 151 w 166"/>
                <a:gd name="T49" fmla="*/ 59 h 62"/>
                <a:gd name="T50" fmla="*/ 143 w 166"/>
                <a:gd name="T51" fmla="*/ 61 h 62"/>
                <a:gd name="T52" fmla="*/ 133 w 166"/>
                <a:gd name="T53" fmla="*/ 62 h 62"/>
                <a:gd name="T54" fmla="*/ 125 w 166"/>
                <a:gd name="T55" fmla="*/ 61 h 62"/>
                <a:gd name="T56" fmla="*/ 119 w 166"/>
                <a:gd name="T57" fmla="*/ 58 h 62"/>
                <a:gd name="T58" fmla="*/ 112 w 166"/>
                <a:gd name="T59" fmla="*/ 54 h 62"/>
                <a:gd name="T60" fmla="*/ 106 w 166"/>
                <a:gd name="T61" fmla="*/ 50 h 62"/>
                <a:gd name="T62" fmla="*/ 100 w 166"/>
                <a:gd name="T63" fmla="*/ 45 h 62"/>
                <a:gd name="T64" fmla="*/ 93 w 166"/>
                <a:gd name="T65" fmla="*/ 41 h 62"/>
                <a:gd name="T66" fmla="*/ 87 w 166"/>
                <a:gd name="T67" fmla="*/ 39 h 62"/>
                <a:gd name="T68" fmla="*/ 79 w 166"/>
                <a:gd name="T69" fmla="*/ 38 h 62"/>
                <a:gd name="T70" fmla="*/ 56 w 166"/>
                <a:gd name="T71" fmla="*/ 38 h 62"/>
                <a:gd name="T72" fmla="*/ 35 w 166"/>
                <a:gd name="T73" fmla="*/ 39 h 62"/>
                <a:gd name="T74" fmla="*/ 26 w 166"/>
                <a:gd name="T75" fmla="*/ 41 h 62"/>
                <a:gd name="T76" fmla="*/ 19 w 166"/>
                <a:gd name="T77" fmla="*/ 43 h 62"/>
                <a:gd name="T78" fmla="*/ 12 w 166"/>
                <a:gd name="T79" fmla="*/ 46 h 62"/>
                <a:gd name="T80" fmla="*/ 7 w 166"/>
                <a:gd name="T81" fmla="*/ 50 h 62"/>
                <a:gd name="T82" fmla="*/ 2 w 166"/>
                <a:gd name="T83" fmla="*/ 45 h 62"/>
                <a:gd name="T84" fmla="*/ 1 w 166"/>
                <a:gd name="T85" fmla="*/ 40 h 62"/>
                <a:gd name="T86" fmla="*/ 0 w 166"/>
                <a:gd name="T87" fmla="*/ 34 h 62"/>
                <a:gd name="T88" fmla="*/ 1 w 166"/>
                <a:gd name="T89" fmla="*/ 28 h 62"/>
                <a:gd name="T90" fmla="*/ 4 w 166"/>
                <a:gd name="T91" fmla="*/ 15 h 62"/>
                <a:gd name="T92" fmla="*/ 7 w 166"/>
                <a:gd name="T9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3" name="Freeform 337">
              <a:extLst>
                <a:ext uri="{FF2B5EF4-FFF2-40B4-BE49-F238E27FC236}">
                  <a16:creationId xmlns:a16="http://schemas.microsoft.com/office/drawing/2014/main" id="{169C3F4A-A89A-4262-9800-690F1F166622}"/>
                </a:ext>
              </a:extLst>
            </p:cNvPr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8809039" y="3659188"/>
              <a:ext cx="85725" cy="63500"/>
            </a:xfrm>
            <a:custGeom>
              <a:avLst/>
              <a:gdLst>
                <a:gd name="T0" fmla="*/ 33 w 193"/>
                <a:gd name="T1" fmla="*/ 35 h 121"/>
                <a:gd name="T2" fmla="*/ 48 w 193"/>
                <a:gd name="T3" fmla="*/ 25 h 121"/>
                <a:gd name="T4" fmla="*/ 68 w 193"/>
                <a:gd name="T5" fmla="*/ 12 h 121"/>
                <a:gd name="T6" fmla="*/ 84 w 193"/>
                <a:gd name="T7" fmla="*/ 4 h 121"/>
                <a:gd name="T8" fmla="*/ 94 w 193"/>
                <a:gd name="T9" fmla="*/ 1 h 121"/>
                <a:gd name="T10" fmla="*/ 105 w 193"/>
                <a:gd name="T11" fmla="*/ 1 h 121"/>
                <a:gd name="T12" fmla="*/ 116 w 193"/>
                <a:gd name="T13" fmla="*/ 3 h 121"/>
                <a:gd name="T14" fmla="*/ 131 w 193"/>
                <a:gd name="T15" fmla="*/ 10 h 121"/>
                <a:gd name="T16" fmla="*/ 148 w 193"/>
                <a:gd name="T17" fmla="*/ 21 h 121"/>
                <a:gd name="T18" fmla="*/ 162 w 193"/>
                <a:gd name="T19" fmla="*/ 28 h 121"/>
                <a:gd name="T20" fmla="*/ 173 w 193"/>
                <a:gd name="T21" fmla="*/ 30 h 121"/>
                <a:gd name="T22" fmla="*/ 179 w 193"/>
                <a:gd name="T23" fmla="*/ 48 h 121"/>
                <a:gd name="T24" fmla="*/ 178 w 193"/>
                <a:gd name="T25" fmla="*/ 66 h 121"/>
                <a:gd name="T26" fmla="*/ 182 w 193"/>
                <a:gd name="T27" fmla="*/ 75 h 121"/>
                <a:gd name="T28" fmla="*/ 187 w 193"/>
                <a:gd name="T29" fmla="*/ 89 h 121"/>
                <a:gd name="T30" fmla="*/ 188 w 193"/>
                <a:gd name="T31" fmla="*/ 102 h 121"/>
                <a:gd name="T32" fmla="*/ 191 w 193"/>
                <a:gd name="T33" fmla="*/ 109 h 121"/>
                <a:gd name="T34" fmla="*/ 188 w 193"/>
                <a:gd name="T35" fmla="*/ 114 h 121"/>
                <a:gd name="T36" fmla="*/ 177 w 193"/>
                <a:gd name="T37" fmla="*/ 118 h 121"/>
                <a:gd name="T38" fmla="*/ 159 w 193"/>
                <a:gd name="T39" fmla="*/ 121 h 121"/>
                <a:gd name="T40" fmla="*/ 116 w 193"/>
                <a:gd name="T41" fmla="*/ 119 h 121"/>
                <a:gd name="T42" fmla="*/ 72 w 193"/>
                <a:gd name="T43" fmla="*/ 116 h 121"/>
                <a:gd name="T44" fmla="*/ 63 w 193"/>
                <a:gd name="T45" fmla="*/ 110 h 121"/>
                <a:gd name="T46" fmla="*/ 56 w 193"/>
                <a:gd name="T47" fmla="*/ 100 h 121"/>
                <a:gd name="T48" fmla="*/ 54 w 193"/>
                <a:gd name="T49" fmla="*/ 87 h 121"/>
                <a:gd name="T50" fmla="*/ 47 w 193"/>
                <a:gd name="T51" fmla="*/ 79 h 121"/>
                <a:gd name="T52" fmla="*/ 31 w 193"/>
                <a:gd name="T53" fmla="*/ 75 h 121"/>
                <a:gd name="T54" fmla="*/ 13 w 193"/>
                <a:gd name="T55" fmla="*/ 69 h 121"/>
                <a:gd name="T56" fmla="*/ 3 w 193"/>
                <a:gd name="T57" fmla="*/ 62 h 121"/>
                <a:gd name="T58" fmla="*/ 0 w 193"/>
                <a:gd name="T59" fmla="*/ 58 h 121"/>
                <a:gd name="T60" fmla="*/ 1 w 193"/>
                <a:gd name="T61" fmla="*/ 51 h 121"/>
                <a:gd name="T62" fmla="*/ 7 w 193"/>
                <a:gd name="T63" fmla="*/ 45 h 121"/>
                <a:gd name="T64" fmla="*/ 20 w 193"/>
                <a:gd name="T65" fmla="*/ 38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4" name="Freeform 338">
              <a:extLst>
                <a:ext uri="{FF2B5EF4-FFF2-40B4-BE49-F238E27FC236}">
                  <a16:creationId xmlns:a16="http://schemas.microsoft.com/office/drawing/2014/main" id="{A19A96D3-7AA8-40D4-B4B5-D6BE9CE1A7D0}"/>
                </a:ext>
              </a:extLst>
            </p:cNvPr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8497889" y="3597275"/>
              <a:ext cx="166687" cy="230188"/>
            </a:xfrm>
            <a:custGeom>
              <a:avLst/>
              <a:gdLst>
                <a:gd name="T0" fmla="*/ 37 w 379"/>
                <a:gd name="T1" fmla="*/ 419 h 437"/>
                <a:gd name="T2" fmla="*/ 46 w 379"/>
                <a:gd name="T3" fmla="*/ 407 h 437"/>
                <a:gd name="T4" fmla="*/ 24 w 379"/>
                <a:gd name="T5" fmla="*/ 311 h 437"/>
                <a:gd name="T6" fmla="*/ 2 w 379"/>
                <a:gd name="T7" fmla="*/ 294 h 437"/>
                <a:gd name="T8" fmla="*/ 15 w 379"/>
                <a:gd name="T9" fmla="*/ 270 h 437"/>
                <a:gd name="T10" fmla="*/ 31 w 379"/>
                <a:gd name="T11" fmla="*/ 221 h 437"/>
                <a:gd name="T12" fmla="*/ 39 w 379"/>
                <a:gd name="T13" fmla="*/ 172 h 437"/>
                <a:gd name="T14" fmla="*/ 57 w 379"/>
                <a:gd name="T15" fmla="*/ 159 h 437"/>
                <a:gd name="T16" fmla="*/ 65 w 379"/>
                <a:gd name="T17" fmla="*/ 130 h 437"/>
                <a:gd name="T18" fmla="*/ 76 w 379"/>
                <a:gd name="T19" fmla="*/ 78 h 437"/>
                <a:gd name="T20" fmla="*/ 90 w 379"/>
                <a:gd name="T21" fmla="*/ 51 h 437"/>
                <a:gd name="T22" fmla="*/ 115 w 379"/>
                <a:gd name="T23" fmla="*/ 31 h 437"/>
                <a:gd name="T24" fmla="*/ 153 w 379"/>
                <a:gd name="T25" fmla="*/ 25 h 437"/>
                <a:gd name="T26" fmla="*/ 217 w 379"/>
                <a:gd name="T27" fmla="*/ 38 h 437"/>
                <a:gd name="T28" fmla="*/ 262 w 379"/>
                <a:gd name="T29" fmla="*/ 48 h 437"/>
                <a:gd name="T30" fmla="*/ 303 w 379"/>
                <a:gd name="T31" fmla="*/ 45 h 437"/>
                <a:gd name="T32" fmla="*/ 329 w 379"/>
                <a:gd name="T33" fmla="*/ 31 h 437"/>
                <a:gd name="T34" fmla="*/ 356 w 379"/>
                <a:gd name="T35" fmla="*/ 7 h 437"/>
                <a:gd name="T36" fmla="*/ 374 w 379"/>
                <a:gd name="T37" fmla="*/ 9 h 437"/>
                <a:gd name="T38" fmla="*/ 372 w 379"/>
                <a:gd name="T39" fmla="*/ 35 h 437"/>
                <a:gd name="T40" fmla="*/ 329 w 379"/>
                <a:gd name="T41" fmla="*/ 80 h 437"/>
                <a:gd name="T42" fmla="*/ 292 w 379"/>
                <a:gd name="T43" fmla="*/ 97 h 437"/>
                <a:gd name="T44" fmla="*/ 271 w 379"/>
                <a:gd name="T45" fmla="*/ 94 h 437"/>
                <a:gd name="T46" fmla="*/ 238 w 379"/>
                <a:gd name="T47" fmla="*/ 69 h 437"/>
                <a:gd name="T48" fmla="*/ 212 w 379"/>
                <a:gd name="T49" fmla="*/ 56 h 437"/>
                <a:gd name="T50" fmla="*/ 177 w 379"/>
                <a:gd name="T51" fmla="*/ 56 h 437"/>
                <a:gd name="T52" fmla="*/ 138 w 379"/>
                <a:gd name="T53" fmla="*/ 61 h 437"/>
                <a:gd name="T54" fmla="*/ 114 w 379"/>
                <a:gd name="T55" fmla="*/ 79 h 437"/>
                <a:gd name="T56" fmla="*/ 79 w 379"/>
                <a:gd name="T57" fmla="*/ 161 h 437"/>
                <a:gd name="T58" fmla="*/ 119 w 379"/>
                <a:gd name="T59" fmla="*/ 169 h 437"/>
                <a:gd name="T60" fmla="*/ 133 w 379"/>
                <a:gd name="T61" fmla="*/ 191 h 437"/>
                <a:gd name="T62" fmla="*/ 155 w 379"/>
                <a:gd name="T63" fmla="*/ 168 h 437"/>
                <a:gd name="T64" fmla="*/ 172 w 379"/>
                <a:gd name="T65" fmla="*/ 153 h 437"/>
                <a:gd name="T66" fmla="*/ 221 w 379"/>
                <a:gd name="T67" fmla="*/ 150 h 437"/>
                <a:gd name="T68" fmla="*/ 250 w 379"/>
                <a:gd name="T69" fmla="*/ 147 h 437"/>
                <a:gd name="T70" fmla="*/ 273 w 379"/>
                <a:gd name="T71" fmla="*/ 173 h 437"/>
                <a:gd name="T72" fmla="*/ 279 w 379"/>
                <a:gd name="T73" fmla="*/ 203 h 437"/>
                <a:gd name="T74" fmla="*/ 246 w 379"/>
                <a:gd name="T75" fmla="*/ 192 h 437"/>
                <a:gd name="T76" fmla="*/ 218 w 379"/>
                <a:gd name="T77" fmla="*/ 185 h 437"/>
                <a:gd name="T78" fmla="*/ 192 w 379"/>
                <a:gd name="T79" fmla="*/ 195 h 437"/>
                <a:gd name="T80" fmla="*/ 186 w 379"/>
                <a:gd name="T81" fmla="*/ 209 h 437"/>
                <a:gd name="T82" fmla="*/ 192 w 379"/>
                <a:gd name="T83" fmla="*/ 233 h 437"/>
                <a:gd name="T84" fmla="*/ 220 w 379"/>
                <a:gd name="T85" fmla="*/ 272 h 437"/>
                <a:gd name="T86" fmla="*/ 225 w 379"/>
                <a:gd name="T87" fmla="*/ 296 h 437"/>
                <a:gd name="T88" fmla="*/ 215 w 379"/>
                <a:gd name="T89" fmla="*/ 322 h 437"/>
                <a:gd name="T90" fmla="*/ 205 w 379"/>
                <a:gd name="T91" fmla="*/ 345 h 437"/>
                <a:gd name="T92" fmla="*/ 210 w 379"/>
                <a:gd name="T93" fmla="*/ 356 h 437"/>
                <a:gd name="T94" fmla="*/ 236 w 379"/>
                <a:gd name="T95" fmla="*/ 368 h 437"/>
                <a:gd name="T96" fmla="*/ 252 w 379"/>
                <a:gd name="T97" fmla="*/ 400 h 437"/>
                <a:gd name="T98" fmla="*/ 239 w 379"/>
                <a:gd name="T99" fmla="*/ 429 h 437"/>
                <a:gd name="T100" fmla="*/ 221 w 379"/>
                <a:gd name="T101" fmla="*/ 421 h 437"/>
                <a:gd name="T102" fmla="*/ 202 w 379"/>
                <a:gd name="T103" fmla="*/ 417 h 437"/>
                <a:gd name="T104" fmla="*/ 177 w 379"/>
                <a:gd name="T105" fmla="*/ 400 h 437"/>
                <a:gd name="T106" fmla="*/ 153 w 379"/>
                <a:gd name="T107" fmla="*/ 356 h 437"/>
                <a:gd name="T108" fmla="*/ 137 w 379"/>
                <a:gd name="T109" fmla="*/ 304 h 437"/>
                <a:gd name="T110" fmla="*/ 114 w 379"/>
                <a:gd name="T111" fmla="*/ 263 h 437"/>
                <a:gd name="T112" fmla="*/ 97 w 379"/>
                <a:gd name="T113" fmla="*/ 259 h 437"/>
                <a:gd name="T114" fmla="*/ 105 w 379"/>
                <a:gd name="T115" fmla="*/ 381 h 437"/>
                <a:gd name="T116" fmla="*/ 93 w 379"/>
                <a:gd name="T117" fmla="*/ 404 h 437"/>
                <a:gd name="T118" fmla="*/ 57 w 379"/>
                <a:gd name="T119" fmla="*/ 426 h 437"/>
                <a:gd name="T120" fmla="*/ 59 w 379"/>
                <a:gd name="T121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5" name="Freeform 339">
              <a:extLst>
                <a:ext uri="{FF2B5EF4-FFF2-40B4-BE49-F238E27FC236}">
                  <a16:creationId xmlns:a16="http://schemas.microsoft.com/office/drawing/2014/main" id="{711263E4-D2BE-475A-8B67-7D6025083372}"/>
                </a:ext>
              </a:extLst>
            </p:cNvPr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8162926" y="3838575"/>
              <a:ext cx="250825" cy="95250"/>
            </a:xfrm>
            <a:custGeom>
              <a:avLst/>
              <a:gdLst>
                <a:gd name="T0" fmla="*/ 11 w 578"/>
                <a:gd name="T1" fmla="*/ 50 h 184"/>
                <a:gd name="T2" fmla="*/ 24 w 578"/>
                <a:gd name="T3" fmla="*/ 32 h 184"/>
                <a:gd name="T4" fmla="*/ 41 w 578"/>
                <a:gd name="T5" fmla="*/ 7 h 184"/>
                <a:gd name="T6" fmla="*/ 54 w 578"/>
                <a:gd name="T7" fmla="*/ 0 h 184"/>
                <a:gd name="T8" fmla="*/ 79 w 578"/>
                <a:gd name="T9" fmla="*/ 2 h 184"/>
                <a:gd name="T10" fmla="*/ 95 w 578"/>
                <a:gd name="T11" fmla="*/ 2 h 184"/>
                <a:gd name="T12" fmla="*/ 101 w 578"/>
                <a:gd name="T13" fmla="*/ 5 h 184"/>
                <a:gd name="T14" fmla="*/ 115 w 578"/>
                <a:gd name="T15" fmla="*/ 15 h 184"/>
                <a:gd name="T16" fmla="*/ 147 w 578"/>
                <a:gd name="T17" fmla="*/ 27 h 184"/>
                <a:gd name="T18" fmla="*/ 168 w 578"/>
                <a:gd name="T19" fmla="*/ 37 h 184"/>
                <a:gd name="T20" fmla="*/ 178 w 578"/>
                <a:gd name="T21" fmla="*/ 53 h 184"/>
                <a:gd name="T22" fmla="*/ 192 w 578"/>
                <a:gd name="T23" fmla="*/ 61 h 184"/>
                <a:gd name="T24" fmla="*/ 231 w 578"/>
                <a:gd name="T25" fmla="*/ 60 h 184"/>
                <a:gd name="T26" fmla="*/ 277 w 578"/>
                <a:gd name="T27" fmla="*/ 51 h 184"/>
                <a:gd name="T28" fmla="*/ 299 w 578"/>
                <a:gd name="T29" fmla="*/ 39 h 184"/>
                <a:gd name="T30" fmla="*/ 314 w 578"/>
                <a:gd name="T31" fmla="*/ 34 h 184"/>
                <a:gd name="T32" fmla="*/ 327 w 578"/>
                <a:gd name="T33" fmla="*/ 35 h 184"/>
                <a:gd name="T34" fmla="*/ 339 w 578"/>
                <a:gd name="T35" fmla="*/ 31 h 184"/>
                <a:gd name="T36" fmla="*/ 366 w 578"/>
                <a:gd name="T37" fmla="*/ 34 h 184"/>
                <a:gd name="T38" fmla="*/ 399 w 578"/>
                <a:gd name="T39" fmla="*/ 59 h 184"/>
                <a:gd name="T40" fmla="*/ 428 w 578"/>
                <a:gd name="T41" fmla="*/ 89 h 184"/>
                <a:gd name="T42" fmla="*/ 456 w 578"/>
                <a:gd name="T43" fmla="*/ 105 h 184"/>
                <a:gd name="T44" fmla="*/ 479 w 578"/>
                <a:gd name="T45" fmla="*/ 107 h 184"/>
                <a:gd name="T46" fmla="*/ 493 w 578"/>
                <a:gd name="T47" fmla="*/ 108 h 184"/>
                <a:gd name="T48" fmla="*/ 505 w 578"/>
                <a:gd name="T49" fmla="*/ 125 h 184"/>
                <a:gd name="T50" fmla="*/ 522 w 578"/>
                <a:gd name="T51" fmla="*/ 140 h 184"/>
                <a:gd name="T52" fmla="*/ 534 w 578"/>
                <a:gd name="T53" fmla="*/ 139 h 184"/>
                <a:gd name="T54" fmla="*/ 546 w 578"/>
                <a:gd name="T55" fmla="*/ 128 h 184"/>
                <a:gd name="T56" fmla="*/ 558 w 578"/>
                <a:gd name="T57" fmla="*/ 134 h 184"/>
                <a:gd name="T58" fmla="*/ 571 w 578"/>
                <a:gd name="T59" fmla="*/ 145 h 184"/>
                <a:gd name="T60" fmla="*/ 578 w 578"/>
                <a:gd name="T61" fmla="*/ 160 h 184"/>
                <a:gd name="T62" fmla="*/ 575 w 578"/>
                <a:gd name="T63" fmla="*/ 173 h 184"/>
                <a:gd name="T64" fmla="*/ 567 w 578"/>
                <a:gd name="T65" fmla="*/ 182 h 184"/>
                <a:gd name="T66" fmla="*/ 551 w 578"/>
                <a:gd name="T67" fmla="*/ 178 h 184"/>
                <a:gd name="T68" fmla="*/ 526 w 578"/>
                <a:gd name="T69" fmla="*/ 170 h 184"/>
                <a:gd name="T70" fmla="*/ 491 w 578"/>
                <a:gd name="T71" fmla="*/ 172 h 184"/>
                <a:gd name="T72" fmla="*/ 462 w 578"/>
                <a:gd name="T73" fmla="*/ 170 h 184"/>
                <a:gd name="T74" fmla="*/ 451 w 578"/>
                <a:gd name="T75" fmla="*/ 160 h 184"/>
                <a:gd name="T76" fmla="*/ 438 w 578"/>
                <a:gd name="T77" fmla="*/ 154 h 184"/>
                <a:gd name="T78" fmla="*/ 426 w 578"/>
                <a:gd name="T79" fmla="*/ 160 h 184"/>
                <a:gd name="T80" fmla="*/ 416 w 578"/>
                <a:gd name="T81" fmla="*/ 170 h 184"/>
                <a:gd name="T82" fmla="*/ 398 w 578"/>
                <a:gd name="T83" fmla="*/ 171 h 184"/>
                <a:gd name="T84" fmla="*/ 328 w 578"/>
                <a:gd name="T85" fmla="*/ 153 h 184"/>
                <a:gd name="T86" fmla="*/ 277 w 578"/>
                <a:gd name="T87" fmla="*/ 132 h 184"/>
                <a:gd name="T88" fmla="*/ 266 w 578"/>
                <a:gd name="T89" fmla="*/ 123 h 184"/>
                <a:gd name="T90" fmla="*/ 230 w 578"/>
                <a:gd name="T91" fmla="*/ 119 h 184"/>
                <a:gd name="T92" fmla="*/ 201 w 578"/>
                <a:gd name="T93" fmla="*/ 113 h 184"/>
                <a:gd name="T94" fmla="*/ 168 w 578"/>
                <a:gd name="T95" fmla="*/ 111 h 184"/>
                <a:gd name="T96" fmla="*/ 146 w 578"/>
                <a:gd name="T97" fmla="*/ 111 h 184"/>
                <a:gd name="T98" fmla="*/ 124 w 578"/>
                <a:gd name="T99" fmla="*/ 105 h 184"/>
                <a:gd name="T100" fmla="*/ 120 w 578"/>
                <a:gd name="T101" fmla="*/ 99 h 184"/>
                <a:gd name="T102" fmla="*/ 69 w 578"/>
                <a:gd name="T103" fmla="*/ 97 h 184"/>
                <a:gd name="T104" fmla="*/ 46 w 578"/>
                <a:gd name="T105" fmla="*/ 88 h 184"/>
                <a:gd name="T106" fmla="*/ 0 w 578"/>
                <a:gd name="T107" fmla="*/ 55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6" name="Freeform 340">
              <a:extLst>
                <a:ext uri="{FF2B5EF4-FFF2-40B4-BE49-F238E27FC236}">
                  <a16:creationId xmlns:a16="http://schemas.microsoft.com/office/drawing/2014/main" id="{D7DD0019-81D3-446B-80E2-C4BC2D469C13}"/>
                </a:ext>
              </a:extLst>
            </p:cNvPr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8843963" y="3695701"/>
              <a:ext cx="214312" cy="252413"/>
            </a:xfrm>
            <a:custGeom>
              <a:avLst/>
              <a:gdLst>
                <a:gd name="T0" fmla="*/ 482 w 491"/>
                <a:gd name="T1" fmla="*/ 479 h 481"/>
                <a:gd name="T2" fmla="*/ 457 w 491"/>
                <a:gd name="T3" fmla="*/ 465 h 481"/>
                <a:gd name="T4" fmla="*/ 422 w 491"/>
                <a:gd name="T5" fmla="*/ 434 h 481"/>
                <a:gd name="T6" fmla="*/ 412 w 491"/>
                <a:gd name="T7" fmla="*/ 417 h 481"/>
                <a:gd name="T8" fmla="*/ 376 w 491"/>
                <a:gd name="T9" fmla="*/ 410 h 481"/>
                <a:gd name="T10" fmla="*/ 360 w 491"/>
                <a:gd name="T11" fmla="*/ 406 h 481"/>
                <a:gd name="T12" fmla="*/ 350 w 491"/>
                <a:gd name="T13" fmla="*/ 396 h 481"/>
                <a:gd name="T14" fmla="*/ 346 w 491"/>
                <a:gd name="T15" fmla="*/ 374 h 481"/>
                <a:gd name="T16" fmla="*/ 342 w 491"/>
                <a:gd name="T17" fmla="*/ 332 h 481"/>
                <a:gd name="T18" fmla="*/ 327 w 491"/>
                <a:gd name="T19" fmla="*/ 303 h 481"/>
                <a:gd name="T20" fmla="*/ 319 w 491"/>
                <a:gd name="T21" fmla="*/ 277 h 481"/>
                <a:gd name="T22" fmla="*/ 314 w 491"/>
                <a:gd name="T23" fmla="*/ 244 h 481"/>
                <a:gd name="T24" fmla="*/ 292 w 491"/>
                <a:gd name="T25" fmla="*/ 223 h 481"/>
                <a:gd name="T26" fmla="*/ 260 w 491"/>
                <a:gd name="T27" fmla="*/ 205 h 481"/>
                <a:gd name="T28" fmla="*/ 221 w 491"/>
                <a:gd name="T29" fmla="*/ 190 h 481"/>
                <a:gd name="T30" fmla="*/ 178 w 491"/>
                <a:gd name="T31" fmla="*/ 181 h 481"/>
                <a:gd name="T32" fmla="*/ 133 w 491"/>
                <a:gd name="T33" fmla="*/ 178 h 481"/>
                <a:gd name="T34" fmla="*/ 133 w 491"/>
                <a:gd name="T35" fmla="*/ 156 h 481"/>
                <a:gd name="T36" fmla="*/ 110 w 491"/>
                <a:gd name="T37" fmla="*/ 145 h 481"/>
                <a:gd name="T38" fmla="*/ 85 w 491"/>
                <a:gd name="T39" fmla="*/ 130 h 481"/>
                <a:gd name="T40" fmla="*/ 66 w 491"/>
                <a:gd name="T41" fmla="*/ 111 h 481"/>
                <a:gd name="T42" fmla="*/ 73 w 491"/>
                <a:gd name="T43" fmla="*/ 133 h 481"/>
                <a:gd name="T44" fmla="*/ 54 w 491"/>
                <a:gd name="T45" fmla="*/ 147 h 481"/>
                <a:gd name="T46" fmla="*/ 40 w 491"/>
                <a:gd name="T47" fmla="*/ 178 h 481"/>
                <a:gd name="T48" fmla="*/ 24 w 491"/>
                <a:gd name="T49" fmla="*/ 220 h 481"/>
                <a:gd name="T50" fmla="*/ 13 w 491"/>
                <a:gd name="T51" fmla="*/ 265 h 481"/>
                <a:gd name="T52" fmla="*/ 14 w 491"/>
                <a:gd name="T53" fmla="*/ 237 h 481"/>
                <a:gd name="T54" fmla="*/ 23 w 491"/>
                <a:gd name="T55" fmla="*/ 209 h 481"/>
                <a:gd name="T56" fmla="*/ 32 w 491"/>
                <a:gd name="T57" fmla="*/ 181 h 481"/>
                <a:gd name="T58" fmla="*/ 30 w 491"/>
                <a:gd name="T59" fmla="*/ 143 h 481"/>
                <a:gd name="T60" fmla="*/ 17 w 491"/>
                <a:gd name="T61" fmla="*/ 111 h 481"/>
                <a:gd name="T62" fmla="*/ 0 w 491"/>
                <a:gd name="T63" fmla="*/ 73 h 481"/>
                <a:gd name="T64" fmla="*/ 34 w 491"/>
                <a:gd name="T65" fmla="*/ 59 h 481"/>
                <a:gd name="T66" fmla="*/ 59 w 491"/>
                <a:gd name="T67" fmla="*/ 55 h 481"/>
                <a:gd name="T68" fmla="*/ 84 w 491"/>
                <a:gd name="T69" fmla="*/ 58 h 481"/>
                <a:gd name="T70" fmla="*/ 102 w 491"/>
                <a:gd name="T71" fmla="*/ 66 h 481"/>
                <a:gd name="T72" fmla="*/ 121 w 491"/>
                <a:gd name="T73" fmla="*/ 82 h 481"/>
                <a:gd name="T74" fmla="*/ 140 w 491"/>
                <a:gd name="T75" fmla="*/ 111 h 481"/>
                <a:gd name="T76" fmla="*/ 183 w 491"/>
                <a:gd name="T77" fmla="*/ 103 h 481"/>
                <a:gd name="T78" fmla="*/ 196 w 491"/>
                <a:gd name="T79" fmla="*/ 96 h 481"/>
                <a:gd name="T80" fmla="*/ 200 w 491"/>
                <a:gd name="T81" fmla="*/ 90 h 481"/>
                <a:gd name="T82" fmla="*/ 207 w 491"/>
                <a:gd name="T83" fmla="*/ 73 h 481"/>
                <a:gd name="T84" fmla="*/ 232 w 491"/>
                <a:gd name="T85" fmla="*/ 54 h 481"/>
                <a:gd name="T86" fmla="*/ 254 w 491"/>
                <a:gd name="T87" fmla="*/ 49 h 481"/>
                <a:gd name="T88" fmla="*/ 263 w 491"/>
                <a:gd name="T89" fmla="*/ 30 h 481"/>
                <a:gd name="T90" fmla="*/ 280 w 491"/>
                <a:gd name="T91" fmla="*/ 9 h 481"/>
                <a:gd name="T92" fmla="*/ 300 w 491"/>
                <a:gd name="T93" fmla="*/ 1 h 481"/>
                <a:gd name="T94" fmla="*/ 323 w 491"/>
                <a:gd name="T95" fmla="*/ 0 h 481"/>
                <a:gd name="T96" fmla="*/ 351 w 491"/>
                <a:gd name="T97" fmla="*/ 8 h 481"/>
                <a:gd name="T98" fmla="*/ 399 w 491"/>
                <a:gd name="T99" fmla="*/ 38 h 481"/>
                <a:gd name="T100" fmla="*/ 428 w 491"/>
                <a:gd name="T101" fmla="*/ 53 h 481"/>
                <a:gd name="T102" fmla="*/ 459 w 491"/>
                <a:gd name="T103" fmla="*/ 60 h 481"/>
                <a:gd name="T104" fmla="*/ 491 w 491"/>
                <a:gd name="T105" fmla="*/ 67 h 481"/>
                <a:gd name="T106" fmla="*/ 491 w 491"/>
                <a:gd name="T107" fmla="*/ 326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7" name="Freeform 341">
              <a:extLst>
                <a:ext uri="{FF2B5EF4-FFF2-40B4-BE49-F238E27FC236}">
                  <a16:creationId xmlns:a16="http://schemas.microsoft.com/office/drawing/2014/main" id="{6B73D4E4-9D45-4513-A452-4D53FB5EDECF}"/>
                </a:ext>
              </a:extLst>
            </p:cNvPr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7375526" y="2527301"/>
              <a:ext cx="53975" cy="60325"/>
            </a:xfrm>
            <a:custGeom>
              <a:avLst/>
              <a:gdLst>
                <a:gd name="T0" fmla="*/ 0 w 133"/>
                <a:gd name="T1" fmla="*/ 19 h 117"/>
                <a:gd name="T2" fmla="*/ 72 w 133"/>
                <a:gd name="T3" fmla="*/ 0 h 117"/>
                <a:gd name="T4" fmla="*/ 81 w 133"/>
                <a:gd name="T5" fmla="*/ 6 h 117"/>
                <a:gd name="T6" fmla="*/ 91 w 133"/>
                <a:gd name="T7" fmla="*/ 14 h 117"/>
                <a:gd name="T8" fmla="*/ 101 w 133"/>
                <a:gd name="T9" fmla="*/ 25 h 117"/>
                <a:gd name="T10" fmla="*/ 109 w 133"/>
                <a:gd name="T11" fmla="*/ 37 h 117"/>
                <a:gd name="T12" fmla="*/ 118 w 133"/>
                <a:gd name="T13" fmla="*/ 49 h 117"/>
                <a:gd name="T14" fmla="*/ 126 w 133"/>
                <a:gd name="T15" fmla="*/ 62 h 117"/>
                <a:gd name="T16" fmla="*/ 128 w 133"/>
                <a:gd name="T17" fmla="*/ 68 h 117"/>
                <a:gd name="T18" fmla="*/ 130 w 133"/>
                <a:gd name="T19" fmla="*/ 74 h 117"/>
                <a:gd name="T20" fmla="*/ 131 w 133"/>
                <a:gd name="T21" fmla="*/ 80 h 117"/>
                <a:gd name="T22" fmla="*/ 133 w 133"/>
                <a:gd name="T23" fmla="*/ 86 h 117"/>
                <a:gd name="T24" fmla="*/ 131 w 133"/>
                <a:gd name="T25" fmla="*/ 92 h 117"/>
                <a:gd name="T26" fmla="*/ 128 w 133"/>
                <a:gd name="T27" fmla="*/ 97 h 117"/>
                <a:gd name="T28" fmla="*/ 124 w 133"/>
                <a:gd name="T29" fmla="*/ 102 h 117"/>
                <a:gd name="T30" fmla="*/ 118 w 133"/>
                <a:gd name="T31" fmla="*/ 107 h 117"/>
                <a:gd name="T32" fmla="*/ 113 w 133"/>
                <a:gd name="T33" fmla="*/ 111 h 117"/>
                <a:gd name="T34" fmla="*/ 107 w 133"/>
                <a:gd name="T35" fmla="*/ 114 h 117"/>
                <a:gd name="T36" fmla="*/ 103 w 133"/>
                <a:gd name="T37" fmla="*/ 117 h 117"/>
                <a:gd name="T38" fmla="*/ 100 w 133"/>
                <a:gd name="T39" fmla="*/ 117 h 117"/>
                <a:gd name="T40" fmla="*/ 72 w 133"/>
                <a:gd name="T41" fmla="*/ 95 h 117"/>
                <a:gd name="T42" fmla="*/ 45 w 133"/>
                <a:gd name="T43" fmla="*/ 70 h 117"/>
                <a:gd name="T44" fmla="*/ 32 w 133"/>
                <a:gd name="T45" fmla="*/ 58 h 117"/>
                <a:gd name="T46" fmla="*/ 18 w 133"/>
                <a:gd name="T47" fmla="*/ 46 h 117"/>
                <a:gd name="T48" fmla="*/ 8 w 133"/>
                <a:gd name="T49" fmla="*/ 33 h 117"/>
                <a:gd name="T50" fmla="*/ 0 w 133"/>
                <a:gd name="T51" fmla="*/ 19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48" name="Freeform 342">
              <a:extLst>
                <a:ext uri="{FF2B5EF4-FFF2-40B4-BE49-F238E27FC236}">
                  <a16:creationId xmlns:a16="http://schemas.microsoft.com/office/drawing/2014/main" id="{92A46356-F863-421C-B72A-38322A2CB3C0}"/>
                </a:ext>
              </a:extLst>
            </p:cNvPr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5832476" y="1931988"/>
              <a:ext cx="220663" cy="177800"/>
            </a:xfrm>
            <a:custGeom>
              <a:avLst/>
              <a:gdLst>
                <a:gd name="T0" fmla="*/ 272 w 505"/>
                <a:gd name="T1" fmla="*/ 36 h 339"/>
                <a:gd name="T2" fmla="*/ 484 w 505"/>
                <a:gd name="T3" fmla="*/ 86 h 339"/>
                <a:gd name="T4" fmla="*/ 478 w 505"/>
                <a:gd name="T5" fmla="*/ 109 h 339"/>
                <a:gd name="T6" fmla="*/ 471 w 505"/>
                <a:gd name="T7" fmla="*/ 129 h 339"/>
                <a:gd name="T8" fmla="*/ 461 w 505"/>
                <a:gd name="T9" fmla="*/ 145 h 339"/>
                <a:gd name="T10" fmla="*/ 451 w 505"/>
                <a:gd name="T11" fmla="*/ 153 h 339"/>
                <a:gd name="T12" fmla="*/ 461 w 505"/>
                <a:gd name="T13" fmla="*/ 184 h 339"/>
                <a:gd name="T14" fmla="*/ 477 w 505"/>
                <a:gd name="T15" fmla="*/ 215 h 339"/>
                <a:gd name="T16" fmla="*/ 505 w 505"/>
                <a:gd name="T17" fmla="*/ 258 h 339"/>
                <a:gd name="T18" fmla="*/ 493 w 505"/>
                <a:gd name="T19" fmla="*/ 271 h 339"/>
                <a:gd name="T20" fmla="*/ 479 w 505"/>
                <a:gd name="T21" fmla="*/ 292 h 339"/>
                <a:gd name="T22" fmla="*/ 468 w 505"/>
                <a:gd name="T23" fmla="*/ 314 h 339"/>
                <a:gd name="T24" fmla="*/ 464 w 505"/>
                <a:gd name="T25" fmla="*/ 339 h 339"/>
                <a:gd name="T26" fmla="*/ 443 w 505"/>
                <a:gd name="T27" fmla="*/ 338 h 339"/>
                <a:gd name="T28" fmla="*/ 414 w 505"/>
                <a:gd name="T29" fmla="*/ 335 h 339"/>
                <a:gd name="T30" fmla="*/ 385 w 505"/>
                <a:gd name="T31" fmla="*/ 331 h 339"/>
                <a:gd name="T32" fmla="*/ 358 w 505"/>
                <a:gd name="T33" fmla="*/ 326 h 339"/>
                <a:gd name="T34" fmla="*/ 304 w 505"/>
                <a:gd name="T35" fmla="*/ 325 h 339"/>
                <a:gd name="T36" fmla="*/ 264 w 505"/>
                <a:gd name="T37" fmla="*/ 321 h 339"/>
                <a:gd name="T38" fmla="*/ 248 w 505"/>
                <a:gd name="T39" fmla="*/ 317 h 339"/>
                <a:gd name="T40" fmla="*/ 232 w 505"/>
                <a:gd name="T41" fmla="*/ 310 h 339"/>
                <a:gd name="T42" fmla="*/ 213 w 505"/>
                <a:gd name="T43" fmla="*/ 300 h 339"/>
                <a:gd name="T44" fmla="*/ 180 w 505"/>
                <a:gd name="T45" fmla="*/ 289 h 339"/>
                <a:gd name="T46" fmla="*/ 146 w 505"/>
                <a:gd name="T47" fmla="*/ 273 h 339"/>
                <a:gd name="T48" fmla="*/ 98 w 505"/>
                <a:gd name="T49" fmla="*/ 249 h 339"/>
                <a:gd name="T50" fmla="*/ 62 w 505"/>
                <a:gd name="T51" fmla="*/ 206 h 339"/>
                <a:gd name="T52" fmla="*/ 52 w 505"/>
                <a:gd name="T53" fmla="*/ 169 h 339"/>
                <a:gd name="T54" fmla="*/ 36 w 505"/>
                <a:gd name="T55" fmla="*/ 124 h 339"/>
                <a:gd name="T56" fmla="*/ 15 w 505"/>
                <a:gd name="T57" fmla="*/ 83 h 339"/>
                <a:gd name="T58" fmla="*/ 2 w 505"/>
                <a:gd name="T59" fmla="*/ 64 h 339"/>
                <a:gd name="T60" fmla="*/ 5 w 505"/>
                <a:gd name="T61" fmla="*/ 61 h 339"/>
                <a:gd name="T62" fmla="*/ 11 w 505"/>
                <a:gd name="T63" fmla="*/ 56 h 339"/>
                <a:gd name="T64" fmla="*/ 11 w 505"/>
                <a:gd name="T65" fmla="*/ 48 h 339"/>
                <a:gd name="T66" fmla="*/ 11 w 505"/>
                <a:gd name="T67" fmla="*/ 43 h 339"/>
                <a:gd name="T68" fmla="*/ 34 w 505"/>
                <a:gd name="T69" fmla="*/ 34 h 339"/>
                <a:gd name="T70" fmla="*/ 73 w 505"/>
                <a:gd name="T71" fmla="*/ 22 h 339"/>
                <a:gd name="T72" fmla="*/ 128 w 505"/>
                <a:gd name="T73" fmla="*/ 8 h 339"/>
                <a:gd name="T74" fmla="*/ 173 w 505"/>
                <a:gd name="T75" fmla="*/ 11 h 339"/>
                <a:gd name="T76" fmla="*/ 188 w 505"/>
                <a:gd name="T77" fmla="*/ 28 h 339"/>
                <a:gd name="T78" fmla="*/ 201 w 505"/>
                <a:gd name="T79" fmla="*/ 35 h 339"/>
                <a:gd name="T80" fmla="*/ 219 w 505"/>
                <a:gd name="T81" fmla="*/ 36 h 339"/>
                <a:gd name="T82" fmla="*/ 239 w 505"/>
                <a:gd name="T83" fmla="*/ 36 h 339"/>
                <a:gd name="T84" fmla="*/ 259 w 505"/>
                <a:gd name="T85" fmla="*/ 24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49" name="Freeform 343">
              <a:extLst>
                <a:ext uri="{FF2B5EF4-FFF2-40B4-BE49-F238E27FC236}">
                  <a16:creationId xmlns:a16="http://schemas.microsoft.com/office/drawing/2014/main" id="{10957E53-47B8-462A-A754-1EBF7E2AA6F8}"/>
                </a:ext>
              </a:extLst>
            </p:cNvPr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5895975" y="2136775"/>
              <a:ext cx="146050" cy="71438"/>
            </a:xfrm>
            <a:custGeom>
              <a:avLst/>
              <a:gdLst>
                <a:gd name="T0" fmla="*/ 312 w 338"/>
                <a:gd name="T1" fmla="*/ 0 h 141"/>
                <a:gd name="T2" fmla="*/ 186 w 338"/>
                <a:gd name="T3" fmla="*/ 0 h 141"/>
                <a:gd name="T4" fmla="*/ 168 w 338"/>
                <a:gd name="T5" fmla="*/ 8 h 141"/>
                <a:gd name="T6" fmla="*/ 144 w 338"/>
                <a:gd name="T7" fmla="*/ 21 h 141"/>
                <a:gd name="T8" fmla="*/ 132 w 338"/>
                <a:gd name="T9" fmla="*/ 27 h 141"/>
                <a:gd name="T10" fmla="*/ 119 w 338"/>
                <a:gd name="T11" fmla="*/ 32 h 141"/>
                <a:gd name="T12" fmla="*/ 112 w 338"/>
                <a:gd name="T13" fmla="*/ 34 h 141"/>
                <a:gd name="T14" fmla="*/ 105 w 338"/>
                <a:gd name="T15" fmla="*/ 35 h 141"/>
                <a:gd name="T16" fmla="*/ 99 w 338"/>
                <a:gd name="T17" fmla="*/ 36 h 141"/>
                <a:gd name="T18" fmla="*/ 93 w 338"/>
                <a:gd name="T19" fmla="*/ 37 h 141"/>
                <a:gd name="T20" fmla="*/ 88 w 338"/>
                <a:gd name="T21" fmla="*/ 36 h 141"/>
                <a:gd name="T22" fmla="*/ 84 w 338"/>
                <a:gd name="T23" fmla="*/ 35 h 141"/>
                <a:gd name="T24" fmla="*/ 78 w 338"/>
                <a:gd name="T25" fmla="*/ 32 h 141"/>
                <a:gd name="T26" fmla="*/ 74 w 338"/>
                <a:gd name="T27" fmla="*/ 30 h 141"/>
                <a:gd name="T28" fmla="*/ 66 w 338"/>
                <a:gd name="T29" fmla="*/ 24 h 141"/>
                <a:gd name="T30" fmla="*/ 59 w 338"/>
                <a:gd name="T31" fmla="*/ 18 h 141"/>
                <a:gd name="T32" fmla="*/ 49 w 338"/>
                <a:gd name="T33" fmla="*/ 34 h 141"/>
                <a:gd name="T34" fmla="*/ 37 w 338"/>
                <a:gd name="T35" fmla="*/ 51 h 141"/>
                <a:gd name="T36" fmla="*/ 30 w 338"/>
                <a:gd name="T37" fmla="*/ 60 h 141"/>
                <a:gd name="T38" fmla="*/ 21 w 338"/>
                <a:gd name="T39" fmla="*/ 68 h 141"/>
                <a:gd name="T40" fmla="*/ 11 w 338"/>
                <a:gd name="T41" fmla="*/ 75 h 141"/>
                <a:gd name="T42" fmla="*/ 0 w 338"/>
                <a:gd name="T43" fmla="*/ 80 h 141"/>
                <a:gd name="T44" fmla="*/ 12 w 338"/>
                <a:gd name="T45" fmla="*/ 90 h 141"/>
                <a:gd name="T46" fmla="*/ 23 w 338"/>
                <a:gd name="T47" fmla="*/ 100 h 141"/>
                <a:gd name="T48" fmla="*/ 33 w 338"/>
                <a:gd name="T49" fmla="*/ 108 h 141"/>
                <a:gd name="T50" fmla="*/ 44 w 338"/>
                <a:gd name="T51" fmla="*/ 116 h 141"/>
                <a:gd name="T52" fmla="*/ 55 w 338"/>
                <a:gd name="T53" fmla="*/ 122 h 141"/>
                <a:gd name="T54" fmla="*/ 66 w 338"/>
                <a:gd name="T55" fmla="*/ 129 h 141"/>
                <a:gd name="T56" fmla="*/ 79 w 338"/>
                <a:gd name="T57" fmla="*/ 135 h 141"/>
                <a:gd name="T58" fmla="*/ 93 w 338"/>
                <a:gd name="T59" fmla="*/ 141 h 141"/>
                <a:gd name="T60" fmla="*/ 259 w 338"/>
                <a:gd name="T61" fmla="*/ 141 h 141"/>
                <a:gd name="T62" fmla="*/ 269 w 338"/>
                <a:gd name="T63" fmla="*/ 124 h 141"/>
                <a:gd name="T64" fmla="*/ 281 w 338"/>
                <a:gd name="T65" fmla="*/ 107 h 141"/>
                <a:gd name="T66" fmla="*/ 292 w 338"/>
                <a:gd name="T67" fmla="*/ 92 h 141"/>
                <a:gd name="T68" fmla="*/ 304 w 338"/>
                <a:gd name="T69" fmla="*/ 78 h 141"/>
                <a:gd name="T70" fmla="*/ 315 w 338"/>
                <a:gd name="T71" fmla="*/ 64 h 141"/>
                <a:gd name="T72" fmla="*/ 324 w 338"/>
                <a:gd name="T73" fmla="*/ 48 h 141"/>
                <a:gd name="T74" fmla="*/ 333 w 338"/>
                <a:gd name="T75" fmla="*/ 34 h 141"/>
                <a:gd name="T76" fmla="*/ 338 w 338"/>
                <a:gd name="T77" fmla="*/ 18 h 141"/>
                <a:gd name="T78" fmla="*/ 312 w 338"/>
                <a:gd name="T7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0" name="Freeform 344">
              <a:extLst>
                <a:ext uri="{FF2B5EF4-FFF2-40B4-BE49-F238E27FC236}">
                  <a16:creationId xmlns:a16="http://schemas.microsoft.com/office/drawing/2014/main" id="{0AC9385F-9334-4DFC-84D5-DE5D48161063}"/>
                </a:ext>
              </a:extLst>
            </p:cNvPr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5995989" y="1792289"/>
              <a:ext cx="111125" cy="65087"/>
            </a:xfrm>
            <a:custGeom>
              <a:avLst/>
              <a:gdLst>
                <a:gd name="T0" fmla="*/ 259 w 259"/>
                <a:gd name="T1" fmla="*/ 129 h 129"/>
                <a:gd name="T2" fmla="*/ 255 w 259"/>
                <a:gd name="T3" fmla="*/ 102 h 129"/>
                <a:gd name="T4" fmla="*/ 252 w 259"/>
                <a:gd name="T5" fmla="*/ 80 h 129"/>
                <a:gd name="T6" fmla="*/ 252 w 259"/>
                <a:gd name="T7" fmla="*/ 63 h 129"/>
                <a:gd name="T8" fmla="*/ 253 w 259"/>
                <a:gd name="T9" fmla="*/ 50 h 129"/>
                <a:gd name="T10" fmla="*/ 257 w 259"/>
                <a:gd name="T11" fmla="*/ 29 h 129"/>
                <a:gd name="T12" fmla="*/ 259 w 259"/>
                <a:gd name="T13" fmla="*/ 12 h 129"/>
                <a:gd name="T14" fmla="*/ 258 w 259"/>
                <a:gd name="T15" fmla="*/ 14 h 129"/>
                <a:gd name="T16" fmla="*/ 256 w 259"/>
                <a:gd name="T17" fmla="*/ 16 h 129"/>
                <a:gd name="T18" fmla="*/ 253 w 259"/>
                <a:gd name="T19" fmla="*/ 17 h 129"/>
                <a:gd name="T20" fmla="*/ 249 w 259"/>
                <a:gd name="T21" fmla="*/ 18 h 129"/>
                <a:gd name="T22" fmla="*/ 239 w 259"/>
                <a:gd name="T23" fmla="*/ 19 h 129"/>
                <a:gd name="T24" fmla="*/ 228 w 259"/>
                <a:gd name="T25" fmla="*/ 19 h 129"/>
                <a:gd name="T26" fmla="*/ 205 w 259"/>
                <a:gd name="T27" fmla="*/ 19 h 129"/>
                <a:gd name="T28" fmla="*/ 192 w 259"/>
                <a:gd name="T29" fmla="*/ 18 h 129"/>
                <a:gd name="T30" fmla="*/ 181 w 259"/>
                <a:gd name="T31" fmla="*/ 17 h 129"/>
                <a:gd name="T32" fmla="*/ 172 w 259"/>
                <a:gd name="T33" fmla="*/ 15 h 129"/>
                <a:gd name="T34" fmla="*/ 163 w 259"/>
                <a:gd name="T35" fmla="*/ 12 h 129"/>
                <a:gd name="T36" fmla="*/ 156 w 259"/>
                <a:gd name="T37" fmla="*/ 9 h 129"/>
                <a:gd name="T38" fmla="*/ 146 w 259"/>
                <a:gd name="T39" fmla="*/ 6 h 129"/>
                <a:gd name="T40" fmla="*/ 134 w 259"/>
                <a:gd name="T41" fmla="*/ 3 h 129"/>
                <a:gd name="T42" fmla="*/ 118 w 259"/>
                <a:gd name="T43" fmla="*/ 1 h 129"/>
                <a:gd name="T44" fmla="*/ 99 w 259"/>
                <a:gd name="T45" fmla="*/ 0 h 129"/>
                <a:gd name="T46" fmla="*/ 83 w 259"/>
                <a:gd name="T47" fmla="*/ 0 h 129"/>
                <a:gd name="T48" fmla="*/ 67 w 259"/>
                <a:gd name="T49" fmla="*/ 0 h 129"/>
                <a:gd name="T50" fmla="*/ 50 w 259"/>
                <a:gd name="T51" fmla="*/ 0 h 129"/>
                <a:gd name="T52" fmla="*/ 34 w 259"/>
                <a:gd name="T53" fmla="*/ 2 h 129"/>
                <a:gd name="T54" fmla="*/ 27 w 259"/>
                <a:gd name="T55" fmla="*/ 4 h 129"/>
                <a:gd name="T56" fmla="*/ 21 w 259"/>
                <a:gd name="T57" fmla="*/ 6 h 129"/>
                <a:gd name="T58" fmla="*/ 14 w 259"/>
                <a:gd name="T59" fmla="*/ 9 h 129"/>
                <a:gd name="T60" fmla="*/ 10 w 259"/>
                <a:gd name="T61" fmla="*/ 13 h 129"/>
                <a:gd name="T62" fmla="*/ 5 w 259"/>
                <a:gd name="T63" fmla="*/ 17 h 129"/>
                <a:gd name="T64" fmla="*/ 2 w 259"/>
                <a:gd name="T65" fmla="*/ 22 h 129"/>
                <a:gd name="T66" fmla="*/ 0 w 259"/>
                <a:gd name="T67" fmla="*/ 29 h 129"/>
                <a:gd name="T68" fmla="*/ 0 w 259"/>
                <a:gd name="T69" fmla="*/ 36 h 129"/>
                <a:gd name="T70" fmla="*/ 0 w 259"/>
                <a:gd name="T71" fmla="*/ 48 h 129"/>
                <a:gd name="T72" fmla="*/ 3 w 259"/>
                <a:gd name="T73" fmla="*/ 58 h 129"/>
                <a:gd name="T74" fmla="*/ 6 w 259"/>
                <a:gd name="T75" fmla="*/ 65 h 129"/>
                <a:gd name="T76" fmla="*/ 12 w 259"/>
                <a:gd name="T77" fmla="*/ 71 h 129"/>
                <a:gd name="T78" fmla="*/ 17 w 259"/>
                <a:gd name="T79" fmla="*/ 76 h 129"/>
                <a:gd name="T80" fmla="*/ 24 w 259"/>
                <a:gd name="T81" fmla="*/ 80 h 129"/>
                <a:gd name="T82" fmla="*/ 31 w 259"/>
                <a:gd name="T83" fmla="*/ 83 h 129"/>
                <a:gd name="T84" fmla="*/ 37 w 259"/>
                <a:gd name="T85" fmla="*/ 85 h 129"/>
                <a:gd name="T86" fmla="*/ 50 w 259"/>
                <a:gd name="T87" fmla="*/ 88 h 129"/>
                <a:gd name="T88" fmla="*/ 61 w 259"/>
                <a:gd name="T89" fmla="*/ 92 h 129"/>
                <a:gd name="T90" fmla="*/ 65 w 259"/>
                <a:gd name="T91" fmla="*/ 95 h 129"/>
                <a:gd name="T92" fmla="*/ 67 w 259"/>
                <a:gd name="T93" fmla="*/ 99 h 129"/>
                <a:gd name="T94" fmla="*/ 67 w 259"/>
                <a:gd name="T95" fmla="*/ 105 h 129"/>
                <a:gd name="T96" fmla="*/ 66 w 259"/>
                <a:gd name="T97" fmla="*/ 111 h 129"/>
                <a:gd name="T98" fmla="*/ 81 w 259"/>
                <a:gd name="T99" fmla="*/ 110 h 129"/>
                <a:gd name="T100" fmla="*/ 91 w 259"/>
                <a:gd name="T101" fmla="*/ 108 h 129"/>
                <a:gd name="T102" fmla="*/ 98 w 259"/>
                <a:gd name="T103" fmla="*/ 106 h 129"/>
                <a:gd name="T104" fmla="*/ 105 w 259"/>
                <a:gd name="T105" fmla="*/ 105 h 129"/>
                <a:gd name="T106" fmla="*/ 120 w 259"/>
                <a:gd name="T107" fmla="*/ 106 h 129"/>
                <a:gd name="T108" fmla="*/ 140 w 259"/>
                <a:gd name="T109" fmla="*/ 108 h 129"/>
                <a:gd name="T110" fmla="*/ 166 w 259"/>
                <a:gd name="T111" fmla="*/ 112 h 129"/>
                <a:gd name="T112" fmla="*/ 192 w 259"/>
                <a:gd name="T113" fmla="*/ 117 h 129"/>
                <a:gd name="T114" fmla="*/ 238 w 259"/>
                <a:gd name="T115" fmla="*/ 125 h 129"/>
                <a:gd name="T116" fmla="*/ 259 w 259"/>
                <a:gd name="T117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1" name="Freeform 345">
              <a:extLst>
                <a:ext uri="{FF2B5EF4-FFF2-40B4-BE49-F238E27FC236}">
                  <a16:creationId xmlns:a16="http://schemas.microsoft.com/office/drawing/2014/main" id="{EBE0DDE2-A2D6-4131-B990-1583EEE0F924}"/>
                </a:ext>
              </a:extLst>
            </p:cNvPr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6008689" y="2139951"/>
              <a:ext cx="179387" cy="142875"/>
            </a:xfrm>
            <a:custGeom>
              <a:avLst/>
              <a:gdLst>
                <a:gd name="T0" fmla="*/ 418 w 425"/>
                <a:gd name="T1" fmla="*/ 170 h 272"/>
                <a:gd name="T2" fmla="*/ 398 w 425"/>
                <a:gd name="T3" fmla="*/ 188 h 272"/>
                <a:gd name="T4" fmla="*/ 383 w 425"/>
                <a:gd name="T5" fmla="*/ 206 h 272"/>
                <a:gd name="T6" fmla="*/ 384 w 425"/>
                <a:gd name="T7" fmla="*/ 221 h 272"/>
                <a:gd name="T8" fmla="*/ 389 w 425"/>
                <a:gd name="T9" fmla="*/ 237 h 272"/>
                <a:gd name="T10" fmla="*/ 375 w 425"/>
                <a:gd name="T11" fmla="*/ 244 h 272"/>
                <a:gd name="T12" fmla="*/ 347 w 425"/>
                <a:gd name="T13" fmla="*/ 238 h 272"/>
                <a:gd name="T14" fmla="*/ 324 w 425"/>
                <a:gd name="T15" fmla="*/ 235 h 272"/>
                <a:gd name="T16" fmla="*/ 295 w 425"/>
                <a:gd name="T17" fmla="*/ 235 h 272"/>
                <a:gd name="T18" fmla="*/ 263 w 425"/>
                <a:gd name="T19" fmla="*/ 243 h 272"/>
                <a:gd name="T20" fmla="*/ 232 w 425"/>
                <a:gd name="T21" fmla="*/ 254 h 272"/>
                <a:gd name="T22" fmla="*/ 197 w 425"/>
                <a:gd name="T23" fmla="*/ 267 h 272"/>
                <a:gd name="T24" fmla="*/ 100 w 425"/>
                <a:gd name="T25" fmla="*/ 240 h 272"/>
                <a:gd name="T26" fmla="*/ 85 w 425"/>
                <a:gd name="T27" fmla="*/ 226 h 272"/>
                <a:gd name="T28" fmla="*/ 70 w 425"/>
                <a:gd name="T29" fmla="*/ 214 h 272"/>
                <a:gd name="T30" fmla="*/ 37 w 425"/>
                <a:gd name="T31" fmla="*/ 192 h 272"/>
                <a:gd name="T32" fmla="*/ 22 w 425"/>
                <a:gd name="T33" fmla="*/ 180 h 272"/>
                <a:gd name="T34" fmla="*/ 11 w 425"/>
                <a:gd name="T35" fmla="*/ 167 h 272"/>
                <a:gd name="T36" fmla="*/ 2 w 425"/>
                <a:gd name="T37" fmla="*/ 150 h 272"/>
                <a:gd name="T38" fmla="*/ 0 w 425"/>
                <a:gd name="T39" fmla="*/ 129 h 272"/>
                <a:gd name="T40" fmla="*/ 50 w 425"/>
                <a:gd name="T41" fmla="*/ 66 h 272"/>
                <a:gd name="T42" fmla="*/ 71 w 425"/>
                <a:gd name="T43" fmla="*/ 36 h 272"/>
                <a:gd name="T44" fmla="*/ 80 w 425"/>
                <a:gd name="T45" fmla="*/ 22 h 272"/>
                <a:gd name="T46" fmla="*/ 85 w 425"/>
                <a:gd name="T47" fmla="*/ 6 h 272"/>
                <a:gd name="T48" fmla="*/ 123 w 425"/>
                <a:gd name="T49" fmla="*/ 10 h 272"/>
                <a:gd name="T50" fmla="*/ 153 w 425"/>
                <a:gd name="T51" fmla="*/ 18 h 272"/>
                <a:gd name="T52" fmla="*/ 180 w 425"/>
                <a:gd name="T53" fmla="*/ 27 h 272"/>
                <a:gd name="T54" fmla="*/ 205 w 425"/>
                <a:gd name="T55" fmla="*/ 31 h 272"/>
                <a:gd name="T56" fmla="*/ 214 w 425"/>
                <a:gd name="T57" fmla="*/ 29 h 272"/>
                <a:gd name="T58" fmla="*/ 221 w 425"/>
                <a:gd name="T59" fmla="*/ 26 h 272"/>
                <a:gd name="T60" fmla="*/ 232 w 425"/>
                <a:gd name="T61" fmla="*/ 15 h 272"/>
                <a:gd name="T62" fmla="*/ 242 w 425"/>
                <a:gd name="T63" fmla="*/ 5 h 272"/>
                <a:gd name="T64" fmla="*/ 250 w 425"/>
                <a:gd name="T65" fmla="*/ 2 h 272"/>
                <a:gd name="T66" fmla="*/ 259 w 425"/>
                <a:gd name="T67" fmla="*/ 0 h 272"/>
                <a:gd name="T68" fmla="*/ 275 w 425"/>
                <a:gd name="T69" fmla="*/ 2 h 272"/>
                <a:gd name="T70" fmla="*/ 289 w 425"/>
                <a:gd name="T71" fmla="*/ 7 h 272"/>
                <a:gd name="T72" fmla="*/ 302 w 425"/>
                <a:gd name="T73" fmla="*/ 15 h 272"/>
                <a:gd name="T74" fmla="*/ 310 w 425"/>
                <a:gd name="T75" fmla="*/ 26 h 272"/>
                <a:gd name="T76" fmla="*/ 325 w 425"/>
                <a:gd name="T77" fmla="*/ 53 h 272"/>
                <a:gd name="T78" fmla="*/ 337 w 425"/>
                <a:gd name="T79" fmla="*/ 82 h 272"/>
                <a:gd name="T80" fmla="*/ 349 w 425"/>
                <a:gd name="T81" fmla="*/ 113 h 272"/>
                <a:gd name="T82" fmla="*/ 356 w 425"/>
                <a:gd name="T83" fmla="*/ 126 h 272"/>
                <a:gd name="T84" fmla="*/ 365 w 425"/>
                <a:gd name="T85" fmla="*/ 138 h 272"/>
                <a:gd name="T86" fmla="*/ 376 w 425"/>
                <a:gd name="T87" fmla="*/ 147 h 272"/>
                <a:gd name="T88" fmla="*/ 389 w 425"/>
                <a:gd name="T89" fmla="*/ 156 h 272"/>
                <a:gd name="T90" fmla="*/ 405 w 425"/>
                <a:gd name="T91" fmla="*/ 160 h 272"/>
                <a:gd name="T92" fmla="*/ 425 w 425"/>
                <a:gd name="T93" fmla="*/ 161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2" name="Freeform 346">
              <a:extLst>
                <a:ext uri="{FF2B5EF4-FFF2-40B4-BE49-F238E27FC236}">
                  <a16:creationId xmlns:a16="http://schemas.microsoft.com/office/drawing/2014/main" id="{03593EE6-2FD4-4722-A8D6-77FCB0F7C3D1}"/>
                </a:ext>
              </a:extLst>
            </p:cNvPr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4008439" y="3178176"/>
              <a:ext cx="14287" cy="55563"/>
            </a:xfrm>
            <a:custGeom>
              <a:avLst/>
              <a:gdLst>
                <a:gd name="T0" fmla="*/ 13 w 33"/>
                <a:gd name="T1" fmla="*/ 6 h 31"/>
                <a:gd name="T2" fmla="*/ 0 w 33"/>
                <a:gd name="T3" fmla="*/ 19 h 31"/>
                <a:gd name="T4" fmla="*/ 5 w 33"/>
                <a:gd name="T5" fmla="*/ 21 h 31"/>
                <a:gd name="T6" fmla="*/ 14 w 33"/>
                <a:gd name="T7" fmla="*/ 25 h 31"/>
                <a:gd name="T8" fmla="*/ 19 w 33"/>
                <a:gd name="T9" fmla="*/ 27 h 31"/>
                <a:gd name="T10" fmla="*/ 23 w 33"/>
                <a:gd name="T11" fmla="*/ 29 h 31"/>
                <a:gd name="T12" fmla="*/ 27 w 33"/>
                <a:gd name="T13" fmla="*/ 30 h 31"/>
                <a:gd name="T14" fmla="*/ 33 w 33"/>
                <a:gd name="T15" fmla="*/ 31 h 31"/>
                <a:gd name="T16" fmla="*/ 33 w 33"/>
                <a:gd name="T17" fmla="*/ 0 h 31"/>
                <a:gd name="T18" fmla="*/ 20 w 33"/>
                <a:gd name="T19" fmla="*/ 0 h 31"/>
                <a:gd name="T20" fmla="*/ 13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3" name="Freeform 347">
              <a:extLst>
                <a:ext uri="{FF2B5EF4-FFF2-40B4-BE49-F238E27FC236}">
                  <a16:creationId xmlns:a16="http://schemas.microsoft.com/office/drawing/2014/main" id="{E7AE880F-3860-4659-A620-DBD23678FDD8}"/>
                </a:ext>
              </a:extLst>
            </p:cNvPr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6113464" y="2132014"/>
              <a:ext cx="85725" cy="79375"/>
            </a:xfrm>
            <a:custGeom>
              <a:avLst/>
              <a:gdLst>
                <a:gd name="T0" fmla="*/ 6 w 192"/>
                <a:gd name="T1" fmla="*/ 19 h 154"/>
                <a:gd name="T2" fmla="*/ 52 w 192"/>
                <a:gd name="T3" fmla="*/ 0 h 154"/>
                <a:gd name="T4" fmla="*/ 92 w 192"/>
                <a:gd name="T5" fmla="*/ 19 h 154"/>
                <a:gd name="T6" fmla="*/ 119 w 192"/>
                <a:gd name="T7" fmla="*/ 31 h 154"/>
                <a:gd name="T8" fmla="*/ 146 w 192"/>
                <a:gd name="T9" fmla="*/ 63 h 154"/>
                <a:gd name="T10" fmla="*/ 166 w 192"/>
                <a:gd name="T11" fmla="*/ 93 h 154"/>
                <a:gd name="T12" fmla="*/ 192 w 192"/>
                <a:gd name="T13" fmla="*/ 118 h 154"/>
                <a:gd name="T14" fmla="*/ 152 w 192"/>
                <a:gd name="T15" fmla="*/ 124 h 154"/>
                <a:gd name="T16" fmla="*/ 126 w 192"/>
                <a:gd name="T17" fmla="*/ 130 h 154"/>
                <a:gd name="T18" fmla="*/ 126 w 192"/>
                <a:gd name="T19" fmla="*/ 154 h 154"/>
                <a:gd name="T20" fmla="*/ 106 w 192"/>
                <a:gd name="T21" fmla="*/ 154 h 154"/>
                <a:gd name="T22" fmla="*/ 99 w 192"/>
                <a:gd name="T23" fmla="*/ 146 h 154"/>
                <a:gd name="T24" fmla="*/ 93 w 192"/>
                <a:gd name="T25" fmla="*/ 137 h 154"/>
                <a:gd name="T26" fmla="*/ 88 w 192"/>
                <a:gd name="T27" fmla="*/ 126 h 154"/>
                <a:gd name="T28" fmla="*/ 82 w 192"/>
                <a:gd name="T29" fmla="*/ 115 h 154"/>
                <a:gd name="T30" fmla="*/ 74 w 192"/>
                <a:gd name="T31" fmla="*/ 93 h 154"/>
                <a:gd name="T32" fmla="*/ 65 w 192"/>
                <a:gd name="T33" fmla="*/ 71 h 154"/>
                <a:gd name="T34" fmla="*/ 60 w 192"/>
                <a:gd name="T35" fmla="*/ 61 h 154"/>
                <a:gd name="T36" fmla="*/ 55 w 192"/>
                <a:gd name="T37" fmla="*/ 50 h 154"/>
                <a:gd name="T38" fmla="*/ 48 w 192"/>
                <a:gd name="T39" fmla="*/ 42 h 154"/>
                <a:gd name="T40" fmla="*/ 41 w 192"/>
                <a:gd name="T41" fmla="*/ 34 h 154"/>
                <a:gd name="T42" fmla="*/ 33 w 192"/>
                <a:gd name="T43" fmla="*/ 28 h 154"/>
                <a:gd name="T44" fmla="*/ 24 w 192"/>
                <a:gd name="T45" fmla="*/ 23 h 154"/>
                <a:gd name="T46" fmla="*/ 18 w 192"/>
                <a:gd name="T47" fmla="*/ 22 h 154"/>
                <a:gd name="T48" fmla="*/ 12 w 192"/>
                <a:gd name="T49" fmla="*/ 20 h 154"/>
                <a:gd name="T50" fmla="*/ 6 w 192"/>
                <a:gd name="T51" fmla="*/ 20 h 154"/>
                <a:gd name="T52" fmla="*/ 0 w 192"/>
                <a:gd name="T53" fmla="*/ 19 h 154"/>
                <a:gd name="T54" fmla="*/ 6 w 192"/>
                <a:gd name="T55" fmla="*/ 19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4" name="Freeform 348">
              <a:extLst>
                <a:ext uri="{FF2B5EF4-FFF2-40B4-BE49-F238E27FC236}">
                  <a16:creationId xmlns:a16="http://schemas.microsoft.com/office/drawing/2014/main" id="{836C344D-6516-4884-A05D-9E5487938492}"/>
                </a:ext>
              </a:extLst>
            </p:cNvPr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6030913" y="2014538"/>
              <a:ext cx="381000" cy="247650"/>
            </a:xfrm>
            <a:custGeom>
              <a:avLst/>
              <a:gdLst>
                <a:gd name="T0" fmla="*/ 392 w 877"/>
                <a:gd name="T1" fmla="*/ 340 h 469"/>
                <a:gd name="T2" fmla="*/ 319 w 877"/>
                <a:gd name="T3" fmla="*/ 253 h 469"/>
                <a:gd name="T4" fmla="*/ 206 w 877"/>
                <a:gd name="T5" fmla="*/ 241 h 469"/>
                <a:gd name="T6" fmla="*/ 191 w 877"/>
                <a:gd name="T7" fmla="*/ 243 h 469"/>
                <a:gd name="T8" fmla="*/ 178 w 877"/>
                <a:gd name="T9" fmla="*/ 251 h 469"/>
                <a:gd name="T10" fmla="*/ 162 w 877"/>
                <a:gd name="T11" fmla="*/ 267 h 469"/>
                <a:gd name="T12" fmla="*/ 151 w 877"/>
                <a:gd name="T13" fmla="*/ 271 h 469"/>
                <a:gd name="T14" fmla="*/ 121 w 877"/>
                <a:gd name="T15" fmla="*/ 268 h 469"/>
                <a:gd name="T16" fmla="*/ 79 w 877"/>
                <a:gd name="T17" fmla="*/ 255 h 469"/>
                <a:gd name="T18" fmla="*/ 26 w 877"/>
                <a:gd name="T19" fmla="*/ 247 h 469"/>
                <a:gd name="T20" fmla="*/ 8 w 877"/>
                <a:gd name="T21" fmla="*/ 212 h 469"/>
                <a:gd name="T22" fmla="*/ 13 w 877"/>
                <a:gd name="T23" fmla="*/ 187 h 469"/>
                <a:gd name="T24" fmla="*/ 13 w 877"/>
                <a:gd name="T25" fmla="*/ 180 h 469"/>
                <a:gd name="T26" fmla="*/ 23 w 877"/>
                <a:gd name="T27" fmla="*/ 144 h 469"/>
                <a:gd name="T28" fmla="*/ 44 w 877"/>
                <a:gd name="T29" fmla="*/ 112 h 469"/>
                <a:gd name="T30" fmla="*/ 54 w 877"/>
                <a:gd name="T31" fmla="*/ 92 h 469"/>
                <a:gd name="T32" fmla="*/ 26 w 877"/>
                <a:gd name="T33" fmla="*/ 50 h 469"/>
                <a:gd name="T34" fmla="*/ 173 w 877"/>
                <a:gd name="T35" fmla="*/ 26 h 469"/>
                <a:gd name="T36" fmla="*/ 339 w 877"/>
                <a:gd name="T37" fmla="*/ 50 h 469"/>
                <a:gd name="T38" fmla="*/ 392 w 877"/>
                <a:gd name="T39" fmla="*/ 13 h 469"/>
                <a:gd name="T40" fmla="*/ 485 w 877"/>
                <a:gd name="T41" fmla="*/ 0 h 469"/>
                <a:gd name="T42" fmla="*/ 579 w 877"/>
                <a:gd name="T43" fmla="*/ 38 h 469"/>
                <a:gd name="T44" fmla="*/ 638 w 877"/>
                <a:gd name="T45" fmla="*/ 111 h 469"/>
                <a:gd name="T46" fmla="*/ 725 w 877"/>
                <a:gd name="T47" fmla="*/ 111 h 469"/>
                <a:gd name="T48" fmla="*/ 838 w 877"/>
                <a:gd name="T49" fmla="*/ 155 h 469"/>
                <a:gd name="T50" fmla="*/ 864 w 877"/>
                <a:gd name="T51" fmla="*/ 235 h 469"/>
                <a:gd name="T52" fmla="*/ 804 w 877"/>
                <a:gd name="T53" fmla="*/ 272 h 469"/>
                <a:gd name="T54" fmla="*/ 754 w 877"/>
                <a:gd name="T55" fmla="*/ 313 h 469"/>
                <a:gd name="T56" fmla="*/ 688 w 877"/>
                <a:gd name="T57" fmla="*/ 330 h 469"/>
                <a:gd name="T58" fmla="*/ 663 w 877"/>
                <a:gd name="T59" fmla="*/ 343 h 469"/>
                <a:gd name="T60" fmla="*/ 648 w 877"/>
                <a:gd name="T61" fmla="*/ 358 h 469"/>
                <a:gd name="T62" fmla="*/ 646 w 877"/>
                <a:gd name="T63" fmla="*/ 375 h 469"/>
                <a:gd name="T64" fmla="*/ 653 w 877"/>
                <a:gd name="T65" fmla="*/ 390 h 469"/>
                <a:gd name="T66" fmla="*/ 666 w 877"/>
                <a:gd name="T67" fmla="*/ 401 h 469"/>
                <a:gd name="T68" fmla="*/ 711 w 877"/>
                <a:gd name="T69" fmla="*/ 396 h 469"/>
                <a:gd name="T70" fmla="*/ 741 w 877"/>
                <a:gd name="T71" fmla="*/ 394 h 469"/>
                <a:gd name="T72" fmla="*/ 734 w 877"/>
                <a:gd name="T73" fmla="*/ 403 h 469"/>
                <a:gd name="T74" fmla="*/ 716 w 877"/>
                <a:gd name="T75" fmla="*/ 421 h 469"/>
                <a:gd name="T76" fmla="*/ 698 w 877"/>
                <a:gd name="T77" fmla="*/ 438 h 469"/>
                <a:gd name="T78" fmla="*/ 689 w 877"/>
                <a:gd name="T79" fmla="*/ 419 h 469"/>
                <a:gd name="T80" fmla="*/ 671 w 877"/>
                <a:gd name="T81" fmla="*/ 408 h 469"/>
                <a:gd name="T82" fmla="*/ 666 w 877"/>
                <a:gd name="T83" fmla="*/ 423 h 469"/>
                <a:gd name="T84" fmla="*/ 643 w 877"/>
                <a:gd name="T85" fmla="*/ 442 h 469"/>
                <a:gd name="T86" fmla="*/ 619 w 877"/>
                <a:gd name="T87" fmla="*/ 460 h 469"/>
                <a:gd name="T88" fmla="*/ 611 w 877"/>
                <a:gd name="T89" fmla="*/ 469 h 469"/>
                <a:gd name="T90" fmla="*/ 595 w 877"/>
                <a:gd name="T91" fmla="*/ 464 h 469"/>
                <a:gd name="T92" fmla="*/ 584 w 877"/>
                <a:gd name="T93" fmla="*/ 455 h 469"/>
                <a:gd name="T94" fmla="*/ 575 w 877"/>
                <a:gd name="T95" fmla="*/ 439 h 469"/>
                <a:gd name="T96" fmla="*/ 572 w 877"/>
                <a:gd name="T97" fmla="*/ 408 h 469"/>
                <a:gd name="T98" fmla="*/ 548 w 877"/>
                <a:gd name="T99" fmla="*/ 404 h 469"/>
                <a:gd name="T100" fmla="*/ 518 w 877"/>
                <a:gd name="T101" fmla="*/ 389 h 469"/>
                <a:gd name="T102" fmla="*/ 559 w 877"/>
                <a:gd name="T103" fmla="*/ 379 h 469"/>
                <a:gd name="T104" fmla="*/ 625 w 877"/>
                <a:gd name="T105" fmla="*/ 370 h 469"/>
                <a:gd name="T106" fmla="*/ 493 w 877"/>
                <a:gd name="T107" fmla="*/ 354 h 469"/>
                <a:gd name="T108" fmla="*/ 445 w 877"/>
                <a:gd name="T109" fmla="*/ 333 h 469"/>
                <a:gd name="T110" fmla="*/ 398 w 877"/>
                <a:gd name="T111" fmla="*/ 369 h 469"/>
                <a:gd name="T112" fmla="*/ 380 w 877"/>
                <a:gd name="T113" fmla="*/ 395 h 469"/>
                <a:gd name="T114" fmla="*/ 353 w 877"/>
                <a:gd name="T115" fmla="*/ 400 h 469"/>
                <a:gd name="T116" fmla="*/ 328 w 877"/>
                <a:gd name="T117" fmla="*/ 392 h 469"/>
                <a:gd name="T118" fmla="*/ 306 w 877"/>
                <a:gd name="T119" fmla="*/ 376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55" name="Freeform 349">
              <a:extLst>
                <a:ext uri="{FF2B5EF4-FFF2-40B4-BE49-F238E27FC236}">
                  <a16:creationId xmlns:a16="http://schemas.microsoft.com/office/drawing/2014/main" id="{616101FC-B273-4456-8295-74DB91FA66A3}"/>
                </a:ext>
              </a:extLst>
            </p:cNvPr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6542089" y="2357438"/>
              <a:ext cx="47625" cy="63500"/>
            </a:xfrm>
            <a:custGeom>
              <a:avLst/>
              <a:gdLst>
                <a:gd name="T0" fmla="*/ 48 w 107"/>
                <a:gd name="T1" fmla="*/ 0 h 123"/>
                <a:gd name="T2" fmla="*/ 81 w 107"/>
                <a:gd name="T3" fmla="*/ 31 h 123"/>
                <a:gd name="T4" fmla="*/ 94 w 107"/>
                <a:gd name="T5" fmla="*/ 67 h 123"/>
                <a:gd name="T6" fmla="*/ 107 w 107"/>
                <a:gd name="T7" fmla="*/ 86 h 123"/>
                <a:gd name="T8" fmla="*/ 107 w 107"/>
                <a:gd name="T9" fmla="*/ 117 h 123"/>
                <a:gd name="T10" fmla="*/ 107 w 107"/>
                <a:gd name="T11" fmla="*/ 123 h 123"/>
                <a:gd name="T12" fmla="*/ 88 w 107"/>
                <a:gd name="T13" fmla="*/ 114 h 123"/>
                <a:gd name="T14" fmla="*/ 73 w 107"/>
                <a:gd name="T15" fmla="*/ 105 h 123"/>
                <a:gd name="T16" fmla="*/ 61 w 107"/>
                <a:gd name="T17" fmla="*/ 98 h 123"/>
                <a:gd name="T18" fmla="*/ 54 w 107"/>
                <a:gd name="T19" fmla="*/ 92 h 123"/>
                <a:gd name="T20" fmla="*/ 51 w 107"/>
                <a:gd name="T21" fmla="*/ 83 h 123"/>
                <a:gd name="T22" fmla="*/ 48 w 107"/>
                <a:gd name="T23" fmla="*/ 73 h 123"/>
                <a:gd name="T24" fmla="*/ 39 w 107"/>
                <a:gd name="T25" fmla="*/ 74 h 123"/>
                <a:gd name="T26" fmla="*/ 32 w 107"/>
                <a:gd name="T27" fmla="*/ 73 h 123"/>
                <a:gd name="T28" fmla="*/ 26 w 107"/>
                <a:gd name="T29" fmla="*/ 72 h 123"/>
                <a:gd name="T30" fmla="*/ 21 w 107"/>
                <a:gd name="T31" fmla="*/ 70 h 123"/>
                <a:gd name="T32" fmla="*/ 17 w 107"/>
                <a:gd name="T33" fmla="*/ 67 h 123"/>
                <a:gd name="T34" fmla="*/ 14 w 107"/>
                <a:gd name="T35" fmla="*/ 63 h 123"/>
                <a:gd name="T36" fmla="*/ 11 w 107"/>
                <a:gd name="T37" fmla="*/ 59 h 123"/>
                <a:gd name="T38" fmla="*/ 9 w 107"/>
                <a:gd name="T39" fmla="*/ 54 h 123"/>
                <a:gd name="T40" fmla="*/ 4 w 107"/>
                <a:gd name="T41" fmla="*/ 31 h 123"/>
                <a:gd name="T42" fmla="*/ 0 w 107"/>
                <a:gd name="T43" fmla="*/ 6 h 123"/>
                <a:gd name="T44" fmla="*/ 34 w 107"/>
                <a:gd name="T45" fmla="*/ 0 h 123"/>
                <a:gd name="T46" fmla="*/ 48 w 107"/>
                <a:gd name="T47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6" name="Freeform 350">
              <a:extLst>
                <a:ext uri="{FF2B5EF4-FFF2-40B4-BE49-F238E27FC236}">
                  <a16:creationId xmlns:a16="http://schemas.microsoft.com/office/drawing/2014/main" id="{C47D475B-98ED-46FE-8471-A4FE233FA084}"/>
                </a:ext>
              </a:extLst>
            </p:cNvPr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7085013" y="2371725"/>
              <a:ext cx="207962" cy="122238"/>
            </a:xfrm>
            <a:custGeom>
              <a:avLst/>
              <a:gdLst>
                <a:gd name="T0" fmla="*/ 106 w 471"/>
                <a:gd name="T1" fmla="*/ 67 h 234"/>
                <a:gd name="T2" fmla="*/ 166 w 471"/>
                <a:gd name="T3" fmla="*/ 86 h 234"/>
                <a:gd name="T4" fmla="*/ 272 w 471"/>
                <a:gd name="T5" fmla="*/ 105 h 234"/>
                <a:gd name="T6" fmla="*/ 372 w 471"/>
                <a:gd name="T7" fmla="*/ 86 h 234"/>
                <a:gd name="T8" fmla="*/ 383 w 471"/>
                <a:gd name="T9" fmla="*/ 95 h 234"/>
                <a:gd name="T10" fmla="*/ 391 w 471"/>
                <a:gd name="T11" fmla="*/ 114 h 234"/>
                <a:gd name="T12" fmla="*/ 406 w 471"/>
                <a:gd name="T13" fmla="*/ 124 h 234"/>
                <a:gd name="T14" fmla="*/ 424 w 471"/>
                <a:gd name="T15" fmla="*/ 129 h 234"/>
                <a:gd name="T16" fmla="*/ 433 w 471"/>
                <a:gd name="T17" fmla="*/ 134 h 234"/>
                <a:gd name="T18" fmla="*/ 441 w 471"/>
                <a:gd name="T19" fmla="*/ 141 h 234"/>
                <a:gd name="T20" fmla="*/ 448 w 471"/>
                <a:gd name="T21" fmla="*/ 151 h 234"/>
                <a:gd name="T22" fmla="*/ 455 w 471"/>
                <a:gd name="T23" fmla="*/ 170 h 234"/>
                <a:gd name="T24" fmla="*/ 471 w 471"/>
                <a:gd name="T25" fmla="*/ 190 h 234"/>
                <a:gd name="T26" fmla="*/ 350 w 471"/>
                <a:gd name="T27" fmla="*/ 202 h 234"/>
                <a:gd name="T28" fmla="*/ 330 w 471"/>
                <a:gd name="T29" fmla="*/ 224 h 234"/>
                <a:gd name="T30" fmla="*/ 317 w 471"/>
                <a:gd name="T31" fmla="*/ 233 h 234"/>
                <a:gd name="T32" fmla="*/ 306 w 471"/>
                <a:gd name="T33" fmla="*/ 233 h 234"/>
                <a:gd name="T34" fmla="*/ 298 w 471"/>
                <a:gd name="T35" fmla="*/ 230 h 234"/>
                <a:gd name="T36" fmla="*/ 292 w 471"/>
                <a:gd name="T37" fmla="*/ 224 h 234"/>
                <a:gd name="T38" fmla="*/ 289 w 471"/>
                <a:gd name="T39" fmla="*/ 216 h 234"/>
                <a:gd name="T40" fmla="*/ 284 w 471"/>
                <a:gd name="T41" fmla="*/ 199 h 234"/>
                <a:gd name="T42" fmla="*/ 278 w 471"/>
                <a:gd name="T43" fmla="*/ 174 h 234"/>
                <a:gd name="T44" fmla="*/ 269 w 471"/>
                <a:gd name="T45" fmla="*/ 155 h 234"/>
                <a:gd name="T46" fmla="*/ 258 w 471"/>
                <a:gd name="T47" fmla="*/ 148 h 234"/>
                <a:gd name="T48" fmla="*/ 246 w 471"/>
                <a:gd name="T49" fmla="*/ 141 h 234"/>
                <a:gd name="T50" fmla="*/ 236 w 471"/>
                <a:gd name="T51" fmla="*/ 133 h 234"/>
                <a:gd name="T52" fmla="*/ 224 w 471"/>
                <a:gd name="T53" fmla="*/ 140 h 234"/>
                <a:gd name="T54" fmla="*/ 207 w 471"/>
                <a:gd name="T55" fmla="*/ 162 h 234"/>
                <a:gd name="T56" fmla="*/ 200 w 471"/>
                <a:gd name="T57" fmla="*/ 177 h 234"/>
                <a:gd name="T58" fmla="*/ 188 w 471"/>
                <a:gd name="T59" fmla="*/ 190 h 234"/>
                <a:gd name="T60" fmla="*/ 167 w 471"/>
                <a:gd name="T61" fmla="*/ 201 h 234"/>
                <a:gd name="T62" fmla="*/ 147 w 471"/>
                <a:gd name="T63" fmla="*/ 213 h 234"/>
                <a:gd name="T64" fmla="*/ 130 w 471"/>
                <a:gd name="T65" fmla="*/ 219 h 234"/>
                <a:gd name="T66" fmla="*/ 114 w 471"/>
                <a:gd name="T67" fmla="*/ 222 h 234"/>
                <a:gd name="T68" fmla="*/ 97 w 471"/>
                <a:gd name="T69" fmla="*/ 221 h 234"/>
                <a:gd name="T70" fmla="*/ 82 w 471"/>
                <a:gd name="T71" fmla="*/ 217 h 234"/>
                <a:gd name="T72" fmla="*/ 63 w 471"/>
                <a:gd name="T73" fmla="*/ 205 h 234"/>
                <a:gd name="T74" fmla="*/ 59 w 471"/>
                <a:gd name="T75" fmla="*/ 197 h 234"/>
                <a:gd name="T76" fmla="*/ 59 w 471"/>
                <a:gd name="T77" fmla="*/ 135 h 234"/>
                <a:gd name="T78" fmla="*/ 0 w 471"/>
                <a:gd name="T79" fmla="*/ 98 h 234"/>
                <a:gd name="T80" fmla="*/ 53 w 471"/>
                <a:gd name="T81" fmla="*/ 80 h 234"/>
                <a:gd name="T82" fmla="*/ 86 w 471"/>
                <a:gd name="T83" fmla="*/ 30 h 234"/>
                <a:gd name="T84" fmla="*/ 133 w 471"/>
                <a:gd name="T85" fmla="*/ 0 h 234"/>
                <a:gd name="T86" fmla="*/ 166 w 471"/>
                <a:gd name="T87" fmla="*/ 42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7" name="Freeform 351">
              <a:extLst>
                <a:ext uri="{FF2B5EF4-FFF2-40B4-BE49-F238E27FC236}">
                  <a16:creationId xmlns:a16="http://schemas.microsoft.com/office/drawing/2014/main" id="{AF94D395-132F-40B0-BDF1-CD11A40B843F}"/>
                </a:ext>
              </a:extLst>
            </p:cNvPr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7134226" y="2300288"/>
              <a:ext cx="225425" cy="125412"/>
            </a:xfrm>
            <a:custGeom>
              <a:avLst/>
              <a:gdLst>
                <a:gd name="T0" fmla="*/ 106 w 525"/>
                <a:gd name="T1" fmla="*/ 185 h 241"/>
                <a:gd name="T2" fmla="*/ 173 w 525"/>
                <a:gd name="T3" fmla="*/ 148 h 241"/>
                <a:gd name="T4" fmla="*/ 93 w 525"/>
                <a:gd name="T5" fmla="*/ 105 h 241"/>
                <a:gd name="T6" fmla="*/ 47 w 525"/>
                <a:gd name="T7" fmla="*/ 117 h 241"/>
                <a:gd name="T8" fmla="*/ 66 w 525"/>
                <a:gd name="T9" fmla="*/ 61 h 241"/>
                <a:gd name="T10" fmla="*/ 40 w 525"/>
                <a:gd name="T11" fmla="*/ 43 h 241"/>
                <a:gd name="T12" fmla="*/ 112 w 525"/>
                <a:gd name="T13" fmla="*/ 25 h 241"/>
                <a:gd name="T14" fmla="*/ 186 w 525"/>
                <a:gd name="T15" fmla="*/ 0 h 241"/>
                <a:gd name="T16" fmla="*/ 312 w 525"/>
                <a:gd name="T17" fmla="*/ 19 h 241"/>
                <a:gd name="T18" fmla="*/ 439 w 525"/>
                <a:gd name="T19" fmla="*/ 25 h 241"/>
                <a:gd name="T20" fmla="*/ 525 w 525"/>
                <a:gd name="T21" fmla="*/ 55 h 241"/>
                <a:gd name="T22" fmla="*/ 519 w 525"/>
                <a:gd name="T23" fmla="*/ 69 h 241"/>
                <a:gd name="T24" fmla="*/ 510 w 525"/>
                <a:gd name="T25" fmla="*/ 82 h 241"/>
                <a:gd name="T26" fmla="*/ 499 w 525"/>
                <a:gd name="T27" fmla="*/ 92 h 241"/>
                <a:gd name="T28" fmla="*/ 485 w 525"/>
                <a:gd name="T29" fmla="*/ 99 h 241"/>
                <a:gd name="T30" fmla="*/ 442 w 525"/>
                <a:gd name="T31" fmla="*/ 103 h 241"/>
                <a:gd name="T32" fmla="*/ 418 w 525"/>
                <a:gd name="T33" fmla="*/ 107 h 241"/>
                <a:gd name="T34" fmla="*/ 407 w 525"/>
                <a:gd name="T35" fmla="*/ 111 h 241"/>
                <a:gd name="T36" fmla="*/ 399 w 525"/>
                <a:gd name="T37" fmla="*/ 117 h 241"/>
                <a:gd name="T38" fmla="*/ 387 w 525"/>
                <a:gd name="T39" fmla="*/ 136 h 241"/>
                <a:gd name="T40" fmla="*/ 378 w 525"/>
                <a:gd name="T41" fmla="*/ 147 h 241"/>
                <a:gd name="T42" fmla="*/ 365 w 525"/>
                <a:gd name="T43" fmla="*/ 154 h 241"/>
                <a:gd name="T44" fmla="*/ 305 w 525"/>
                <a:gd name="T45" fmla="*/ 166 h 241"/>
                <a:gd name="T46" fmla="*/ 273 w 525"/>
                <a:gd name="T47" fmla="*/ 173 h 241"/>
                <a:gd name="T48" fmla="*/ 260 w 525"/>
                <a:gd name="T49" fmla="*/ 178 h 241"/>
                <a:gd name="T50" fmla="*/ 261 w 525"/>
                <a:gd name="T51" fmla="*/ 192 h 241"/>
                <a:gd name="T52" fmla="*/ 263 w 525"/>
                <a:gd name="T53" fmla="*/ 203 h 241"/>
                <a:gd name="T54" fmla="*/ 273 w 525"/>
                <a:gd name="T55" fmla="*/ 222 h 241"/>
                <a:gd name="T56" fmla="*/ 219 w 525"/>
                <a:gd name="T57" fmla="*/ 228 h 241"/>
                <a:gd name="T58" fmla="*/ 112 w 525"/>
                <a:gd name="T59" fmla="*/ 234 h 241"/>
                <a:gd name="T60" fmla="*/ 20 w 525"/>
                <a:gd name="T61" fmla="*/ 222 h 241"/>
                <a:gd name="T62" fmla="*/ 53 w 525"/>
                <a:gd name="T63" fmla="*/ 166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8" name="Freeform 352">
              <a:extLst>
                <a:ext uri="{FF2B5EF4-FFF2-40B4-BE49-F238E27FC236}">
                  <a16:creationId xmlns:a16="http://schemas.microsoft.com/office/drawing/2014/main" id="{C6AF5860-A6BB-49CB-9BCF-AFE2F429CC8A}"/>
                </a:ext>
              </a:extLst>
            </p:cNvPr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6740525" y="2316163"/>
              <a:ext cx="342900" cy="227012"/>
            </a:xfrm>
            <a:custGeom>
              <a:avLst/>
              <a:gdLst>
                <a:gd name="T0" fmla="*/ 768 w 784"/>
                <a:gd name="T1" fmla="*/ 292 h 430"/>
                <a:gd name="T2" fmla="*/ 751 w 784"/>
                <a:gd name="T3" fmla="*/ 293 h 430"/>
                <a:gd name="T4" fmla="*/ 731 w 784"/>
                <a:gd name="T5" fmla="*/ 302 h 430"/>
                <a:gd name="T6" fmla="*/ 723 w 784"/>
                <a:gd name="T7" fmla="*/ 308 h 430"/>
                <a:gd name="T8" fmla="*/ 717 w 784"/>
                <a:gd name="T9" fmla="*/ 332 h 430"/>
                <a:gd name="T10" fmla="*/ 713 w 784"/>
                <a:gd name="T11" fmla="*/ 360 h 430"/>
                <a:gd name="T12" fmla="*/ 704 w 784"/>
                <a:gd name="T13" fmla="*/ 376 h 430"/>
                <a:gd name="T14" fmla="*/ 671 w 784"/>
                <a:gd name="T15" fmla="*/ 402 h 430"/>
                <a:gd name="T16" fmla="*/ 633 w 784"/>
                <a:gd name="T17" fmla="*/ 420 h 430"/>
                <a:gd name="T18" fmla="*/ 612 w 784"/>
                <a:gd name="T19" fmla="*/ 424 h 430"/>
                <a:gd name="T20" fmla="*/ 587 w 784"/>
                <a:gd name="T21" fmla="*/ 429 h 430"/>
                <a:gd name="T22" fmla="*/ 567 w 784"/>
                <a:gd name="T23" fmla="*/ 428 h 430"/>
                <a:gd name="T24" fmla="*/ 545 w 784"/>
                <a:gd name="T25" fmla="*/ 388 h 430"/>
                <a:gd name="T26" fmla="*/ 515 w 784"/>
                <a:gd name="T27" fmla="*/ 344 h 430"/>
                <a:gd name="T28" fmla="*/ 478 w 784"/>
                <a:gd name="T29" fmla="*/ 334 h 430"/>
                <a:gd name="T30" fmla="*/ 448 w 784"/>
                <a:gd name="T31" fmla="*/ 315 h 430"/>
                <a:gd name="T32" fmla="*/ 417 w 784"/>
                <a:gd name="T33" fmla="*/ 294 h 430"/>
                <a:gd name="T34" fmla="*/ 373 w 784"/>
                <a:gd name="T35" fmla="*/ 274 h 430"/>
                <a:gd name="T36" fmla="*/ 306 w 784"/>
                <a:gd name="T37" fmla="*/ 258 h 430"/>
                <a:gd name="T38" fmla="*/ 182 w 784"/>
                <a:gd name="T39" fmla="*/ 283 h 430"/>
                <a:gd name="T40" fmla="*/ 151 w 784"/>
                <a:gd name="T41" fmla="*/ 306 h 430"/>
                <a:gd name="T42" fmla="*/ 127 w 784"/>
                <a:gd name="T43" fmla="*/ 308 h 430"/>
                <a:gd name="T44" fmla="*/ 66 w 784"/>
                <a:gd name="T45" fmla="*/ 252 h 430"/>
                <a:gd name="T46" fmla="*/ 66 w 784"/>
                <a:gd name="T47" fmla="*/ 204 h 430"/>
                <a:gd name="T48" fmla="*/ 40 w 784"/>
                <a:gd name="T49" fmla="*/ 179 h 430"/>
                <a:gd name="T50" fmla="*/ 42 w 784"/>
                <a:gd name="T51" fmla="*/ 199 h 430"/>
                <a:gd name="T52" fmla="*/ 36 w 784"/>
                <a:gd name="T53" fmla="*/ 218 h 430"/>
                <a:gd name="T54" fmla="*/ 30 w 784"/>
                <a:gd name="T55" fmla="*/ 221 h 430"/>
                <a:gd name="T56" fmla="*/ 31 w 784"/>
                <a:gd name="T57" fmla="*/ 203 h 430"/>
                <a:gd name="T58" fmla="*/ 27 w 784"/>
                <a:gd name="T59" fmla="*/ 174 h 430"/>
                <a:gd name="T60" fmla="*/ 33 w 784"/>
                <a:gd name="T61" fmla="*/ 163 h 430"/>
                <a:gd name="T62" fmla="*/ 40 w 784"/>
                <a:gd name="T63" fmla="*/ 152 h 430"/>
                <a:gd name="T64" fmla="*/ 27 w 784"/>
                <a:gd name="T65" fmla="*/ 129 h 430"/>
                <a:gd name="T66" fmla="*/ 7 w 784"/>
                <a:gd name="T67" fmla="*/ 126 h 430"/>
                <a:gd name="T68" fmla="*/ 0 w 784"/>
                <a:gd name="T69" fmla="*/ 117 h 430"/>
                <a:gd name="T70" fmla="*/ 3 w 784"/>
                <a:gd name="T71" fmla="*/ 104 h 430"/>
                <a:gd name="T72" fmla="*/ 11 w 784"/>
                <a:gd name="T73" fmla="*/ 94 h 430"/>
                <a:gd name="T74" fmla="*/ 27 w 784"/>
                <a:gd name="T75" fmla="*/ 92 h 430"/>
                <a:gd name="T76" fmla="*/ 41 w 784"/>
                <a:gd name="T77" fmla="*/ 99 h 430"/>
                <a:gd name="T78" fmla="*/ 57 w 784"/>
                <a:gd name="T79" fmla="*/ 104 h 430"/>
                <a:gd name="T80" fmla="*/ 71 w 784"/>
                <a:gd name="T81" fmla="*/ 92 h 430"/>
                <a:gd name="T82" fmla="*/ 83 w 784"/>
                <a:gd name="T83" fmla="*/ 77 h 430"/>
                <a:gd name="T84" fmla="*/ 87 w 784"/>
                <a:gd name="T85" fmla="*/ 64 h 430"/>
                <a:gd name="T86" fmla="*/ 78 w 784"/>
                <a:gd name="T87" fmla="*/ 55 h 430"/>
                <a:gd name="T88" fmla="*/ 55 w 784"/>
                <a:gd name="T89" fmla="*/ 49 h 430"/>
                <a:gd name="T90" fmla="*/ 47 w 784"/>
                <a:gd name="T91" fmla="*/ 40 h 430"/>
                <a:gd name="T92" fmla="*/ 41 w 784"/>
                <a:gd name="T93" fmla="*/ 28 h 430"/>
                <a:gd name="T94" fmla="*/ 107 w 784"/>
                <a:gd name="T95" fmla="*/ 43 h 430"/>
                <a:gd name="T96" fmla="*/ 219 w 784"/>
                <a:gd name="T97" fmla="*/ 74 h 430"/>
                <a:gd name="T98" fmla="*/ 273 w 784"/>
                <a:gd name="T99" fmla="*/ 0 h 430"/>
                <a:gd name="T100" fmla="*/ 373 w 784"/>
                <a:gd name="T101" fmla="*/ 43 h 430"/>
                <a:gd name="T102" fmla="*/ 465 w 784"/>
                <a:gd name="T103" fmla="*/ 92 h 430"/>
                <a:gd name="T104" fmla="*/ 591 w 784"/>
                <a:gd name="T105" fmla="*/ 210 h 430"/>
                <a:gd name="T106" fmla="*/ 724 w 784"/>
                <a:gd name="T107" fmla="*/ 265 h 430"/>
                <a:gd name="T108" fmla="*/ 778 w 784"/>
                <a:gd name="T109" fmla="*/ 295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59" name="Freeform 353">
              <a:extLst>
                <a:ext uri="{FF2B5EF4-FFF2-40B4-BE49-F238E27FC236}">
                  <a16:creationId xmlns:a16="http://schemas.microsoft.com/office/drawing/2014/main" id="{8649189B-76A0-47B6-98A5-16586A6306C3}"/>
                </a:ext>
              </a:extLst>
            </p:cNvPr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5949950" y="2203451"/>
              <a:ext cx="107950" cy="149225"/>
            </a:xfrm>
            <a:custGeom>
              <a:avLst/>
              <a:gdLst>
                <a:gd name="T0" fmla="*/ 30 w 246"/>
                <a:gd name="T1" fmla="*/ 27 h 284"/>
                <a:gd name="T2" fmla="*/ 28 w 246"/>
                <a:gd name="T3" fmla="*/ 24 h 284"/>
                <a:gd name="T4" fmla="*/ 24 w 246"/>
                <a:gd name="T5" fmla="*/ 17 h 284"/>
                <a:gd name="T6" fmla="*/ 35 w 246"/>
                <a:gd name="T7" fmla="*/ 5 h 284"/>
                <a:gd name="T8" fmla="*/ 67 w 246"/>
                <a:gd name="T9" fmla="*/ 1 h 284"/>
                <a:gd name="T10" fmla="*/ 126 w 246"/>
                <a:gd name="T11" fmla="*/ 12 h 284"/>
                <a:gd name="T12" fmla="*/ 131 w 246"/>
                <a:gd name="T13" fmla="*/ 30 h 284"/>
                <a:gd name="T14" fmla="*/ 139 w 246"/>
                <a:gd name="T15" fmla="*/ 46 h 284"/>
                <a:gd name="T16" fmla="*/ 151 w 246"/>
                <a:gd name="T17" fmla="*/ 57 h 284"/>
                <a:gd name="T18" fmla="*/ 165 w 246"/>
                <a:gd name="T19" fmla="*/ 67 h 284"/>
                <a:gd name="T20" fmla="*/ 191 w 246"/>
                <a:gd name="T21" fmla="*/ 87 h 284"/>
                <a:gd name="T22" fmla="*/ 203 w 246"/>
                <a:gd name="T23" fmla="*/ 101 h 284"/>
                <a:gd name="T24" fmla="*/ 212 w 246"/>
                <a:gd name="T25" fmla="*/ 117 h 284"/>
                <a:gd name="T26" fmla="*/ 226 w 246"/>
                <a:gd name="T27" fmla="*/ 117 h 284"/>
                <a:gd name="T28" fmla="*/ 221 w 246"/>
                <a:gd name="T29" fmla="*/ 124 h 284"/>
                <a:gd name="T30" fmla="*/ 221 w 246"/>
                <a:gd name="T31" fmla="*/ 129 h 284"/>
                <a:gd name="T32" fmla="*/ 228 w 246"/>
                <a:gd name="T33" fmla="*/ 140 h 284"/>
                <a:gd name="T34" fmla="*/ 239 w 246"/>
                <a:gd name="T35" fmla="*/ 154 h 284"/>
                <a:gd name="T36" fmla="*/ 244 w 246"/>
                <a:gd name="T37" fmla="*/ 162 h 284"/>
                <a:gd name="T38" fmla="*/ 246 w 246"/>
                <a:gd name="T39" fmla="*/ 173 h 284"/>
                <a:gd name="T40" fmla="*/ 241 w 246"/>
                <a:gd name="T41" fmla="*/ 184 h 284"/>
                <a:gd name="T42" fmla="*/ 233 w 246"/>
                <a:gd name="T43" fmla="*/ 192 h 284"/>
                <a:gd name="T44" fmla="*/ 223 w 246"/>
                <a:gd name="T45" fmla="*/ 198 h 284"/>
                <a:gd name="T46" fmla="*/ 220 w 246"/>
                <a:gd name="T47" fmla="*/ 204 h 284"/>
                <a:gd name="T48" fmla="*/ 189 w 246"/>
                <a:gd name="T49" fmla="*/ 215 h 284"/>
                <a:gd name="T50" fmla="*/ 164 w 246"/>
                <a:gd name="T51" fmla="*/ 230 h 284"/>
                <a:gd name="T52" fmla="*/ 113 w 246"/>
                <a:gd name="T53" fmla="*/ 265 h 284"/>
                <a:gd name="T54" fmla="*/ 88 w 246"/>
                <a:gd name="T55" fmla="*/ 231 h 284"/>
                <a:gd name="T56" fmla="*/ 79 w 246"/>
                <a:gd name="T57" fmla="*/ 220 h 284"/>
                <a:gd name="T58" fmla="*/ 72 w 246"/>
                <a:gd name="T59" fmla="*/ 216 h 284"/>
                <a:gd name="T60" fmla="*/ 60 w 246"/>
                <a:gd name="T61" fmla="*/ 217 h 284"/>
                <a:gd name="T62" fmla="*/ 54 w 246"/>
                <a:gd name="T63" fmla="*/ 221 h 284"/>
                <a:gd name="T64" fmla="*/ 49 w 246"/>
                <a:gd name="T65" fmla="*/ 228 h 284"/>
                <a:gd name="T66" fmla="*/ 48 w 246"/>
                <a:gd name="T67" fmla="*/ 236 h 284"/>
                <a:gd name="T68" fmla="*/ 45 w 246"/>
                <a:gd name="T69" fmla="*/ 257 h 284"/>
                <a:gd name="T70" fmla="*/ 41 w 246"/>
                <a:gd name="T71" fmla="*/ 270 h 284"/>
                <a:gd name="T72" fmla="*/ 33 w 246"/>
                <a:gd name="T73" fmla="*/ 284 h 284"/>
                <a:gd name="T74" fmla="*/ 26 w 246"/>
                <a:gd name="T75" fmla="*/ 243 h 284"/>
                <a:gd name="T76" fmla="*/ 17 w 246"/>
                <a:gd name="T77" fmla="*/ 227 h 284"/>
                <a:gd name="T78" fmla="*/ 11 w 246"/>
                <a:gd name="T79" fmla="*/ 221 h 284"/>
                <a:gd name="T80" fmla="*/ 0 w 246"/>
                <a:gd name="T81" fmla="*/ 216 h 284"/>
                <a:gd name="T82" fmla="*/ 1 w 246"/>
                <a:gd name="T83" fmla="*/ 204 h 284"/>
                <a:gd name="T84" fmla="*/ 4 w 246"/>
                <a:gd name="T85" fmla="*/ 193 h 284"/>
                <a:gd name="T86" fmla="*/ 15 w 246"/>
                <a:gd name="T87" fmla="*/ 176 h 284"/>
                <a:gd name="T88" fmla="*/ 31 w 246"/>
                <a:gd name="T89" fmla="*/ 161 h 284"/>
                <a:gd name="T90" fmla="*/ 46 w 246"/>
                <a:gd name="T91" fmla="*/ 141 h 284"/>
                <a:gd name="T92" fmla="*/ 33 w 246"/>
                <a:gd name="T93" fmla="*/ 4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60" name="Freeform 354">
              <a:extLst>
                <a:ext uri="{FF2B5EF4-FFF2-40B4-BE49-F238E27FC236}">
                  <a16:creationId xmlns:a16="http://schemas.microsoft.com/office/drawing/2014/main" id="{E4CD9CFB-F517-4143-910B-55D3674BB2CD}"/>
                </a:ext>
              </a:extLst>
            </p:cNvPr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5997576" y="2311401"/>
              <a:ext cx="68263" cy="60325"/>
            </a:xfrm>
            <a:custGeom>
              <a:avLst/>
              <a:gdLst>
                <a:gd name="T0" fmla="*/ 114 w 160"/>
                <a:gd name="T1" fmla="*/ 0 h 117"/>
                <a:gd name="T2" fmla="*/ 114 w 160"/>
                <a:gd name="T3" fmla="*/ 9 h 117"/>
                <a:gd name="T4" fmla="*/ 114 w 160"/>
                <a:gd name="T5" fmla="*/ 18 h 117"/>
                <a:gd name="T6" fmla="*/ 115 w 160"/>
                <a:gd name="T7" fmla="*/ 25 h 117"/>
                <a:gd name="T8" fmla="*/ 117 w 160"/>
                <a:gd name="T9" fmla="*/ 32 h 117"/>
                <a:gd name="T10" fmla="*/ 119 w 160"/>
                <a:gd name="T11" fmla="*/ 34 h 117"/>
                <a:gd name="T12" fmla="*/ 121 w 160"/>
                <a:gd name="T13" fmla="*/ 37 h 117"/>
                <a:gd name="T14" fmla="*/ 123 w 160"/>
                <a:gd name="T15" fmla="*/ 38 h 117"/>
                <a:gd name="T16" fmla="*/ 127 w 160"/>
                <a:gd name="T17" fmla="*/ 39 h 117"/>
                <a:gd name="T18" fmla="*/ 131 w 160"/>
                <a:gd name="T19" fmla="*/ 40 h 117"/>
                <a:gd name="T20" fmla="*/ 135 w 160"/>
                <a:gd name="T21" fmla="*/ 39 h 117"/>
                <a:gd name="T22" fmla="*/ 140 w 160"/>
                <a:gd name="T23" fmla="*/ 38 h 117"/>
                <a:gd name="T24" fmla="*/ 146 w 160"/>
                <a:gd name="T25" fmla="*/ 36 h 117"/>
                <a:gd name="T26" fmla="*/ 149 w 160"/>
                <a:gd name="T27" fmla="*/ 43 h 117"/>
                <a:gd name="T28" fmla="*/ 153 w 160"/>
                <a:gd name="T29" fmla="*/ 52 h 117"/>
                <a:gd name="T30" fmla="*/ 157 w 160"/>
                <a:gd name="T31" fmla="*/ 64 h 117"/>
                <a:gd name="T32" fmla="*/ 160 w 160"/>
                <a:gd name="T33" fmla="*/ 74 h 117"/>
                <a:gd name="T34" fmla="*/ 133 w 160"/>
                <a:gd name="T35" fmla="*/ 88 h 117"/>
                <a:gd name="T36" fmla="*/ 106 w 160"/>
                <a:gd name="T37" fmla="*/ 102 h 117"/>
                <a:gd name="T38" fmla="*/ 92 w 160"/>
                <a:gd name="T39" fmla="*/ 107 h 117"/>
                <a:gd name="T40" fmla="*/ 76 w 160"/>
                <a:gd name="T41" fmla="*/ 113 h 117"/>
                <a:gd name="T42" fmla="*/ 62 w 160"/>
                <a:gd name="T43" fmla="*/ 116 h 117"/>
                <a:gd name="T44" fmla="*/ 47 w 160"/>
                <a:gd name="T45" fmla="*/ 117 h 117"/>
                <a:gd name="T46" fmla="*/ 32 w 160"/>
                <a:gd name="T47" fmla="*/ 99 h 117"/>
                <a:gd name="T48" fmla="*/ 21 w 160"/>
                <a:gd name="T49" fmla="*/ 83 h 117"/>
                <a:gd name="T50" fmla="*/ 10 w 160"/>
                <a:gd name="T51" fmla="*/ 69 h 117"/>
                <a:gd name="T52" fmla="*/ 0 w 160"/>
                <a:gd name="T53" fmla="*/ 55 h 117"/>
                <a:gd name="T54" fmla="*/ 13 w 160"/>
                <a:gd name="T55" fmla="*/ 48 h 117"/>
                <a:gd name="T56" fmla="*/ 41 w 160"/>
                <a:gd name="T57" fmla="*/ 32 h 117"/>
                <a:gd name="T58" fmla="*/ 60 w 160"/>
                <a:gd name="T59" fmla="*/ 23 h 117"/>
                <a:gd name="T60" fmla="*/ 78 w 160"/>
                <a:gd name="T61" fmla="*/ 14 h 117"/>
                <a:gd name="T62" fmla="*/ 97 w 160"/>
                <a:gd name="T63" fmla="*/ 6 h 117"/>
                <a:gd name="T64" fmla="*/ 114 w 160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61" name="Freeform 355">
              <a:extLst>
                <a:ext uri="{FF2B5EF4-FFF2-40B4-BE49-F238E27FC236}">
                  <a16:creationId xmlns:a16="http://schemas.microsoft.com/office/drawing/2014/main" id="{A2FF15B6-BF81-495B-AF7C-5BE31507566D}"/>
                </a:ext>
              </a:extLst>
            </p:cNvPr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6081713" y="2935289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62" name="Freeform 356">
              <a:extLst>
                <a:ext uri="{FF2B5EF4-FFF2-40B4-BE49-F238E27FC236}">
                  <a16:creationId xmlns:a16="http://schemas.microsoft.com/office/drawing/2014/main" id="{156229C1-CB93-4E6A-9328-D7D8D52657E6}"/>
                </a:ext>
              </a:extLst>
            </p:cNvPr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6565901" y="3275013"/>
              <a:ext cx="244475" cy="431800"/>
            </a:xfrm>
            <a:custGeom>
              <a:avLst/>
              <a:gdLst>
                <a:gd name="T0" fmla="*/ 98 w 556"/>
                <a:gd name="T1" fmla="*/ 62 h 819"/>
                <a:gd name="T2" fmla="*/ 112 w 556"/>
                <a:gd name="T3" fmla="*/ 56 h 819"/>
                <a:gd name="T4" fmla="*/ 129 w 556"/>
                <a:gd name="T5" fmla="*/ 69 h 819"/>
                <a:gd name="T6" fmla="*/ 149 w 556"/>
                <a:gd name="T7" fmla="*/ 85 h 819"/>
                <a:gd name="T8" fmla="*/ 171 w 556"/>
                <a:gd name="T9" fmla="*/ 92 h 819"/>
                <a:gd name="T10" fmla="*/ 215 w 556"/>
                <a:gd name="T11" fmla="*/ 88 h 819"/>
                <a:gd name="T12" fmla="*/ 257 w 556"/>
                <a:gd name="T13" fmla="*/ 82 h 819"/>
                <a:gd name="T14" fmla="*/ 291 w 556"/>
                <a:gd name="T15" fmla="*/ 79 h 819"/>
                <a:gd name="T16" fmla="*/ 301 w 556"/>
                <a:gd name="T17" fmla="*/ 74 h 819"/>
                <a:gd name="T18" fmla="*/ 301 w 556"/>
                <a:gd name="T19" fmla="*/ 68 h 819"/>
                <a:gd name="T20" fmla="*/ 355 w 556"/>
                <a:gd name="T21" fmla="*/ 63 h 819"/>
                <a:gd name="T22" fmla="*/ 434 w 556"/>
                <a:gd name="T23" fmla="*/ 45 h 819"/>
                <a:gd name="T24" fmla="*/ 479 w 556"/>
                <a:gd name="T25" fmla="*/ 28 h 819"/>
                <a:gd name="T26" fmla="*/ 514 w 556"/>
                <a:gd name="T27" fmla="*/ 8 h 819"/>
                <a:gd name="T28" fmla="*/ 547 w 556"/>
                <a:gd name="T29" fmla="*/ 31 h 819"/>
                <a:gd name="T30" fmla="*/ 555 w 556"/>
                <a:gd name="T31" fmla="*/ 57 h 819"/>
                <a:gd name="T32" fmla="*/ 552 w 556"/>
                <a:gd name="T33" fmla="*/ 113 h 819"/>
                <a:gd name="T34" fmla="*/ 532 w 556"/>
                <a:gd name="T35" fmla="*/ 174 h 819"/>
                <a:gd name="T36" fmla="*/ 502 w 556"/>
                <a:gd name="T37" fmla="*/ 231 h 819"/>
                <a:gd name="T38" fmla="*/ 447 w 556"/>
                <a:gd name="T39" fmla="*/ 321 h 819"/>
                <a:gd name="T40" fmla="*/ 423 w 556"/>
                <a:gd name="T41" fmla="*/ 375 h 819"/>
                <a:gd name="T42" fmla="*/ 410 w 556"/>
                <a:gd name="T43" fmla="*/ 415 h 819"/>
                <a:gd name="T44" fmla="*/ 379 w 556"/>
                <a:gd name="T45" fmla="*/ 473 h 819"/>
                <a:gd name="T46" fmla="*/ 330 w 556"/>
                <a:gd name="T47" fmla="*/ 531 h 819"/>
                <a:gd name="T48" fmla="*/ 288 w 556"/>
                <a:gd name="T49" fmla="*/ 566 h 819"/>
                <a:gd name="T50" fmla="*/ 239 w 556"/>
                <a:gd name="T51" fmla="*/ 600 h 819"/>
                <a:gd name="T52" fmla="*/ 168 w 556"/>
                <a:gd name="T53" fmla="*/ 651 h 819"/>
                <a:gd name="T54" fmla="*/ 143 w 556"/>
                <a:gd name="T55" fmla="*/ 680 h 819"/>
                <a:gd name="T56" fmla="*/ 131 w 556"/>
                <a:gd name="T57" fmla="*/ 700 h 819"/>
                <a:gd name="T58" fmla="*/ 116 w 556"/>
                <a:gd name="T59" fmla="*/ 717 h 819"/>
                <a:gd name="T60" fmla="*/ 71 w 556"/>
                <a:gd name="T61" fmla="*/ 745 h 819"/>
                <a:gd name="T62" fmla="*/ 19 w 556"/>
                <a:gd name="T63" fmla="*/ 801 h 819"/>
                <a:gd name="T64" fmla="*/ 2 w 556"/>
                <a:gd name="T65" fmla="*/ 564 h 819"/>
                <a:gd name="T66" fmla="*/ 3 w 556"/>
                <a:gd name="T67" fmla="*/ 554 h 819"/>
                <a:gd name="T68" fmla="*/ 27 w 556"/>
                <a:gd name="T69" fmla="*/ 533 h 819"/>
                <a:gd name="T70" fmla="*/ 42 w 556"/>
                <a:gd name="T71" fmla="*/ 516 h 819"/>
                <a:gd name="T72" fmla="*/ 60 w 556"/>
                <a:gd name="T73" fmla="*/ 497 h 819"/>
                <a:gd name="T74" fmla="*/ 111 w 556"/>
                <a:gd name="T75" fmla="*/ 480 h 819"/>
                <a:gd name="T76" fmla="*/ 119 w 556"/>
                <a:gd name="T77" fmla="*/ 470 h 819"/>
                <a:gd name="T78" fmla="*/ 129 w 556"/>
                <a:gd name="T79" fmla="*/ 452 h 819"/>
                <a:gd name="T80" fmla="*/ 152 w 556"/>
                <a:gd name="T81" fmla="*/ 440 h 819"/>
                <a:gd name="T82" fmla="*/ 174 w 556"/>
                <a:gd name="T83" fmla="*/ 439 h 819"/>
                <a:gd name="T84" fmla="*/ 196 w 556"/>
                <a:gd name="T85" fmla="*/ 439 h 819"/>
                <a:gd name="T86" fmla="*/ 228 w 556"/>
                <a:gd name="T87" fmla="*/ 429 h 819"/>
                <a:gd name="T88" fmla="*/ 251 w 556"/>
                <a:gd name="T89" fmla="*/ 405 h 819"/>
                <a:gd name="T90" fmla="*/ 265 w 556"/>
                <a:gd name="T91" fmla="*/ 379 h 819"/>
                <a:gd name="T92" fmla="*/ 296 w 556"/>
                <a:gd name="T93" fmla="*/ 347 h 819"/>
                <a:gd name="T94" fmla="*/ 354 w 556"/>
                <a:gd name="T95" fmla="*/ 293 h 819"/>
                <a:gd name="T96" fmla="*/ 377 w 556"/>
                <a:gd name="T97" fmla="*/ 266 h 819"/>
                <a:gd name="T98" fmla="*/ 324 w 556"/>
                <a:gd name="T99" fmla="*/ 246 h 819"/>
                <a:gd name="T100" fmla="*/ 257 w 556"/>
                <a:gd name="T101" fmla="*/ 228 h 819"/>
                <a:gd name="T102" fmla="*/ 184 w 556"/>
                <a:gd name="T103" fmla="*/ 209 h 819"/>
                <a:gd name="T104" fmla="*/ 149 w 556"/>
                <a:gd name="T105" fmla="*/ 187 h 819"/>
                <a:gd name="T106" fmla="*/ 112 w 556"/>
                <a:gd name="T107" fmla="*/ 154 h 819"/>
                <a:gd name="T108" fmla="*/ 89 w 556"/>
                <a:gd name="T109" fmla="*/ 121 h 819"/>
                <a:gd name="T110" fmla="*/ 77 w 556"/>
                <a:gd name="T111" fmla="*/ 80 h 819"/>
                <a:gd name="T112" fmla="*/ 65 w 556"/>
                <a:gd name="T113" fmla="*/ 87 h 819"/>
                <a:gd name="T114" fmla="*/ 84 w 556"/>
                <a:gd name="T115" fmla="*/ 68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63" name="Freeform 357">
              <a:extLst>
                <a:ext uri="{FF2B5EF4-FFF2-40B4-BE49-F238E27FC236}">
                  <a16:creationId xmlns:a16="http://schemas.microsoft.com/office/drawing/2014/main" id="{9EB395D2-5309-4D8D-A6F3-92941C4B38AC}"/>
                </a:ext>
              </a:extLst>
            </p:cNvPr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6573838" y="3262314"/>
              <a:ext cx="38100" cy="58737"/>
            </a:xfrm>
            <a:custGeom>
              <a:avLst/>
              <a:gdLst>
                <a:gd name="T0" fmla="*/ 59 w 86"/>
                <a:gd name="T1" fmla="*/ 0 h 97"/>
                <a:gd name="T2" fmla="*/ 56 w 86"/>
                <a:gd name="T3" fmla="*/ 2 h 97"/>
                <a:gd name="T4" fmla="*/ 52 w 86"/>
                <a:gd name="T5" fmla="*/ 3 h 97"/>
                <a:gd name="T6" fmla="*/ 46 w 86"/>
                <a:gd name="T7" fmla="*/ 3 h 97"/>
                <a:gd name="T8" fmla="*/ 40 w 86"/>
                <a:gd name="T9" fmla="*/ 3 h 97"/>
                <a:gd name="T10" fmla="*/ 33 w 86"/>
                <a:gd name="T11" fmla="*/ 3 h 97"/>
                <a:gd name="T12" fmla="*/ 27 w 86"/>
                <a:gd name="T13" fmla="*/ 3 h 97"/>
                <a:gd name="T14" fmla="*/ 23 w 86"/>
                <a:gd name="T15" fmla="*/ 4 h 97"/>
                <a:gd name="T16" fmla="*/ 20 w 86"/>
                <a:gd name="T17" fmla="*/ 6 h 97"/>
                <a:gd name="T18" fmla="*/ 16 w 86"/>
                <a:gd name="T19" fmla="*/ 9 h 97"/>
                <a:gd name="T20" fmla="*/ 13 w 86"/>
                <a:gd name="T21" fmla="*/ 12 h 97"/>
                <a:gd name="T22" fmla="*/ 11 w 86"/>
                <a:gd name="T23" fmla="*/ 15 h 97"/>
                <a:gd name="T24" fmla="*/ 8 w 86"/>
                <a:gd name="T25" fmla="*/ 20 h 97"/>
                <a:gd name="T26" fmla="*/ 4 w 86"/>
                <a:gd name="T27" fmla="*/ 29 h 97"/>
                <a:gd name="T28" fmla="*/ 2 w 86"/>
                <a:gd name="T29" fmla="*/ 38 h 97"/>
                <a:gd name="T30" fmla="*/ 0 w 86"/>
                <a:gd name="T31" fmla="*/ 57 h 97"/>
                <a:gd name="T32" fmla="*/ 0 w 86"/>
                <a:gd name="T33" fmla="*/ 75 h 97"/>
                <a:gd name="T34" fmla="*/ 0 w 86"/>
                <a:gd name="T35" fmla="*/ 81 h 97"/>
                <a:gd name="T36" fmla="*/ 1 w 86"/>
                <a:gd name="T37" fmla="*/ 86 h 97"/>
                <a:gd name="T38" fmla="*/ 3 w 86"/>
                <a:gd name="T39" fmla="*/ 90 h 97"/>
                <a:gd name="T40" fmla="*/ 7 w 86"/>
                <a:gd name="T41" fmla="*/ 93 h 97"/>
                <a:gd name="T42" fmla="*/ 10 w 86"/>
                <a:gd name="T43" fmla="*/ 95 h 97"/>
                <a:gd name="T44" fmla="*/ 13 w 86"/>
                <a:gd name="T45" fmla="*/ 96 h 97"/>
                <a:gd name="T46" fmla="*/ 18 w 86"/>
                <a:gd name="T47" fmla="*/ 97 h 97"/>
                <a:gd name="T48" fmla="*/ 21 w 86"/>
                <a:gd name="T49" fmla="*/ 97 h 97"/>
                <a:gd name="T50" fmla="*/ 40 w 86"/>
                <a:gd name="T51" fmla="*/ 95 h 97"/>
                <a:gd name="T52" fmla="*/ 53 w 86"/>
                <a:gd name="T53" fmla="*/ 93 h 97"/>
                <a:gd name="T54" fmla="*/ 86 w 86"/>
                <a:gd name="T55" fmla="*/ 68 h 97"/>
                <a:gd name="T56" fmla="*/ 59 w 86"/>
                <a:gd name="T5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64" name="Freeform 358">
              <a:extLst>
                <a:ext uri="{FF2B5EF4-FFF2-40B4-BE49-F238E27FC236}">
                  <a16:creationId xmlns:a16="http://schemas.microsoft.com/office/drawing/2014/main" id="{B8E88D89-D8A9-4DCE-8126-C1E3C82B3469}"/>
                </a:ext>
              </a:extLst>
            </p:cNvPr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6372225" y="3173414"/>
              <a:ext cx="363538" cy="376237"/>
            </a:xfrm>
            <a:custGeom>
              <a:avLst/>
              <a:gdLst>
                <a:gd name="T0" fmla="*/ 182 w 845"/>
                <a:gd name="T1" fmla="*/ 36 h 720"/>
                <a:gd name="T2" fmla="*/ 205 w 845"/>
                <a:gd name="T3" fmla="*/ 28 h 720"/>
                <a:gd name="T4" fmla="*/ 247 w 845"/>
                <a:gd name="T5" fmla="*/ 0 h 720"/>
                <a:gd name="T6" fmla="*/ 273 w 845"/>
                <a:gd name="T7" fmla="*/ 12 h 720"/>
                <a:gd name="T8" fmla="*/ 327 w 845"/>
                <a:gd name="T9" fmla="*/ 37 h 720"/>
                <a:gd name="T10" fmla="*/ 380 w 845"/>
                <a:gd name="T11" fmla="*/ 67 h 720"/>
                <a:gd name="T12" fmla="*/ 426 w 845"/>
                <a:gd name="T13" fmla="*/ 98 h 720"/>
                <a:gd name="T14" fmla="*/ 442 w 845"/>
                <a:gd name="T15" fmla="*/ 125 h 720"/>
                <a:gd name="T16" fmla="*/ 443 w 845"/>
                <a:gd name="T17" fmla="*/ 140 h 720"/>
                <a:gd name="T18" fmla="*/ 458 w 845"/>
                <a:gd name="T19" fmla="*/ 147 h 720"/>
                <a:gd name="T20" fmla="*/ 499 w 845"/>
                <a:gd name="T21" fmla="*/ 178 h 720"/>
                <a:gd name="T22" fmla="*/ 506 w 845"/>
                <a:gd name="T23" fmla="*/ 172 h 720"/>
                <a:gd name="T24" fmla="*/ 488 w 845"/>
                <a:gd name="T25" fmla="*/ 184 h 720"/>
                <a:gd name="T26" fmla="*/ 481 w 845"/>
                <a:gd name="T27" fmla="*/ 202 h 720"/>
                <a:gd name="T28" fmla="*/ 481 w 845"/>
                <a:gd name="T29" fmla="*/ 252 h 720"/>
                <a:gd name="T30" fmla="*/ 493 w 845"/>
                <a:gd name="T31" fmla="*/ 264 h 720"/>
                <a:gd name="T32" fmla="*/ 526 w 845"/>
                <a:gd name="T33" fmla="*/ 265 h 720"/>
                <a:gd name="T34" fmla="*/ 545 w 845"/>
                <a:gd name="T35" fmla="*/ 319 h 720"/>
                <a:gd name="T36" fmla="*/ 583 w 845"/>
                <a:gd name="T37" fmla="*/ 361 h 720"/>
                <a:gd name="T38" fmla="*/ 645 w 845"/>
                <a:gd name="T39" fmla="*/ 400 h 720"/>
                <a:gd name="T40" fmla="*/ 738 w 845"/>
                <a:gd name="T41" fmla="*/ 430 h 720"/>
                <a:gd name="T42" fmla="*/ 845 w 845"/>
                <a:gd name="T43" fmla="*/ 449 h 720"/>
                <a:gd name="T44" fmla="*/ 811 w 845"/>
                <a:gd name="T45" fmla="*/ 482 h 720"/>
                <a:gd name="T46" fmla="*/ 731 w 845"/>
                <a:gd name="T47" fmla="*/ 547 h 720"/>
                <a:gd name="T48" fmla="*/ 712 w 845"/>
                <a:gd name="T49" fmla="*/ 579 h 720"/>
                <a:gd name="T50" fmla="*/ 697 w 845"/>
                <a:gd name="T51" fmla="*/ 617 h 720"/>
                <a:gd name="T52" fmla="*/ 674 w 845"/>
                <a:gd name="T53" fmla="*/ 629 h 720"/>
                <a:gd name="T54" fmla="*/ 580 w 845"/>
                <a:gd name="T55" fmla="*/ 655 h 720"/>
                <a:gd name="T56" fmla="*/ 559 w 845"/>
                <a:gd name="T57" fmla="*/ 671 h 720"/>
                <a:gd name="T58" fmla="*/ 525 w 845"/>
                <a:gd name="T59" fmla="*/ 681 h 720"/>
                <a:gd name="T60" fmla="*/ 482 w 845"/>
                <a:gd name="T61" fmla="*/ 693 h 720"/>
                <a:gd name="T62" fmla="*/ 461 w 845"/>
                <a:gd name="T63" fmla="*/ 680 h 720"/>
                <a:gd name="T64" fmla="*/ 427 w 845"/>
                <a:gd name="T65" fmla="*/ 679 h 720"/>
                <a:gd name="T66" fmla="*/ 405 w 845"/>
                <a:gd name="T67" fmla="*/ 699 h 720"/>
                <a:gd name="T68" fmla="*/ 390 w 845"/>
                <a:gd name="T69" fmla="*/ 714 h 720"/>
                <a:gd name="T70" fmla="*/ 360 w 845"/>
                <a:gd name="T71" fmla="*/ 720 h 720"/>
                <a:gd name="T72" fmla="*/ 318 w 845"/>
                <a:gd name="T73" fmla="*/ 714 h 720"/>
                <a:gd name="T74" fmla="*/ 289 w 845"/>
                <a:gd name="T75" fmla="*/ 698 h 720"/>
                <a:gd name="T76" fmla="*/ 246 w 845"/>
                <a:gd name="T77" fmla="*/ 671 h 720"/>
                <a:gd name="T78" fmla="*/ 181 w 845"/>
                <a:gd name="T79" fmla="*/ 661 h 720"/>
                <a:gd name="T80" fmla="*/ 140 w 845"/>
                <a:gd name="T81" fmla="*/ 653 h 720"/>
                <a:gd name="T82" fmla="*/ 151 w 845"/>
                <a:gd name="T83" fmla="*/ 614 h 720"/>
                <a:gd name="T84" fmla="*/ 127 w 845"/>
                <a:gd name="T85" fmla="*/ 596 h 720"/>
                <a:gd name="T86" fmla="*/ 108 w 845"/>
                <a:gd name="T87" fmla="*/ 583 h 720"/>
                <a:gd name="T88" fmla="*/ 93 w 845"/>
                <a:gd name="T89" fmla="*/ 551 h 720"/>
                <a:gd name="T90" fmla="*/ 77 w 845"/>
                <a:gd name="T91" fmla="*/ 511 h 720"/>
                <a:gd name="T92" fmla="*/ 49 w 845"/>
                <a:gd name="T93" fmla="*/ 489 h 720"/>
                <a:gd name="T94" fmla="*/ 16 w 845"/>
                <a:gd name="T95" fmla="*/ 477 h 720"/>
                <a:gd name="T96" fmla="*/ 5 w 845"/>
                <a:gd name="T97" fmla="*/ 472 h 720"/>
                <a:gd name="T98" fmla="*/ 2 w 845"/>
                <a:gd name="T99" fmla="*/ 448 h 720"/>
                <a:gd name="T100" fmla="*/ 21 w 845"/>
                <a:gd name="T101" fmla="*/ 422 h 720"/>
                <a:gd name="T102" fmla="*/ 55 w 845"/>
                <a:gd name="T103" fmla="*/ 413 h 720"/>
                <a:gd name="T104" fmla="*/ 67 w 845"/>
                <a:gd name="T105" fmla="*/ 321 h 720"/>
                <a:gd name="T106" fmla="*/ 82 w 845"/>
                <a:gd name="T107" fmla="*/ 275 h 720"/>
                <a:gd name="T108" fmla="*/ 95 w 845"/>
                <a:gd name="T109" fmla="*/ 260 h 720"/>
                <a:gd name="T110" fmla="*/ 103 w 845"/>
                <a:gd name="T111" fmla="*/ 236 h 720"/>
                <a:gd name="T112" fmla="*/ 116 w 845"/>
                <a:gd name="T113" fmla="*/ 206 h 720"/>
                <a:gd name="T114" fmla="*/ 148 w 845"/>
                <a:gd name="T115" fmla="*/ 178 h 720"/>
                <a:gd name="T116" fmla="*/ 167 w 845"/>
                <a:gd name="T117" fmla="*/ 160 h 7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65" name="Line 359">
              <a:extLst>
                <a:ext uri="{FF2B5EF4-FFF2-40B4-BE49-F238E27FC236}">
                  <a16:creationId xmlns:a16="http://schemas.microsoft.com/office/drawing/2014/main" id="{59455F1B-C599-4962-8E1F-99919624CCCD}"/>
                </a:ext>
              </a:extLst>
            </p:cNvPr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 flipH="1">
              <a:off x="3232151" y="3692525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66" name="Freeform 360">
              <a:extLst>
                <a:ext uri="{FF2B5EF4-FFF2-40B4-BE49-F238E27FC236}">
                  <a16:creationId xmlns:a16="http://schemas.microsoft.com/office/drawing/2014/main" id="{26D6BED1-CDD8-4DAF-BA37-4C40212F4013}"/>
                </a:ext>
              </a:extLst>
            </p:cNvPr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3232150" y="3700464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7 w 33"/>
                <a:gd name="T3" fmla="*/ 1 h 6"/>
                <a:gd name="T4" fmla="*/ 15 w 33"/>
                <a:gd name="T5" fmla="*/ 3 h 6"/>
                <a:gd name="T6" fmla="*/ 23 w 33"/>
                <a:gd name="T7" fmla="*/ 5 h 6"/>
                <a:gd name="T8" fmla="*/ 33 w 33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67" name="Freeform 361">
              <a:extLst>
                <a:ext uri="{FF2B5EF4-FFF2-40B4-BE49-F238E27FC236}">
                  <a16:creationId xmlns:a16="http://schemas.microsoft.com/office/drawing/2014/main" id="{D7E4608F-17ED-4DDC-A178-70FD09F636C4}"/>
                </a:ext>
              </a:extLst>
            </p:cNvPr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3240088" y="3687763"/>
              <a:ext cx="4762" cy="57150"/>
            </a:xfrm>
            <a:custGeom>
              <a:avLst/>
              <a:gdLst>
                <a:gd name="T0" fmla="*/ 13 w 13"/>
                <a:gd name="T1" fmla="*/ 30 h 30"/>
                <a:gd name="T2" fmla="*/ 13 w 13"/>
                <a:gd name="T3" fmla="*/ 0 h 30"/>
                <a:gd name="T4" fmla="*/ 0 w 13"/>
                <a:gd name="T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268" name="Group 362">
              <a:extLst>
                <a:ext uri="{FF2B5EF4-FFF2-40B4-BE49-F238E27FC236}">
                  <a16:creationId xmlns:a16="http://schemas.microsoft.com/office/drawing/2014/main" id="{A40F33EE-292D-4CAE-B4EC-EC5075642EB0}"/>
                </a:ext>
              </a:extLst>
            </p:cNvPr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3232151" y="3622676"/>
              <a:ext cx="417513" cy="201613"/>
              <a:chOff x="912" y="2626"/>
              <a:chExt cx="311" cy="127"/>
            </a:xfrm>
          </p:grpSpPr>
          <p:sp>
            <p:nvSpPr>
              <p:cNvPr id="454" name="Freeform 363">
                <a:extLst>
                  <a:ext uri="{FF2B5EF4-FFF2-40B4-BE49-F238E27FC236}">
                    <a16:creationId xmlns:a16="http://schemas.microsoft.com/office/drawing/2014/main" id="{130AC5F5-FA95-4D14-969E-DE15F992D8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312 w 352"/>
                  <a:gd name="T1" fmla="*/ 79 h 387"/>
                  <a:gd name="T2" fmla="*/ 286 w 352"/>
                  <a:gd name="T3" fmla="*/ 79 h 387"/>
                  <a:gd name="T4" fmla="*/ 265 w 352"/>
                  <a:gd name="T5" fmla="*/ 79 h 387"/>
                  <a:gd name="T6" fmla="*/ 249 w 352"/>
                  <a:gd name="T7" fmla="*/ 74 h 387"/>
                  <a:gd name="T8" fmla="*/ 222 w 352"/>
                  <a:gd name="T9" fmla="*/ 59 h 387"/>
                  <a:gd name="T10" fmla="*/ 168 w 352"/>
                  <a:gd name="T11" fmla="*/ 20 h 387"/>
                  <a:gd name="T12" fmla="*/ 137 w 352"/>
                  <a:gd name="T13" fmla="*/ 6 h 387"/>
                  <a:gd name="T14" fmla="*/ 129 w 352"/>
                  <a:gd name="T15" fmla="*/ 19 h 387"/>
                  <a:gd name="T16" fmla="*/ 119 w 352"/>
                  <a:gd name="T17" fmla="*/ 29 h 387"/>
                  <a:gd name="T18" fmla="*/ 107 w 352"/>
                  <a:gd name="T19" fmla="*/ 35 h 387"/>
                  <a:gd name="T20" fmla="*/ 86 w 352"/>
                  <a:gd name="T21" fmla="*/ 56 h 387"/>
                  <a:gd name="T22" fmla="*/ 53 w 352"/>
                  <a:gd name="T23" fmla="*/ 97 h 387"/>
                  <a:gd name="T24" fmla="*/ 30 w 352"/>
                  <a:gd name="T25" fmla="*/ 131 h 387"/>
                  <a:gd name="T26" fmla="*/ 17 w 352"/>
                  <a:gd name="T27" fmla="*/ 154 h 387"/>
                  <a:gd name="T28" fmla="*/ 7 w 352"/>
                  <a:gd name="T29" fmla="*/ 177 h 387"/>
                  <a:gd name="T30" fmla="*/ 0 w 352"/>
                  <a:gd name="T31" fmla="*/ 198 h 387"/>
                  <a:gd name="T32" fmla="*/ 0 w 352"/>
                  <a:gd name="T33" fmla="*/ 213 h 387"/>
                  <a:gd name="T34" fmla="*/ 3 w 352"/>
                  <a:gd name="T35" fmla="*/ 222 h 387"/>
                  <a:gd name="T36" fmla="*/ 9 w 352"/>
                  <a:gd name="T37" fmla="*/ 231 h 387"/>
                  <a:gd name="T38" fmla="*/ 24 w 352"/>
                  <a:gd name="T39" fmla="*/ 241 h 387"/>
                  <a:gd name="T40" fmla="*/ 39 w 352"/>
                  <a:gd name="T41" fmla="*/ 245 h 387"/>
                  <a:gd name="T42" fmla="*/ 52 w 352"/>
                  <a:gd name="T43" fmla="*/ 245 h 387"/>
                  <a:gd name="T44" fmla="*/ 63 w 352"/>
                  <a:gd name="T45" fmla="*/ 241 h 387"/>
                  <a:gd name="T46" fmla="*/ 73 w 352"/>
                  <a:gd name="T47" fmla="*/ 236 h 387"/>
                  <a:gd name="T48" fmla="*/ 78 w 352"/>
                  <a:gd name="T49" fmla="*/ 236 h 387"/>
                  <a:gd name="T50" fmla="*/ 80 w 352"/>
                  <a:gd name="T51" fmla="*/ 238 h 387"/>
                  <a:gd name="T52" fmla="*/ 80 w 352"/>
                  <a:gd name="T53" fmla="*/ 257 h 387"/>
                  <a:gd name="T54" fmla="*/ 76 w 352"/>
                  <a:gd name="T55" fmla="*/ 279 h 387"/>
                  <a:gd name="T56" fmla="*/ 71 w 352"/>
                  <a:gd name="T57" fmla="*/ 290 h 387"/>
                  <a:gd name="T58" fmla="*/ 73 w 352"/>
                  <a:gd name="T59" fmla="*/ 307 h 387"/>
                  <a:gd name="T60" fmla="*/ 80 w 352"/>
                  <a:gd name="T61" fmla="*/ 331 h 387"/>
                  <a:gd name="T62" fmla="*/ 89 w 352"/>
                  <a:gd name="T63" fmla="*/ 351 h 387"/>
                  <a:gd name="T64" fmla="*/ 122 w 352"/>
                  <a:gd name="T65" fmla="*/ 373 h 387"/>
                  <a:gd name="T66" fmla="*/ 142 w 352"/>
                  <a:gd name="T67" fmla="*/ 385 h 387"/>
                  <a:gd name="T68" fmla="*/ 152 w 352"/>
                  <a:gd name="T69" fmla="*/ 386 h 387"/>
                  <a:gd name="T70" fmla="*/ 163 w 352"/>
                  <a:gd name="T71" fmla="*/ 377 h 387"/>
                  <a:gd name="T72" fmla="*/ 173 w 352"/>
                  <a:gd name="T73" fmla="*/ 363 h 387"/>
                  <a:gd name="T74" fmla="*/ 178 w 352"/>
                  <a:gd name="T75" fmla="*/ 350 h 387"/>
                  <a:gd name="T76" fmla="*/ 181 w 352"/>
                  <a:gd name="T77" fmla="*/ 338 h 387"/>
                  <a:gd name="T78" fmla="*/ 184 w 352"/>
                  <a:gd name="T79" fmla="*/ 323 h 387"/>
                  <a:gd name="T80" fmla="*/ 195 w 352"/>
                  <a:gd name="T81" fmla="*/ 304 h 387"/>
                  <a:gd name="T82" fmla="*/ 216 w 352"/>
                  <a:gd name="T83" fmla="*/ 281 h 387"/>
                  <a:gd name="T84" fmla="*/ 238 w 352"/>
                  <a:gd name="T85" fmla="*/ 263 h 387"/>
                  <a:gd name="T86" fmla="*/ 264 w 352"/>
                  <a:gd name="T87" fmla="*/ 249 h 387"/>
                  <a:gd name="T88" fmla="*/ 300 w 352"/>
                  <a:gd name="T89" fmla="*/ 229 h 387"/>
                  <a:gd name="T90" fmla="*/ 324 w 352"/>
                  <a:gd name="T91" fmla="*/ 212 h 387"/>
                  <a:gd name="T92" fmla="*/ 338 w 352"/>
                  <a:gd name="T93" fmla="*/ 199 h 387"/>
                  <a:gd name="T94" fmla="*/ 346 w 352"/>
                  <a:gd name="T95" fmla="*/ 185 h 387"/>
                  <a:gd name="T96" fmla="*/ 352 w 352"/>
                  <a:gd name="T97" fmla="*/ 169 h 387"/>
                  <a:gd name="T98" fmla="*/ 351 w 352"/>
                  <a:gd name="T99" fmla="*/ 149 h 387"/>
                  <a:gd name="T100" fmla="*/ 344 w 352"/>
                  <a:gd name="T101" fmla="*/ 125 h 387"/>
                  <a:gd name="T102" fmla="*/ 330 w 352"/>
                  <a:gd name="T103" fmla="*/ 91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55" name="Freeform 364">
                <a:extLst>
                  <a:ext uri="{FF2B5EF4-FFF2-40B4-BE49-F238E27FC236}">
                    <a16:creationId xmlns:a16="http://schemas.microsoft.com/office/drawing/2014/main" id="{5FA3EA8B-38C6-40FD-AED9-15C94658E5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14 w 52"/>
                  <a:gd name="T1" fmla="*/ 0 h 78"/>
                  <a:gd name="T2" fmla="*/ 20 w 52"/>
                  <a:gd name="T3" fmla="*/ 0 h 78"/>
                  <a:gd name="T4" fmla="*/ 25 w 52"/>
                  <a:gd name="T5" fmla="*/ 2 h 78"/>
                  <a:gd name="T6" fmla="*/ 30 w 52"/>
                  <a:gd name="T7" fmla="*/ 6 h 78"/>
                  <a:gd name="T8" fmla="*/ 36 w 52"/>
                  <a:gd name="T9" fmla="*/ 9 h 78"/>
                  <a:gd name="T10" fmla="*/ 40 w 52"/>
                  <a:gd name="T11" fmla="*/ 13 h 78"/>
                  <a:gd name="T12" fmla="*/ 45 w 52"/>
                  <a:gd name="T13" fmla="*/ 17 h 78"/>
                  <a:gd name="T14" fmla="*/ 47 w 52"/>
                  <a:gd name="T15" fmla="*/ 21 h 78"/>
                  <a:gd name="T16" fmla="*/ 48 w 52"/>
                  <a:gd name="T17" fmla="*/ 24 h 78"/>
                  <a:gd name="T18" fmla="*/ 51 w 52"/>
                  <a:gd name="T19" fmla="*/ 34 h 78"/>
                  <a:gd name="T20" fmla="*/ 52 w 52"/>
                  <a:gd name="T21" fmla="*/ 41 h 78"/>
                  <a:gd name="T22" fmla="*/ 51 w 52"/>
                  <a:gd name="T23" fmla="*/ 46 h 78"/>
                  <a:gd name="T24" fmla="*/ 49 w 52"/>
                  <a:gd name="T25" fmla="*/ 50 h 78"/>
                  <a:gd name="T26" fmla="*/ 47 w 52"/>
                  <a:gd name="T27" fmla="*/ 54 h 78"/>
                  <a:gd name="T28" fmla="*/ 44 w 52"/>
                  <a:gd name="T29" fmla="*/ 60 h 78"/>
                  <a:gd name="T30" fmla="*/ 41 w 52"/>
                  <a:gd name="T31" fmla="*/ 65 h 78"/>
                  <a:gd name="T32" fmla="*/ 41 w 52"/>
                  <a:gd name="T33" fmla="*/ 73 h 78"/>
                  <a:gd name="T34" fmla="*/ 29 w 52"/>
                  <a:gd name="T35" fmla="*/ 75 h 78"/>
                  <a:gd name="T36" fmla="*/ 16 w 52"/>
                  <a:gd name="T37" fmla="*/ 78 h 78"/>
                  <a:gd name="T38" fmla="*/ 11 w 52"/>
                  <a:gd name="T39" fmla="*/ 78 h 78"/>
                  <a:gd name="T40" fmla="*/ 5 w 52"/>
                  <a:gd name="T41" fmla="*/ 78 h 78"/>
                  <a:gd name="T42" fmla="*/ 4 w 52"/>
                  <a:gd name="T43" fmla="*/ 78 h 78"/>
                  <a:gd name="T44" fmla="*/ 2 w 52"/>
                  <a:gd name="T45" fmla="*/ 77 h 78"/>
                  <a:gd name="T46" fmla="*/ 2 w 52"/>
                  <a:gd name="T47" fmla="*/ 75 h 78"/>
                  <a:gd name="T48" fmla="*/ 1 w 52"/>
                  <a:gd name="T49" fmla="*/ 73 h 78"/>
                  <a:gd name="T50" fmla="*/ 0 w 52"/>
                  <a:gd name="T51" fmla="*/ 69 h 78"/>
                  <a:gd name="T52" fmla="*/ 1 w 52"/>
                  <a:gd name="T53" fmla="*/ 64 h 78"/>
                  <a:gd name="T54" fmla="*/ 3 w 52"/>
                  <a:gd name="T55" fmla="*/ 60 h 78"/>
                  <a:gd name="T56" fmla="*/ 7 w 52"/>
                  <a:gd name="T57" fmla="*/ 56 h 78"/>
                  <a:gd name="T58" fmla="*/ 17 w 52"/>
                  <a:gd name="T59" fmla="*/ 47 h 78"/>
                  <a:gd name="T60" fmla="*/ 28 w 52"/>
                  <a:gd name="T61" fmla="*/ 42 h 78"/>
                  <a:gd name="T62" fmla="*/ 24 w 52"/>
                  <a:gd name="T63" fmla="*/ 32 h 78"/>
                  <a:gd name="T64" fmla="*/ 21 w 52"/>
                  <a:gd name="T65" fmla="*/ 21 h 78"/>
                  <a:gd name="T66" fmla="*/ 18 w 52"/>
                  <a:gd name="T67" fmla="*/ 10 h 78"/>
                  <a:gd name="T68" fmla="*/ 14 w 52"/>
                  <a:gd name="T6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56" name="Freeform 365">
                <a:extLst>
                  <a:ext uri="{FF2B5EF4-FFF2-40B4-BE49-F238E27FC236}">
                    <a16:creationId xmlns:a16="http://schemas.microsoft.com/office/drawing/2014/main" id="{AB0EEE24-B188-48E9-AE04-1C239321C2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13 w 33"/>
                  <a:gd name="T1" fmla="*/ 6 h 30"/>
                  <a:gd name="T2" fmla="*/ 0 w 33"/>
                  <a:gd name="T3" fmla="*/ 24 h 30"/>
                  <a:gd name="T4" fmla="*/ 7 w 33"/>
                  <a:gd name="T5" fmla="*/ 25 h 30"/>
                  <a:gd name="T6" fmla="*/ 15 w 33"/>
                  <a:gd name="T7" fmla="*/ 27 h 30"/>
                  <a:gd name="T8" fmla="*/ 23 w 33"/>
                  <a:gd name="T9" fmla="*/ 29 h 30"/>
                  <a:gd name="T10" fmla="*/ 33 w 33"/>
                  <a:gd name="T11" fmla="*/ 30 h 30"/>
                  <a:gd name="T12" fmla="*/ 33 w 33"/>
                  <a:gd name="T13" fmla="*/ 0 h 30"/>
                  <a:gd name="T14" fmla="*/ 20 w 33"/>
                  <a:gd name="T15" fmla="*/ 0 h 30"/>
                  <a:gd name="T16" fmla="*/ 13 w 33"/>
                  <a:gd name="T17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269" name="Freeform 366">
              <a:extLst>
                <a:ext uri="{FF2B5EF4-FFF2-40B4-BE49-F238E27FC236}">
                  <a16:creationId xmlns:a16="http://schemas.microsoft.com/office/drawing/2014/main" id="{CBB692E1-F654-4011-ADCC-93852F0893E9}"/>
                </a:ext>
              </a:extLst>
            </p:cNvPr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6880225" y="4340225"/>
              <a:ext cx="19050" cy="58738"/>
            </a:xfrm>
            <a:custGeom>
              <a:avLst/>
              <a:gdLst>
                <a:gd name="T0" fmla="*/ 13 w 47"/>
                <a:gd name="T1" fmla="*/ 0 h 28"/>
                <a:gd name="T2" fmla="*/ 25 w 47"/>
                <a:gd name="T3" fmla="*/ 0 h 28"/>
                <a:gd name="T4" fmla="*/ 31 w 47"/>
                <a:gd name="T5" fmla="*/ 2 h 28"/>
                <a:gd name="T6" fmla="*/ 33 w 47"/>
                <a:gd name="T7" fmla="*/ 4 h 28"/>
                <a:gd name="T8" fmla="*/ 33 w 47"/>
                <a:gd name="T9" fmla="*/ 6 h 28"/>
                <a:gd name="T10" fmla="*/ 32 w 47"/>
                <a:gd name="T11" fmla="*/ 8 h 28"/>
                <a:gd name="T12" fmla="*/ 33 w 47"/>
                <a:gd name="T13" fmla="*/ 10 h 28"/>
                <a:gd name="T14" fmla="*/ 37 w 47"/>
                <a:gd name="T15" fmla="*/ 12 h 28"/>
                <a:gd name="T16" fmla="*/ 47 w 47"/>
                <a:gd name="T17" fmla="*/ 12 h 28"/>
                <a:gd name="T18" fmla="*/ 42 w 47"/>
                <a:gd name="T19" fmla="*/ 19 h 28"/>
                <a:gd name="T20" fmla="*/ 37 w 47"/>
                <a:gd name="T21" fmla="*/ 25 h 28"/>
                <a:gd name="T22" fmla="*/ 33 w 47"/>
                <a:gd name="T23" fmla="*/ 27 h 28"/>
                <a:gd name="T24" fmla="*/ 28 w 47"/>
                <a:gd name="T25" fmla="*/ 28 h 28"/>
                <a:gd name="T26" fmla="*/ 16 w 47"/>
                <a:gd name="T27" fmla="*/ 27 h 28"/>
                <a:gd name="T28" fmla="*/ 0 w 47"/>
                <a:gd name="T29" fmla="*/ 25 h 28"/>
                <a:gd name="T30" fmla="*/ 1 w 47"/>
                <a:gd name="T31" fmla="*/ 19 h 28"/>
                <a:gd name="T32" fmla="*/ 2 w 47"/>
                <a:gd name="T33" fmla="*/ 15 h 28"/>
                <a:gd name="T34" fmla="*/ 4 w 47"/>
                <a:gd name="T35" fmla="*/ 13 h 28"/>
                <a:gd name="T36" fmla="*/ 6 w 47"/>
                <a:gd name="T37" fmla="*/ 12 h 28"/>
                <a:gd name="T38" fmla="*/ 9 w 47"/>
                <a:gd name="T39" fmla="*/ 11 h 28"/>
                <a:gd name="T40" fmla="*/ 11 w 47"/>
                <a:gd name="T41" fmla="*/ 9 h 28"/>
                <a:gd name="T42" fmla="*/ 13 w 47"/>
                <a:gd name="T43" fmla="*/ 5 h 28"/>
                <a:gd name="T44" fmla="*/ 13 w 47"/>
                <a:gd name="T4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70" name="Freeform 367">
              <a:extLst>
                <a:ext uri="{FF2B5EF4-FFF2-40B4-BE49-F238E27FC236}">
                  <a16:creationId xmlns:a16="http://schemas.microsoft.com/office/drawing/2014/main" id="{F70DA58B-1864-4B72-B9F8-56A9E1D75BBD}"/>
                </a:ext>
              </a:extLst>
            </p:cNvPr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6851651" y="4367213"/>
              <a:ext cx="23813" cy="57150"/>
            </a:xfrm>
            <a:custGeom>
              <a:avLst/>
              <a:gdLst>
                <a:gd name="T0" fmla="*/ 13 w 53"/>
                <a:gd name="T1" fmla="*/ 0 h 33"/>
                <a:gd name="T2" fmla="*/ 26 w 53"/>
                <a:gd name="T3" fmla="*/ 1 h 33"/>
                <a:gd name="T4" fmla="*/ 34 w 53"/>
                <a:gd name="T5" fmla="*/ 1 h 33"/>
                <a:gd name="T6" fmla="*/ 37 w 53"/>
                <a:gd name="T7" fmla="*/ 3 h 33"/>
                <a:gd name="T8" fmla="*/ 37 w 53"/>
                <a:gd name="T9" fmla="*/ 4 h 33"/>
                <a:gd name="T10" fmla="*/ 37 w 53"/>
                <a:gd name="T11" fmla="*/ 6 h 33"/>
                <a:gd name="T12" fmla="*/ 39 w 53"/>
                <a:gd name="T13" fmla="*/ 8 h 33"/>
                <a:gd name="T14" fmla="*/ 44 w 53"/>
                <a:gd name="T15" fmla="*/ 10 h 33"/>
                <a:gd name="T16" fmla="*/ 53 w 53"/>
                <a:gd name="T17" fmla="*/ 12 h 33"/>
                <a:gd name="T18" fmla="*/ 48 w 53"/>
                <a:gd name="T19" fmla="*/ 22 h 33"/>
                <a:gd name="T20" fmla="*/ 44 w 53"/>
                <a:gd name="T21" fmla="*/ 28 h 33"/>
                <a:gd name="T22" fmla="*/ 42 w 53"/>
                <a:gd name="T23" fmla="*/ 31 h 33"/>
                <a:gd name="T24" fmla="*/ 38 w 53"/>
                <a:gd name="T25" fmla="*/ 32 h 33"/>
                <a:gd name="T26" fmla="*/ 36 w 53"/>
                <a:gd name="T27" fmla="*/ 33 h 33"/>
                <a:gd name="T28" fmla="*/ 34 w 53"/>
                <a:gd name="T29" fmla="*/ 33 h 33"/>
                <a:gd name="T30" fmla="*/ 20 w 53"/>
                <a:gd name="T31" fmla="*/ 30 h 33"/>
                <a:gd name="T32" fmla="*/ 0 w 53"/>
                <a:gd name="T33" fmla="*/ 24 h 33"/>
                <a:gd name="T34" fmla="*/ 0 w 53"/>
                <a:gd name="T35" fmla="*/ 19 h 33"/>
                <a:gd name="T36" fmla="*/ 2 w 53"/>
                <a:gd name="T37" fmla="*/ 16 h 33"/>
                <a:gd name="T38" fmla="*/ 4 w 53"/>
                <a:gd name="T39" fmla="*/ 14 h 33"/>
                <a:gd name="T40" fmla="*/ 7 w 53"/>
                <a:gd name="T41" fmla="*/ 12 h 33"/>
                <a:gd name="T42" fmla="*/ 9 w 53"/>
                <a:gd name="T43" fmla="*/ 11 h 33"/>
                <a:gd name="T44" fmla="*/ 11 w 53"/>
                <a:gd name="T45" fmla="*/ 9 h 33"/>
                <a:gd name="T46" fmla="*/ 12 w 53"/>
                <a:gd name="T47" fmla="*/ 6 h 33"/>
                <a:gd name="T48" fmla="*/ 13 w 53"/>
                <a:gd name="T4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271" name="Group 368">
              <a:extLst>
                <a:ext uri="{FF2B5EF4-FFF2-40B4-BE49-F238E27FC236}">
                  <a16:creationId xmlns:a16="http://schemas.microsoft.com/office/drawing/2014/main" id="{C81677EF-B641-4B43-B395-9FE81254458A}"/>
                </a:ext>
              </a:extLst>
            </p:cNvPr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6692901" y="3859214"/>
              <a:ext cx="168275" cy="103187"/>
              <a:chOff x="3481" y="2773"/>
              <a:chExt cx="125" cy="65"/>
            </a:xfrm>
          </p:grpSpPr>
          <p:sp>
            <p:nvSpPr>
              <p:cNvPr id="443" name="Freeform 369">
                <a:extLst>
                  <a:ext uri="{FF2B5EF4-FFF2-40B4-BE49-F238E27FC236}">
                    <a16:creationId xmlns:a16="http://schemas.microsoft.com/office/drawing/2014/main" id="{BAF3653A-33F5-4AE8-B9DB-C24AAAD746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44" name="Line 370">
                <a:extLst>
                  <a:ext uri="{FF2B5EF4-FFF2-40B4-BE49-F238E27FC236}">
                    <a16:creationId xmlns:a16="http://schemas.microsoft.com/office/drawing/2014/main" id="{30757DE3-A14D-4F70-AB83-0A42432D51D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45" name="Freeform 371">
                <a:extLst>
                  <a:ext uri="{FF2B5EF4-FFF2-40B4-BE49-F238E27FC236}">
                    <a16:creationId xmlns:a16="http://schemas.microsoft.com/office/drawing/2014/main" id="{ED3ECBF1-E3F9-48BB-9C47-90586852BE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14 w 14"/>
                  <a:gd name="T1" fmla="*/ 19 h 19"/>
                  <a:gd name="T2" fmla="*/ 0 w 14"/>
                  <a:gd name="T3" fmla="*/ 0 h 19"/>
                  <a:gd name="T4" fmla="*/ 14 w 14"/>
                  <a:gd name="T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46" name="Freeform 372">
                <a:extLst>
                  <a:ext uri="{FF2B5EF4-FFF2-40B4-BE49-F238E27FC236}">
                    <a16:creationId xmlns:a16="http://schemas.microsoft.com/office/drawing/2014/main" id="{7A5EA0C4-A48C-4C24-AD9A-E446ABFF0F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47" name="Freeform 373">
                <a:extLst>
                  <a:ext uri="{FF2B5EF4-FFF2-40B4-BE49-F238E27FC236}">
                    <a16:creationId xmlns:a16="http://schemas.microsoft.com/office/drawing/2014/main" id="{8A631100-5EB5-4955-83C6-8CA6E3AFBA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20 w 20"/>
                  <a:gd name="T1" fmla="*/ 12 h 12"/>
                  <a:gd name="T2" fmla="*/ 10 w 20"/>
                  <a:gd name="T3" fmla="*/ 9 h 12"/>
                  <a:gd name="T4" fmla="*/ 0 w 20"/>
                  <a:gd name="T5" fmla="*/ 6 h 12"/>
                  <a:gd name="T6" fmla="*/ 1 w 20"/>
                  <a:gd name="T7" fmla="*/ 5 h 12"/>
                  <a:gd name="T8" fmla="*/ 3 w 20"/>
                  <a:gd name="T9" fmla="*/ 3 h 12"/>
                  <a:gd name="T10" fmla="*/ 8 w 20"/>
                  <a:gd name="T11" fmla="*/ 1 h 12"/>
                  <a:gd name="T12" fmla="*/ 13 w 20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48" name="Line 374">
                <a:extLst>
                  <a:ext uri="{FF2B5EF4-FFF2-40B4-BE49-F238E27FC236}">
                    <a16:creationId xmlns:a16="http://schemas.microsoft.com/office/drawing/2014/main" id="{AC1C0AEA-DB86-489F-86D0-6198768F034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49" name="Freeform 375">
                <a:extLst>
                  <a:ext uri="{FF2B5EF4-FFF2-40B4-BE49-F238E27FC236}">
                    <a16:creationId xmlns:a16="http://schemas.microsoft.com/office/drawing/2014/main" id="{FD79EAAE-803A-4228-A7CB-14D93D43AF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50" name="Freeform 376">
                <a:extLst>
                  <a:ext uri="{FF2B5EF4-FFF2-40B4-BE49-F238E27FC236}">
                    <a16:creationId xmlns:a16="http://schemas.microsoft.com/office/drawing/2014/main" id="{F9A3E80F-84FF-485D-A1C0-1FCCF25A86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7 w 7"/>
                  <a:gd name="T1" fmla="*/ 12 h 12"/>
                  <a:gd name="T2" fmla="*/ 4 w 7"/>
                  <a:gd name="T3" fmla="*/ 6 h 12"/>
                  <a:gd name="T4" fmla="*/ 0 w 7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51" name="Freeform 377">
                <a:extLst>
                  <a:ext uri="{FF2B5EF4-FFF2-40B4-BE49-F238E27FC236}">
                    <a16:creationId xmlns:a16="http://schemas.microsoft.com/office/drawing/2014/main" id="{090D7E6B-078F-4108-A378-99904CF2B5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  <a:gd name="T6" fmla="*/ 17 w 20"/>
                  <a:gd name="T7" fmla="*/ 12 h 18"/>
                  <a:gd name="T8" fmla="*/ 13 w 20"/>
                  <a:gd name="T9" fmla="*/ 6 h 18"/>
                  <a:gd name="T10" fmla="*/ 0 w 20"/>
                  <a:gd name="T11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52" name="Freeform 378">
                <a:extLst>
                  <a:ext uri="{FF2B5EF4-FFF2-40B4-BE49-F238E27FC236}">
                    <a16:creationId xmlns:a16="http://schemas.microsoft.com/office/drawing/2014/main" id="{B471A105-F851-48D4-A90C-C1EC30E445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  <a:gd name="T10" fmla="*/ 0 w 7"/>
                  <a:gd name="T11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53" name="Freeform 379">
                <a:extLst>
                  <a:ext uri="{FF2B5EF4-FFF2-40B4-BE49-F238E27FC236}">
                    <a16:creationId xmlns:a16="http://schemas.microsoft.com/office/drawing/2014/main" id="{91987D72-015A-461F-ABA0-3061A9C7AF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  <a:gd name="T14" fmla="*/ 6 w 13"/>
                  <a:gd name="T15" fmla="*/ 6 h 18"/>
                  <a:gd name="T16" fmla="*/ 13 w 13"/>
                  <a:gd name="T1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272" name="Freeform 380">
              <a:extLst>
                <a:ext uri="{FF2B5EF4-FFF2-40B4-BE49-F238E27FC236}">
                  <a16:creationId xmlns:a16="http://schemas.microsoft.com/office/drawing/2014/main" id="{06D9A177-7C1F-4B3C-85E9-D80032FF1263}"/>
                </a:ext>
              </a:extLst>
            </p:cNvPr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5821364" y="3851276"/>
              <a:ext cx="319087" cy="379413"/>
            </a:xfrm>
            <a:custGeom>
              <a:avLst/>
              <a:gdLst>
                <a:gd name="T0" fmla="*/ 60 w 736"/>
                <a:gd name="T1" fmla="*/ 685 h 721"/>
                <a:gd name="T2" fmla="*/ 91 w 736"/>
                <a:gd name="T3" fmla="*/ 668 h 721"/>
                <a:gd name="T4" fmla="*/ 126 w 736"/>
                <a:gd name="T5" fmla="*/ 668 h 721"/>
                <a:gd name="T6" fmla="*/ 196 w 736"/>
                <a:gd name="T7" fmla="*/ 692 h 721"/>
                <a:gd name="T8" fmla="*/ 245 w 736"/>
                <a:gd name="T9" fmla="*/ 705 h 721"/>
                <a:gd name="T10" fmla="*/ 292 w 736"/>
                <a:gd name="T11" fmla="*/ 703 h 721"/>
                <a:gd name="T12" fmla="*/ 611 w 736"/>
                <a:gd name="T13" fmla="*/ 717 h 721"/>
                <a:gd name="T14" fmla="*/ 651 w 736"/>
                <a:gd name="T15" fmla="*/ 707 h 721"/>
                <a:gd name="T16" fmla="*/ 627 w 736"/>
                <a:gd name="T17" fmla="*/ 657 h 721"/>
                <a:gd name="T18" fmla="*/ 664 w 736"/>
                <a:gd name="T19" fmla="*/ 433 h 721"/>
                <a:gd name="T20" fmla="*/ 709 w 736"/>
                <a:gd name="T21" fmla="*/ 429 h 721"/>
                <a:gd name="T22" fmla="*/ 723 w 736"/>
                <a:gd name="T23" fmla="*/ 416 h 721"/>
                <a:gd name="T24" fmla="*/ 734 w 736"/>
                <a:gd name="T25" fmla="*/ 360 h 721"/>
                <a:gd name="T26" fmla="*/ 722 w 736"/>
                <a:gd name="T27" fmla="*/ 302 h 721"/>
                <a:gd name="T28" fmla="*/ 708 w 736"/>
                <a:gd name="T29" fmla="*/ 304 h 721"/>
                <a:gd name="T30" fmla="*/ 676 w 736"/>
                <a:gd name="T31" fmla="*/ 300 h 721"/>
                <a:gd name="T32" fmla="*/ 634 w 736"/>
                <a:gd name="T33" fmla="*/ 299 h 721"/>
                <a:gd name="T34" fmla="*/ 623 w 736"/>
                <a:gd name="T35" fmla="*/ 290 h 721"/>
                <a:gd name="T36" fmla="*/ 617 w 736"/>
                <a:gd name="T37" fmla="*/ 253 h 721"/>
                <a:gd name="T38" fmla="*/ 607 w 736"/>
                <a:gd name="T39" fmla="*/ 219 h 721"/>
                <a:gd name="T40" fmla="*/ 597 w 736"/>
                <a:gd name="T41" fmla="*/ 186 h 721"/>
                <a:gd name="T42" fmla="*/ 607 w 736"/>
                <a:gd name="T43" fmla="*/ 167 h 721"/>
                <a:gd name="T44" fmla="*/ 617 w 736"/>
                <a:gd name="T45" fmla="*/ 148 h 721"/>
                <a:gd name="T46" fmla="*/ 611 w 736"/>
                <a:gd name="T47" fmla="*/ 100 h 721"/>
                <a:gd name="T48" fmla="*/ 544 w 736"/>
                <a:gd name="T49" fmla="*/ 70 h 721"/>
                <a:gd name="T50" fmla="*/ 477 w 736"/>
                <a:gd name="T51" fmla="*/ 66 h 721"/>
                <a:gd name="T52" fmla="*/ 471 w 736"/>
                <a:gd name="T53" fmla="*/ 81 h 721"/>
                <a:gd name="T54" fmla="*/ 463 w 736"/>
                <a:gd name="T55" fmla="*/ 101 h 721"/>
                <a:gd name="T56" fmla="*/ 440 w 736"/>
                <a:gd name="T57" fmla="*/ 122 h 721"/>
                <a:gd name="T58" fmla="*/ 392 w 736"/>
                <a:gd name="T59" fmla="*/ 130 h 721"/>
                <a:gd name="T60" fmla="*/ 364 w 736"/>
                <a:gd name="T61" fmla="*/ 115 h 721"/>
                <a:gd name="T62" fmla="*/ 339 w 736"/>
                <a:gd name="T63" fmla="*/ 82 h 721"/>
                <a:gd name="T64" fmla="*/ 319 w 736"/>
                <a:gd name="T65" fmla="*/ 39 h 721"/>
                <a:gd name="T66" fmla="*/ 312 w 736"/>
                <a:gd name="T67" fmla="*/ 0 h 721"/>
                <a:gd name="T68" fmla="*/ 30 w 736"/>
                <a:gd name="T69" fmla="*/ 15 h 721"/>
                <a:gd name="T70" fmla="*/ 47 w 736"/>
                <a:gd name="T71" fmla="*/ 29 h 721"/>
                <a:gd name="T72" fmla="*/ 75 w 736"/>
                <a:gd name="T73" fmla="*/ 75 h 721"/>
                <a:gd name="T74" fmla="*/ 102 w 736"/>
                <a:gd name="T75" fmla="*/ 130 h 721"/>
                <a:gd name="T76" fmla="*/ 103 w 736"/>
                <a:gd name="T77" fmla="*/ 171 h 721"/>
                <a:gd name="T78" fmla="*/ 93 w 736"/>
                <a:gd name="T79" fmla="*/ 203 h 721"/>
                <a:gd name="T80" fmla="*/ 96 w 736"/>
                <a:gd name="T81" fmla="*/ 229 h 721"/>
                <a:gd name="T82" fmla="*/ 119 w 736"/>
                <a:gd name="T83" fmla="*/ 272 h 721"/>
                <a:gd name="T84" fmla="*/ 131 w 736"/>
                <a:gd name="T85" fmla="*/ 307 h 721"/>
                <a:gd name="T86" fmla="*/ 127 w 736"/>
                <a:gd name="T87" fmla="*/ 352 h 721"/>
                <a:gd name="T88" fmla="*/ 106 w 736"/>
                <a:gd name="T89" fmla="*/ 403 h 721"/>
                <a:gd name="T90" fmla="*/ 77 w 736"/>
                <a:gd name="T91" fmla="*/ 446 h 721"/>
                <a:gd name="T92" fmla="*/ 41 w 736"/>
                <a:gd name="T93" fmla="*/ 477 h 721"/>
                <a:gd name="T94" fmla="*/ 25 w 736"/>
                <a:gd name="T95" fmla="*/ 591 h 721"/>
                <a:gd name="T96" fmla="*/ 11 w 736"/>
                <a:gd name="T97" fmla="*/ 627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73" name="Freeform 381">
              <a:extLst>
                <a:ext uri="{FF2B5EF4-FFF2-40B4-BE49-F238E27FC236}">
                  <a16:creationId xmlns:a16="http://schemas.microsoft.com/office/drawing/2014/main" id="{EB155F81-691B-45A5-8412-DB876FFC808A}"/>
                </a:ext>
              </a:extLst>
            </p:cNvPr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5832476" y="3824289"/>
              <a:ext cx="15875" cy="60325"/>
            </a:xfrm>
            <a:custGeom>
              <a:avLst/>
              <a:gdLst>
                <a:gd name="T0" fmla="*/ 0 w 39"/>
                <a:gd name="T1" fmla="*/ 31 h 31"/>
                <a:gd name="T2" fmla="*/ 12 w 39"/>
                <a:gd name="T3" fmla="*/ 28 h 31"/>
                <a:gd name="T4" fmla="*/ 22 w 39"/>
                <a:gd name="T5" fmla="*/ 28 h 31"/>
                <a:gd name="T6" fmla="*/ 26 w 39"/>
                <a:gd name="T7" fmla="*/ 28 h 31"/>
                <a:gd name="T8" fmla="*/ 30 w 39"/>
                <a:gd name="T9" fmla="*/ 28 h 31"/>
                <a:gd name="T10" fmla="*/ 35 w 39"/>
                <a:gd name="T11" fmla="*/ 27 h 31"/>
                <a:gd name="T12" fmla="*/ 39 w 39"/>
                <a:gd name="T13" fmla="*/ 25 h 31"/>
                <a:gd name="T14" fmla="*/ 39 w 39"/>
                <a:gd name="T15" fmla="*/ 0 h 31"/>
                <a:gd name="T16" fmla="*/ 26 w 39"/>
                <a:gd name="T17" fmla="*/ 0 h 31"/>
                <a:gd name="T18" fmla="*/ 17 w 39"/>
                <a:gd name="T19" fmla="*/ 0 h 31"/>
                <a:gd name="T20" fmla="*/ 8 w 39"/>
                <a:gd name="T21" fmla="*/ 0 h 31"/>
                <a:gd name="T22" fmla="*/ 0 w 39"/>
                <a:gd name="T23" fmla="*/ 0 h 31"/>
                <a:gd name="T24" fmla="*/ 0 w 39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74" name="Freeform 382">
              <a:extLst>
                <a:ext uri="{FF2B5EF4-FFF2-40B4-BE49-F238E27FC236}">
                  <a16:creationId xmlns:a16="http://schemas.microsoft.com/office/drawing/2014/main" id="{262D8E3A-CF56-49AF-A25A-326B9180ECE0}"/>
                </a:ext>
              </a:extLst>
            </p:cNvPr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5934076" y="4367213"/>
              <a:ext cx="396875" cy="398462"/>
            </a:xfrm>
            <a:custGeom>
              <a:avLst/>
              <a:gdLst>
                <a:gd name="T0" fmla="*/ 899 w 903"/>
                <a:gd name="T1" fmla="*/ 291 h 759"/>
                <a:gd name="T2" fmla="*/ 863 w 903"/>
                <a:gd name="T3" fmla="*/ 388 h 759"/>
                <a:gd name="T4" fmla="*/ 832 w 903"/>
                <a:gd name="T5" fmla="*/ 414 h 759"/>
                <a:gd name="T6" fmla="*/ 761 w 903"/>
                <a:gd name="T7" fmla="*/ 507 h 759"/>
                <a:gd name="T8" fmla="*/ 720 w 903"/>
                <a:gd name="T9" fmla="*/ 561 h 759"/>
                <a:gd name="T10" fmla="*/ 647 w 903"/>
                <a:gd name="T11" fmla="*/ 613 h 759"/>
                <a:gd name="T12" fmla="*/ 583 w 903"/>
                <a:gd name="T13" fmla="*/ 666 h 759"/>
                <a:gd name="T14" fmla="*/ 557 w 903"/>
                <a:gd name="T15" fmla="*/ 698 h 759"/>
                <a:gd name="T16" fmla="*/ 520 w 903"/>
                <a:gd name="T17" fmla="*/ 705 h 759"/>
                <a:gd name="T18" fmla="*/ 496 w 903"/>
                <a:gd name="T19" fmla="*/ 710 h 759"/>
                <a:gd name="T20" fmla="*/ 485 w 903"/>
                <a:gd name="T21" fmla="*/ 727 h 759"/>
                <a:gd name="T22" fmla="*/ 372 w 903"/>
                <a:gd name="T23" fmla="*/ 727 h 759"/>
                <a:gd name="T24" fmla="*/ 339 w 903"/>
                <a:gd name="T25" fmla="*/ 732 h 759"/>
                <a:gd name="T26" fmla="*/ 316 w 903"/>
                <a:gd name="T27" fmla="*/ 732 h 759"/>
                <a:gd name="T28" fmla="*/ 286 w 903"/>
                <a:gd name="T29" fmla="*/ 727 h 759"/>
                <a:gd name="T30" fmla="*/ 263 w 903"/>
                <a:gd name="T31" fmla="*/ 737 h 759"/>
                <a:gd name="T32" fmla="*/ 146 w 903"/>
                <a:gd name="T33" fmla="*/ 759 h 759"/>
                <a:gd name="T34" fmla="*/ 116 w 903"/>
                <a:gd name="T35" fmla="*/ 753 h 759"/>
                <a:gd name="T36" fmla="*/ 90 w 903"/>
                <a:gd name="T37" fmla="*/ 739 h 759"/>
                <a:gd name="T38" fmla="*/ 76 w 903"/>
                <a:gd name="T39" fmla="*/ 719 h 759"/>
                <a:gd name="T40" fmla="*/ 79 w 903"/>
                <a:gd name="T41" fmla="*/ 697 h 759"/>
                <a:gd name="T42" fmla="*/ 75 w 903"/>
                <a:gd name="T43" fmla="*/ 628 h 759"/>
                <a:gd name="T44" fmla="*/ 79 w 903"/>
                <a:gd name="T45" fmla="*/ 608 h 759"/>
                <a:gd name="T46" fmla="*/ 68 w 903"/>
                <a:gd name="T47" fmla="*/ 572 h 759"/>
                <a:gd name="T48" fmla="*/ 22 w 903"/>
                <a:gd name="T49" fmla="*/ 516 h 759"/>
                <a:gd name="T50" fmla="*/ 12 w 903"/>
                <a:gd name="T51" fmla="*/ 484 h 759"/>
                <a:gd name="T52" fmla="*/ 10 w 903"/>
                <a:gd name="T53" fmla="*/ 439 h 759"/>
                <a:gd name="T54" fmla="*/ 0 w 903"/>
                <a:gd name="T55" fmla="*/ 377 h 759"/>
                <a:gd name="T56" fmla="*/ 39 w 903"/>
                <a:gd name="T57" fmla="*/ 377 h 759"/>
                <a:gd name="T58" fmla="*/ 57 w 903"/>
                <a:gd name="T59" fmla="*/ 396 h 759"/>
                <a:gd name="T60" fmla="*/ 94 w 903"/>
                <a:gd name="T61" fmla="*/ 410 h 759"/>
                <a:gd name="T62" fmla="*/ 135 w 903"/>
                <a:gd name="T63" fmla="*/ 411 h 759"/>
                <a:gd name="T64" fmla="*/ 160 w 903"/>
                <a:gd name="T65" fmla="*/ 400 h 759"/>
                <a:gd name="T66" fmla="*/ 182 w 903"/>
                <a:gd name="T67" fmla="*/ 372 h 759"/>
                <a:gd name="T68" fmla="*/ 197 w 903"/>
                <a:gd name="T69" fmla="*/ 229 h 759"/>
                <a:gd name="T70" fmla="*/ 204 w 903"/>
                <a:gd name="T71" fmla="*/ 184 h 759"/>
                <a:gd name="T72" fmla="*/ 210 w 903"/>
                <a:gd name="T73" fmla="*/ 168 h 759"/>
                <a:gd name="T74" fmla="*/ 239 w 903"/>
                <a:gd name="T75" fmla="*/ 178 h 759"/>
                <a:gd name="T76" fmla="*/ 245 w 903"/>
                <a:gd name="T77" fmla="*/ 238 h 759"/>
                <a:gd name="T78" fmla="*/ 247 w 903"/>
                <a:gd name="T79" fmla="*/ 274 h 759"/>
                <a:gd name="T80" fmla="*/ 256 w 903"/>
                <a:gd name="T81" fmla="*/ 287 h 759"/>
                <a:gd name="T82" fmla="*/ 287 w 903"/>
                <a:gd name="T83" fmla="*/ 295 h 759"/>
                <a:gd name="T84" fmla="*/ 312 w 903"/>
                <a:gd name="T85" fmla="*/ 293 h 759"/>
                <a:gd name="T86" fmla="*/ 333 w 903"/>
                <a:gd name="T87" fmla="*/ 272 h 759"/>
                <a:gd name="T88" fmla="*/ 350 w 903"/>
                <a:gd name="T89" fmla="*/ 234 h 759"/>
                <a:gd name="T90" fmla="*/ 368 w 903"/>
                <a:gd name="T91" fmla="*/ 201 h 759"/>
                <a:gd name="T92" fmla="*/ 387 w 903"/>
                <a:gd name="T93" fmla="*/ 191 h 759"/>
                <a:gd name="T94" fmla="*/ 414 w 903"/>
                <a:gd name="T95" fmla="*/ 193 h 759"/>
                <a:gd name="T96" fmla="*/ 451 w 903"/>
                <a:gd name="T97" fmla="*/ 208 h 759"/>
                <a:gd name="T98" fmla="*/ 478 w 903"/>
                <a:gd name="T99" fmla="*/ 216 h 759"/>
                <a:gd name="T100" fmla="*/ 512 w 903"/>
                <a:gd name="T101" fmla="*/ 213 h 759"/>
                <a:gd name="T102" fmla="*/ 531 w 903"/>
                <a:gd name="T103" fmla="*/ 200 h 759"/>
                <a:gd name="T104" fmla="*/ 564 w 903"/>
                <a:gd name="T105" fmla="*/ 127 h 759"/>
                <a:gd name="T106" fmla="*/ 620 w 903"/>
                <a:gd name="T107" fmla="*/ 80 h 759"/>
                <a:gd name="T108" fmla="*/ 732 w 903"/>
                <a:gd name="T109" fmla="*/ 11 h 759"/>
                <a:gd name="T110" fmla="*/ 806 w 903"/>
                <a:gd name="T111" fmla="*/ 3 h 759"/>
                <a:gd name="T112" fmla="*/ 830 w 903"/>
                <a:gd name="T113" fmla="*/ 6 h 759"/>
                <a:gd name="T114" fmla="*/ 854 w 903"/>
                <a:gd name="T115" fmla="*/ 35 h 759"/>
                <a:gd name="T116" fmla="*/ 873 w 903"/>
                <a:gd name="T117" fmla="*/ 71 h 759"/>
                <a:gd name="T118" fmla="*/ 883 w 903"/>
                <a:gd name="T119" fmla="*/ 107 h 759"/>
                <a:gd name="T120" fmla="*/ 868 w 903"/>
                <a:gd name="T121" fmla="*/ 207 h 759"/>
                <a:gd name="T122" fmla="*/ 830 w 903"/>
                <a:gd name="T123" fmla="*/ 204 h 759"/>
                <a:gd name="T124" fmla="*/ 826 w 903"/>
                <a:gd name="T125" fmla="*/ 281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75" name="Freeform 383">
              <a:extLst>
                <a:ext uri="{FF2B5EF4-FFF2-40B4-BE49-F238E27FC236}">
                  <a16:creationId xmlns:a16="http://schemas.microsoft.com/office/drawing/2014/main" id="{EE15AB05-0B67-4AF7-AC42-54D7BE85A5C5}"/>
                </a:ext>
              </a:extLst>
            </p:cNvPr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6081713" y="2935289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276" name="Group 384">
              <a:extLst>
                <a:ext uri="{FF2B5EF4-FFF2-40B4-BE49-F238E27FC236}">
                  <a16:creationId xmlns:a16="http://schemas.microsoft.com/office/drawing/2014/main" id="{42BF2091-F2BA-4851-9AF0-6CAEF7FC1AAE}"/>
                </a:ext>
              </a:extLst>
            </p:cNvPr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4865688" y="3136900"/>
              <a:ext cx="80962" cy="82550"/>
              <a:chOff x="2352" y="2343"/>
              <a:chExt cx="65" cy="53"/>
            </a:xfrm>
          </p:grpSpPr>
          <p:sp>
            <p:nvSpPr>
              <p:cNvPr id="437" name="Freeform 385">
                <a:extLst>
                  <a:ext uri="{FF2B5EF4-FFF2-40B4-BE49-F238E27FC236}">
                    <a16:creationId xmlns:a16="http://schemas.microsoft.com/office/drawing/2014/main" id="{CF9AB9FA-2CE0-4F72-8F06-31CE3C5C8C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46 w 51"/>
                  <a:gd name="T1" fmla="*/ 0 h 33"/>
                  <a:gd name="T2" fmla="*/ 0 w 51"/>
                  <a:gd name="T3" fmla="*/ 5 h 33"/>
                  <a:gd name="T4" fmla="*/ 4 w 51"/>
                  <a:gd name="T5" fmla="*/ 28 h 33"/>
                  <a:gd name="T6" fmla="*/ 10 w 51"/>
                  <a:gd name="T7" fmla="*/ 33 h 33"/>
                  <a:gd name="T8" fmla="*/ 35 w 51"/>
                  <a:gd name="T9" fmla="*/ 25 h 33"/>
                  <a:gd name="T10" fmla="*/ 48 w 51"/>
                  <a:gd name="T11" fmla="*/ 15 h 33"/>
                  <a:gd name="T12" fmla="*/ 51 w 51"/>
                  <a:gd name="T13" fmla="*/ 8 h 33"/>
                  <a:gd name="T14" fmla="*/ 46 w 51"/>
                  <a:gd name="T15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38" name="Freeform 386">
                <a:extLst>
                  <a:ext uri="{FF2B5EF4-FFF2-40B4-BE49-F238E27FC236}">
                    <a16:creationId xmlns:a16="http://schemas.microsoft.com/office/drawing/2014/main" id="{88F7E2FC-E47E-423C-B94E-E1BB8598F5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61 w 61"/>
                  <a:gd name="T1" fmla="*/ 6 h 20"/>
                  <a:gd name="T2" fmla="*/ 53 w 61"/>
                  <a:gd name="T3" fmla="*/ 2 h 20"/>
                  <a:gd name="T4" fmla="*/ 0 w 61"/>
                  <a:gd name="T5" fmla="*/ 0 h 20"/>
                  <a:gd name="T6" fmla="*/ 2 w 61"/>
                  <a:gd name="T7" fmla="*/ 14 h 20"/>
                  <a:gd name="T8" fmla="*/ 7 w 61"/>
                  <a:gd name="T9" fmla="*/ 20 h 20"/>
                  <a:gd name="T10" fmla="*/ 18 w 61"/>
                  <a:gd name="T11" fmla="*/ 13 h 20"/>
                  <a:gd name="T12" fmla="*/ 61 w 61"/>
                  <a:gd name="T13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39" name="Freeform 387">
                <a:extLst>
                  <a:ext uri="{FF2B5EF4-FFF2-40B4-BE49-F238E27FC236}">
                    <a16:creationId xmlns:a16="http://schemas.microsoft.com/office/drawing/2014/main" id="{8F48E252-121F-4923-8567-5A01440D0B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2 w 15"/>
                  <a:gd name="T1" fmla="*/ 0 h 36"/>
                  <a:gd name="T2" fmla="*/ 0 w 15"/>
                  <a:gd name="T3" fmla="*/ 20 h 36"/>
                  <a:gd name="T4" fmla="*/ 0 w 15"/>
                  <a:gd name="T5" fmla="*/ 36 h 36"/>
                  <a:gd name="T6" fmla="*/ 11 w 15"/>
                  <a:gd name="T7" fmla="*/ 35 h 36"/>
                  <a:gd name="T8" fmla="*/ 15 w 15"/>
                  <a:gd name="T9" fmla="*/ 14 h 36"/>
                  <a:gd name="T10" fmla="*/ 2 w 15"/>
                  <a:gd name="T1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40" name="Freeform 388">
                <a:extLst>
                  <a:ext uri="{FF2B5EF4-FFF2-40B4-BE49-F238E27FC236}">
                    <a16:creationId xmlns:a16="http://schemas.microsoft.com/office/drawing/2014/main" id="{2481EF51-3A76-4BF1-B7D4-FBD5889308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4 w 37"/>
                  <a:gd name="T1" fmla="*/ 4 h 33"/>
                  <a:gd name="T2" fmla="*/ 22 w 37"/>
                  <a:gd name="T3" fmla="*/ 0 h 33"/>
                  <a:gd name="T4" fmla="*/ 35 w 37"/>
                  <a:gd name="T5" fmla="*/ 6 h 33"/>
                  <a:gd name="T6" fmla="*/ 37 w 37"/>
                  <a:gd name="T7" fmla="*/ 22 h 33"/>
                  <a:gd name="T8" fmla="*/ 24 w 37"/>
                  <a:gd name="T9" fmla="*/ 33 h 33"/>
                  <a:gd name="T10" fmla="*/ 11 w 37"/>
                  <a:gd name="T11" fmla="*/ 33 h 33"/>
                  <a:gd name="T12" fmla="*/ 2 w 37"/>
                  <a:gd name="T13" fmla="*/ 24 h 33"/>
                  <a:gd name="T14" fmla="*/ 0 w 37"/>
                  <a:gd name="T15" fmla="*/ 16 h 33"/>
                  <a:gd name="T16" fmla="*/ 4 w 37"/>
                  <a:gd name="T17" fmla="*/ 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41" name="Freeform 389">
                <a:extLst>
                  <a:ext uri="{FF2B5EF4-FFF2-40B4-BE49-F238E27FC236}">
                    <a16:creationId xmlns:a16="http://schemas.microsoft.com/office/drawing/2014/main" id="{245EB732-2287-42A9-8BC6-6DFCB783F7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2 w 49"/>
                  <a:gd name="T1" fmla="*/ 0 h 54"/>
                  <a:gd name="T2" fmla="*/ 0 w 49"/>
                  <a:gd name="T3" fmla="*/ 0 h 54"/>
                  <a:gd name="T4" fmla="*/ 2 w 49"/>
                  <a:gd name="T5" fmla="*/ 50 h 54"/>
                  <a:gd name="T6" fmla="*/ 18 w 49"/>
                  <a:gd name="T7" fmla="*/ 54 h 54"/>
                  <a:gd name="T8" fmla="*/ 44 w 49"/>
                  <a:gd name="T9" fmla="*/ 45 h 54"/>
                  <a:gd name="T10" fmla="*/ 49 w 49"/>
                  <a:gd name="T11" fmla="*/ 31 h 54"/>
                  <a:gd name="T12" fmla="*/ 40 w 49"/>
                  <a:gd name="T13" fmla="*/ 21 h 54"/>
                  <a:gd name="T14" fmla="*/ 19 w 49"/>
                  <a:gd name="T15" fmla="*/ 8 h 54"/>
                  <a:gd name="T16" fmla="*/ 2 w 49"/>
                  <a:gd name="T1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42" name="Freeform 390">
                <a:extLst>
                  <a:ext uri="{FF2B5EF4-FFF2-40B4-BE49-F238E27FC236}">
                    <a16:creationId xmlns:a16="http://schemas.microsoft.com/office/drawing/2014/main" id="{DF6CE239-579C-4513-84B6-0D8239AC62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18 w 26"/>
                  <a:gd name="T1" fmla="*/ 0 h 22"/>
                  <a:gd name="T2" fmla="*/ 3 w 26"/>
                  <a:gd name="T3" fmla="*/ 2 h 22"/>
                  <a:gd name="T4" fmla="*/ 0 w 26"/>
                  <a:gd name="T5" fmla="*/ 15 h 22"/>
                  <a:gd name="T6" fmla="*/ 6 w 26"/>
                  <a:gd name="T7" fmla="*/ 21 h 22"/>
                  <a:gd name="T8" fmla="*/ 19 w 26"/>
                  <a:gd name="T9" fmla="*/ 22 h 22"/>
                  <a:gd name="T10" fmla="*/ 26 w 26"/>
                  <a:gd name="T11" fmla="*/ 11 h 22"/>
                  <a:gd name="T12" fmla="*/ 18 w 26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grpSp>
          <p:nvGrpSpPr>
            <p:cNvPr id="277" name="Group 391">
              <a:extLst>
                <a:ext uri="{FF2B5EF4-FFF2-40B4-BE49-F238E27FC236}">
                  <a16:creationId xmlns:a16="http://schemas.microsoft.com/office/drawing/2014/main" id="{EE57318C-DC7C-43C2-A862-C097F28E3E66}"/>
                </a:ext>
              </a:extLst>
            </p:cNvPr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2711451" y="1196976"/>
              <a:ext cx="1897063" cy="1133475"/>
              <a:chOff x="527" y="1110"/>
              <a:chExt cx="1410" cy="709"/>
            </a:xfrm>
          </p:grpSpPr>
          <p:sp>
            <p:nvSpPr>
              <p:cNvPr id="395" name="Freeform 392">
                <a:extLst>
                  <a:ext uri="{FF2B5EF4-FFF2-40B4-BE49-F238E27FC236}">
                    <a16:creationId xmlns:a16="http://schemas.microsoft.com/office/drawing/2014/main" id="{0898A780-A54E-4261-9A02-9F6AB584D3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41 h 54"/>
                  <a:gd name="T2" fmla="*/ 5 w 98"/>
                  <a:gd name="T3" fmla="*/ 46 h 54"/>
                  <a:gd name="T4" fmla="*/ 13 w 98"/>
                  <a:gd name="T5" fmla="*/ 50 h 54"/>
                  <a:gd name="T6" fmla="*/ 23 w 98"/>
                  <a:gd name="T7" fmla="*/ 53 h 54"/>
                  <a:gd name="T8" fmla="*/ 32 w 98"/>
                  <a:gd name="T9" fmla="*/ 54 h 54"/>
                  <a:gd name="T10" fmla="*/ 38 w 98"/>
                  <a:gd name="T11" fmla="*/ 54 h 54"/>
                  <a:gd name="T12" fmla="*/ 45 w 98"/>
                  <a:gd name="T13" fmla="*/ 53 h 54"/>
                  <a:gd name="T14" fmla="*/ 50 w 98"/>
                  <a:gd name="T15" fmla="*/ 51 h 54"/>
                  <a:gd name="T16" fmla="*/ 56 w 98"/>
                  <a:gd name="T17" fmla="*/ 49 h 54"/>
                  <a:gd name="T18" fmla="*/ 67 w 98"/>
                  <a:gd name="T19" fmla="*/ 42 h 54"/>
                  <a:gd name="T20" fmla="*/ 75 w 98"/>
                  <a:gd name="T21" fmla="*/ 35 h 54"/>
                  <a:gd name="T22" fmla="*/ 84 w 98"/>
                  <a:gd name="T23" fmla="*/ 28 h 54"/>
                  <a:gd name="T24" fmla="*/ 91 w 98"/>
                  <a:gd name="T25" fmla="*/ 20 h 54"/>
                  <a:gd name="T26" fmla="*/ 95 w 98"/>
                  <a:gd name="T27" fmla="*/ 12 h 54"/>
                  <a:gd name="T28" fmla="*/ 98 w 98"/>
                  <a:gd name="T29" fmla="*/ 4 h 54"/>
                  <a:gd name="T30" fmla="*/ 91 w 98"/>
                  <a:gd name="T31" fmla="*/ 2 h 54"/>
                  <a:gd name="T32" fmla="*/ 83 w 98"/>
                  <a:gd name="T33" fmla="*/ 0 h 54"/>
                  <a:gd name="T34" fmla="*/ 75 w 98"/>
                  <a:gd name="T35" fmla="*/ 0 h 54"/>
                  <a:gd name="T36" fmla="*/ 68 w 98"/>
                  <a:gd name="T37" fmla="*/ 0 h 54"/>
                  <a:gd name="T38" fmla="*/ 59 w 98"/>
                  <a:gd name="T39" fmla="*/ 1 h 54"/>
                  <a:gd name="T40" fmla="*/ 51 w 98"/>
                  <a:gd name="T41" fmla="*/ 3 h 54"/>
                  <a:gd name="T42" fmla="*/ 43 w 98"/>
                  <a:gd name="T43" fmla="*/ 6 h 54"/>
                  <a:gd name="T44" fmla="*/ 37 w 98"/>
                  <a:gd name="T45" fmla="*/ 9 h 54"/>
                  <a:gd name="T46" fmla="*/ 23 w 98"/>
                  <a:gd name="T47" fmla="*/ 17 h 54"/>
                  <a:gd name="T48" fmla="*/ 12 w 98"/>
                  <a:gd name="T49" fmla="*/ 25 h 54"/>
                  <a:gd name="T50" fmla="*/ 7 w 98"/>
                  <a:gd name="T51" fmla="*/ 29 h 54"/>
                  <a:gd name="T52" fmla="*/ 4 w 98"/>
                  <a:gd name="T53" fmla="*/ 33 h 54"/>
                  <a:gd name="T54" fmla="*/ 1 w 98"/>
                  <a:gd name="T55" fmla="*/ 37 h 54"/>
                  <a:gd name="T56" fmla="*/ 0 w 98"/>
                  <a:gd name="T57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96" name="Freeform 393">
                <a:extLst>
                  <a:ext uri="{FF2B5EF4-FFF2-40B4-BE49-F238E27FC236}">
                    <a16:creationId xmlns:a16="http://schemas.microsoft.com/office/drawing/2014/main" id="{8A792FB0-25D6-4BB4-88FE-E922ECFC8C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27 h 28"/>
                  <a:gd name="T2" fmla="*/ 11 w 67"/>
                  <a:gd name="T3" fmla="*/ 28 h 28"/>
                  <a:gd name="T4" fmla="*/ 21 w 67"/>
                  <a:gd name="T5" fmla="*/ 27 h 28"/>
                  <a:gd name="T6" fmla="*/ 31 w 67"/>
                  <a:gd name="T7" fmla="*/ 25 h 28"/>
                  <a:gd name="T8" fmla="*/ 41 w 67"/>
                  <a:gd name="T9" fmla="*/ 21 h 28"/>
                  <a:gd name="T10" fmla="*/ 49 w 67"/>
                  <a:gd name="T11" fmla="*/ 17 h 28"/>
                  <a:gd name="T12" fmla="*/ 57 w 67"/>
                  <a:gd name="T13" fmla="*/ 12 h 28"/>
                  <a:gd name="T14" fmla="*/ 63 w 67"/>
                  <a:gd name="T15" fmla="*/ 7 h 28"/>
                  <a:gd name="T16" fmla="*/ 67 w 67"/>
                  <a:gd name="T17" fmla="*/ 3 h 28"/>
                  <a:gd name="T18" fmla="*/ 57 w 67"/>
                  <a:gd name="T19" fmla="*/ 1 h 28"/>
                  <a:gd name="T20" fmla="*/ 46 w 67"/>
                  <a:gd name="T21" fmla="*/ 0 h 28"/>
                  <a:gd name="T22" fmla="*/ 36 w 67"/>
                  <a:gd name="T23" fmla="*/ 1 h 28"/>
                  <a:gd name="T24" fmla="*/ 26 w 67"/>
                  <a:gd name="T25" fmla="*/ 3 h 28"/>
                  <a:gd name="T26" fmla="*/ 17 w 67"/>
                  <a:gd name="T27" fmla="*/ 7 h 28"/>
                  <a:gd name="T28" fmla="*/ 10 w 67"/>
                  <a:gd name="T29" fmla="*/ 12 h 28"/>
                  <a:gd name="T30" fmla="*/ 7 w 67"/>
                  <a:gd name="T31" fmla="*/ 15 h 28"/>
                  <a:gd name="T32" fmla="*/ 4 w 67"/>
                  <a:gd name="T33" fmla="*/ 19 h 28"/>
                  <a:gd name="T34" fmla="*/ 2 w 67"/>
                  <a:gd name="T35" fmla="*/ 22 h 28"/>
                  <a:gd name="T36" fmla="*/ 0 w 67"/>
                  <a:gd name="T37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97" name="Freeform 394">
                <a:extLst>
                  <a:ext uri="{FF2B5EF4-FFF2-40B4-BE49-F238E27FC236}">
                    <a16:creationId xmlns:a16="http://schemas.microsoft.com/office/drawing/2014/main" id="{52ABCE88-B3DC-4C0D-A7B5-ABC5B07042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18 h 36"/>
                  <a:gd name="T2" fmla="*/ 1 w 32"/>
                  <a:gd name="T3" fmla="*/ 24 h 36"/>
                  <a:gd name="T4" fmla="*/ 4 w 32"/>
                  <a:gd name="T5" fmla="*/ 29 h 36"/>
                  <a:gd name="T6" fmla="*/ 6 w 32"/>
                  <a:gd name="T7" fmla="*/ 32 h 36"/>
                  <a:gd name="T8" fmla="*/ 8 w 32"/>
                  <a:gd name="T9" fmla="*/ 34 h 36"/>
                  <a:gd name="T10" fmla="*/ 11 w 32"/>
                  <a:gd name="T11" fmla="*/ 36 h 36"/>
                  <a:gd name="T12" fmla="*/ 13 w 32"/>
                  <a:gd name="T13" fmla="*/ 36 h 36"/>
                  <a:gd name="T14" fmla="*/ 32 w 32"/>
                  <a:gd name="T15" fmla="*/ 36 h 36"/>
                  <a:gd name="T16" fmla="*/ 32 w 32"/>
                  <a:gd name="T17" fmla="*/ 22 h 36"/>
                  <a:gd name="T18" fmla="*/ 31 w 32"/>
                  <a:gd name="T19" fmla="*/ 14 h 36"/>
                  <a:gd name="T20" fmla="*/ 30 w 32"/>
                  <a:gd name="T21" fmla="*/ 7 h 36"/>
                  <a:gd name="T22" fmla="*/ 26 w 32"/>
                  <a:gd name="T23" fmla="*/ 0 h 36"/>
                  <a:gd name="T24" fmla="*/ 19 w 32"/>
                  <a:gd name="T25" fmla="*/ 2 h 36"/>
                  <a:gd name="T26" fmla="*/ 11 w 32"/>
                  <a:gd name="T27" fmla="*/ 7 h 36"/>
                  <a:gd name="T28" fmla="*/ 6 w 32"/>
                  <a:gd name="T29" fmla="*/ 10 h 36"/>
                  <a:gd name="T30" fmla="*/ 3 w 32"/>
                  <a:gd name="T31" fmla="*/ 13 h 36"/>
                  <a:gd name="T32" fmla="*/ 1 w 32"/>
                  <a:gd name="T33" fmla="*/ 16 h 36"/>
                  <a:gd name="T34" fmla="*/ 0 w 32"/>
                  <a:gd name="T35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98" name="Freeform 395">
                <a:extLst>
                  <a:ext uri="{FF2B5EF4-FFF2-40B4-BE49-F238E27FC236}">
                    <a16:creationId xmlns:a16="http://schemas.microsoft.com/office/drawing/2014/main" id="{88AA2B47-3B30-4587-B77C-80698E5D8C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43 h 52"/>
                  <a:gd name="T2" fmla="*/ 11 w 146"/>
                  <a:gd name="T3" fmla="*/ 46 h 52"/>
                  <a:gd name="T4" fmla="*/ 22 w 146"/>
                  <a:gd name="T5" fmla="*/ 48 h 52"/>
                  <a:gd name="T6" fmla="*/ 33 w 146"/>
                  <a:gd name="T7" fmla="*/ 51 h 52"/>
                  <a:gd name="T8" fmla="*/ 43 w 146"/>
                  <a:gd name="T9" fmla="*/ 52 h 52"/>
                  <a:gd name="T10" fmla="*/ 63 w 146"/>
                  <a:gd name="T11" fmla="*/ 52 h 52"/>
                  <a:gd name="T12" fmla="*/ 82 w 146"/>
                  <a:gd name="T13" fmla="*/ 51 h 52"/>
                  <a:gd name="T14" fmla="*/ 117 w 146"/>
                  <a:gd name="T15" fmla="*/ 46 h 52"/>
                  <a:gd name="T16" fmla="*/ 146 w 146"/>
                  <a:gd name="T17" fmla="*/ 43 h 52"/>
                  <a:gd name="T18" fmla="*/ 144 w 146"/>
                  <a:gd name="T19" fmla="*/ 36 h 52"/>
                  <a:gd name="T20" fmla="*/ 142 w 146"/>
                  <a:gd name="T21" fmla="*/ 30 h 52"/>
                  <a:gd name="T22" fmla="*/ 139 w 146"/>
                  <a:gd name="T23" fmla="*/ 24 h 52"/>
                  <a:gd name="T24" fmla="*/ 137 w 146"/>
                  <a:gd name="T25" fmla="*/ 19 h 52"/>
                  <a:gd name="T26" fmla="*/ 134 w 146"/>
                  <a:gd name="T27" fmla="*/ 15 h 52"/>
                  <a:gd name="T28" fmla="*/ 129 w 146"/>
                  <a:gd name="T29" fmla="*/ 11 h 52"/>
                  <a:gd name="T30" fmla="*/ 125 w 146"/>
                  <a:gd name="T31" fmla="*/ 8 h 52"/>
                  <a:gd name="T32" fmla="*/ 121 w 146"/>
                  <a:gd name="T33" fmla="*/ 6 h 52"/>
                  <a:gd name="T34" fmla="*/ 111 w 146"/>
                  <a:gd name="T35" fmla="*/ 2 h 52"/>
                  <a:gd name="T36" fmla="*/ 101 w 146"/>
                  <a:gd name="T37" fmla="*/ 0 h 52"/>
                  <a:gd name="T38" fmla="*/ 89 w 146"/>
                  <a:gd name="T39" fmla="*/ 1 h 52"/>
                  <a:gd name="T40" fmla="*/ 78 w 146"/>
                  <a:gd name="T41" fmla="*/ 2 h 52"/>
                  <a:gd name="T42" fmla="*/ 66 w 146"/>
                  <a:gd name="T43" fmla="*/ 5 h 52"/>
                  <a:gd name="T44" fmla="*/ 54 w 146"/>
                  <a:gd name="T45" fmla="*/ 9 h 52"/>
                  <a:gd name="T46" fmla="*/ 43 w 146"/>
                  <a:gd name="T47" fmla="*/ 14 h 52"/>
                  <a:gd name="T48" fmla="*/ 32 w 146"/>
                  <a:gd name="T49" fmla="*/ 19 h 52"/>
                  <a:gd name="T50" fmla="*/ 22 w 146"/>
                  <a:gd name="T51" fmla="*/ 25 h 52"/>
                  <a:gd name="T52" fmla="*/ 13 w 146"/>
                  <a:gd name="T53" fmla="*/ 31 h 52"/>
                  <a:gd name="T54" fmla="*/ 5 w 146"/>
                  <a:gd name="T55" fmla="*/ 37 h 52"/>
                  <a:gd name="T56" fmla="*/ 0 w 146"/>
                  <a:gd name="T57" fmla="*/ 4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99" name="Freeform 396">
                <a:extLst>
                  <a:ext uri="{FF2B5EF4-FFF2-40B4-BE49-F238E27FC236}">
                    <a16:creationId xmlns:a16="http://schemas.microsoft.com/office/drawing/2014/main" id="{457E7221-41E1-475B-B49B-3690F8F099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60 w 60"/>
                  <a:gd name="T1" fmla="*/ 0 h 31"/>
                  <a:gd name="T2" fmla="*/ 49 w 60"/>
                  <a:gd name="T3" fmla="*/ 0 h 31"/>
                  <a:gd name="T4" fmla="*/ 38 w 60"/>
                  <a:gd name="T5" fmla="*/ 0 h 31"/>
                  <a:gd name="T6" fmla="*/ 31 w 60"/>
                  <a:gd name="T7" fmla="*/ 0 h 31"/>
                  <a:gd name="T8" fmla="*/ 27 w 60"/>
                  <a:gd name="T9" fmla="*/ 0 h 31"/>
                  <a:gd name="T10" fmla="*/ 18 w 60"/>
                  <a:gd name="T11" fmla="*/ 0 h 31"/>
                  <a:gd name="T12" fmla="*/ 9 w 60"/>
                  <a:gd name="T13" fmla="*/ 2 h 31"/>
                  <a:gd name="T14" fmla="*/ 5 w 60"/>
                  <a:gd name="T15" fmla="*/ 3 h 31"/>
                  <a:gd name="T16" fmla="*/ 2 w 60"/>
                  <a:gd name="T17" fmla="*/ 5 h 31"/>
                  <a:gd name="T18" fmla="*/ 1 w 60"/>
                  <a:gd name="T19" fmla="*/ 8 h 31"/>
                  <a:gd name="T20" fmla="*/ 0 w 60"/>
                  <a:gd name="T21" fmla="*/ 12 h 31"/>
                  <a:gd name="T22" fmla="*/ 1 w 60"/>
                  <a:gd name="T23" fmla="*/ 15 h 31"/>
                  <a:gd name="T24" fmla="*/ 2 w 60"/>
                  <a:gd name="T25" fmla="*/ 18 h 31"/>
                  <a:gd name="T26" fmla="*/ 5 w 60"/>
                  <a:gd name="T27" fmla="*/ 22 h 31"/>
                  <a:gd name="T28" fmla="*/ 9 w 60"/>
                  <a:gd name="T29" fmla="*/ 24 h 31"/>
                  <a:gd name="T30" fmla="*/ 12 w 60"/>
                  <a:gd name="T31" fmla="*/ 27 h 31"/>
                  <a:gd name="T32" fmla="*/ 18 w 60"/>
                  <a:gd name="T33" fmla="*/ 29 h 31"/>
                  <a:gd name="T34" fmla="*/ 22 w 60"/>
                  <a:gd name="T35" fmla="*/ 31 h 31"/>
                  <a:gd name="T36" fmla="*/ 27 w 60"/>
                  <a:gd name="T37" fmla="*/ 31 h 31"/>
                  <a:gd name="T38" fmla="*/ 32 w 60"/>
                  <a:gd name="T39" fmla="*/ 30 h 31"/>
                  <a:gd name="T40" fmla="*/ 37 w 60"/>
                  <a:gd name="T41" fmla="*/ 28 h 31"/>
                  <a:gd name="T42" fmla="*/ 43 w 60"/>
                  <a:gd name="T43" fmla="*/ 24 h 31"/>
                  <a:gd name="T44" fmla="*/ 48 w 60"/>
                  <a:gd name="T45" fmla="*/ 18 h 31"/>
                  <a:gd name="T46" fmla="*/ 57 w 60"/>
                  <a:gd name="T47" fmla="*/ 10 h 31"/>
                  <a:gd name="T48" fmla="*/ 60 w 60"/>
                  <a:gd name="T49" fmla="*/ 6 h 31"/>
                  <a:gd name="T50" fmla="*/ 60 w 60"/>
                  <a:gd name="T5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0" name="Freeform 397">
                <a:extLst>
                  <a:ext uri="{FF2B5EF4-FFF2-40B4-BE49-F238E27FC236}">
                    <a16:creationId xmlns:a16="http://schemas.microsoft.com/office/drawing/2014/main" id="{02C038FB-F2D3-4796-B658-A155E78529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43 h 62"/>
                  <a:gd name="T2" fmla="*/ 1 w 80"/>
                  <a:gd name="T3" fmla="*/ 46 h 62"/>
                  <a:gd name="T4" fmla="*/ 1 w 80"/>
                  <a:gd name="T5" fmla="*/ 49 h 62"/>
                  <a:gd name="T6" fmla="*/ 3 w 80"/>
                  <a:gd name="T7" fmla="*/ 51 h 62"/>
                  <a:gd name="T8" fmla="*/ 4 w 80"/>
                  <a:gd name="T9" fmla="*/ 53 h 62"/>
                  <a:gd name="T10" fmla="*/ 10 w 80"/>
                  <a:gd name="T11" fmla="*/ 57 h 62"/>
                  <a:gd name="T12" fmla="*/ 15 w 80"/>
                  <a:gd name="T13" fmla="*/ 59 h 62"/>
                  <a:gd name="T14" fmla="*/ 28 w 80"/>
                  <a:gd name="T15" fmla="*/ 62 h 62"/>
                  <a:gd name="T16" fmla="*/ 40 w 80"/>
                  <a:gd name="T17" fmla="*/ 62 h 62"/>
                  <a:gd name="T18" fmla="*/ 45 w 80"/>
                  <a:gd name="T19" fmla="*/ 62 h 62"/>
                  <a:gd name="T20" fmla="*/ 49 w 80"/>
                  <a:gd name="T21" fmla="*/ 59 h 62"/>
                  <a:gd name="T22" fmla="*/ 54 w 80"/>
                  <a:gd name="T23" fmla="*/ 57 h 62"/>
                  <a:gd name="T24" fmla="*/ 58 w 80"/>
                  <a:gd name="T25" fmla="*/ 54 h 62"/>
                  <a:gd name="T26" fmla="*/ 65 w 80"/>
                  <a:gd name="T27" fmla="*/ 47 h 62"/>
                  <a:gd name="T28" fmla="*/ 70 w 80"/>
                  <a:gd name="T29" fmla="*/ 38 h 62"/>
                  <a:gd name="T30" fmla="*/ 74 w 80"/>
                  <a:gd name="T31" fmla="*/ 28 h 62"/>
                  <a:gd name="T32" fmla="*/ 78 w 80"/>
                  <a:gd name="T33" fmla="*/ 18 h 62"/>
                  <a:gd name="T34" fmla="*/ 79 w 80"/>
                  <a:gd name="T35" fmla="*/ 8 h 62"/>
                  <a:gd name="T36" fmla="*/ 80 w 80"/>
                  <a:gd name="T37" fmla="*/ 0 h 62"/>
                  <a:gd name="T38" fmla="*/ 71 w 80"/>
                  <a:gd name="T39" fmla="*/ 0 h 62"/>
                  <a:gd name="T40" fmla="*/ 59 w 80"/>
                  <a:gd name="T41" fmla="*/ 3 h 62"/>
                  <a:gd name="T42" fmla="*/ 46 w 80"/>
                  <a:gd name="T43" fmla="*/ 8 h 62"/>
                  <a:gd name="T44" fmla="*/ 33 w 80"/>
                  <a:gd name="T45" fmla="*/ 13 h 62"/>
                  <a:gd name="T46" fmla="*/ 21 w 80"/>
                  <a:gd name="T47" fmla="*/ 19 h 62"/>
                  <a:gd name="T48" fmla="*/ 10 w 80"/>
                  <a:gd name="T49" fmla="*/ 26 h 62"/>
                  <a:gd name="T50" fmla="*/ 6 w 80"/>
                  <a:gd name="T51" fmla="*/ 30 h 62"/>
                  <a:gd name="T52" fmla="*/ 3 w 80"/>
                  <a:gd name="T53" fmla="*/ 34 h 62"/>
                  <a:gd name="T54" fmla="*/ 1 w 80"/>
                  <a:gd name="T55" fmla="*/ 39 h 62"/>
                  <a:gd name="T56" fmla="*/ 0 w 80"/>
                  <a:gd name="T57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1" name="Freeform 398">
                <a:extLst>
                  <a:ext uri="{FF2B5EF4-FFF2-40B4-BE49-F238E27FC236}">
                    <a16:creationId xmlns:a16="http://schemas.microsoft.com/office/drawing/2014/main" id="{C35A3B37-9890-4640-8B80-09AF7B868B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80 w 106"/>
                  <a:gd name="T1" fmla="*/ 13 h 49"/>
                  <a:gd name="T2" fmla="*/ 72 w 106"/>
                  <a:gd name="T3" fmla="*/ 12 h 49"/>
                  <a:gd name="T4" fmla="*/ 66 w 106"/>
                  <a:gd name="T5" fmla="*/ 11 h 49"/>
                  <a:gd name="T6" fmla="*/ 59 w 106"/>
                  <a:gd name="T7" fmla="*/ 8 h 49"/>
                  <a:gd name="T8" fmla="*/ 53 w 106"/>
                  <a:gd name="T9" fmla="*/ 6 h 49"/>
                  <a:gd name="T10" fmla="*/ 47 w 106"/>
                  <a:gd name="T11" fmla="*/ 4 h 49"/>
                  <a:gd name="T12" fmla="*/ 41 w 106"/>
                  <a:gd name="T13" fmla="*/ 2 h 49"/>
                  <a:gd name="T14" fmla="*/ 34 w 106"/>
                  <a:gd name="T15" fmla="*/ 0 h 49"/>
                  <a:gd name="T16" fmla="*/ 26 w 106"/>
                  <a:gd name="T17" fmla="*/ 0 h 49"/>
                  <a:gd name="T18" fmla="*/ 15 w 106"/>
                  <a:gd name="T19" fmla="*/ 0 h 49"/>
                  <a:gd name="T20" fmla="*/ 0 w 106"/>
                  <a:gd name="T21" fmla="*/ 0 h 49"/>
                  <a:gd name="T22" fmla="*/ 9 w 106"/>
                  <a:gd name="T23" fmla="*/ 11 h 49"/>
                  <a:gd name="T24" fmla="*/ 17 w 106"/>
                  <a:gd name="T25" fmla="*/ 21 h 49"/>
                  <a:gd name="T26" fmla="*/ 26 w 106"/>
                  <a:gd name="T27" fmla="*/ 29 h 49"/>
                  <a:gd name="T28" fmla="*/ 34 w 106"/>
                  <a:gd name="T29" fmla="*/ 36 h 49"/>
                  <a:gd name="T30" fmla="*/ 42 w 106"/>
                  <a:gd name="T31" fmla="*/ 42 h 49"/>
                  <a:gd name="T32" fmla="*/ 52 w 106"/>
                  <a:gd name="T33" fmla="*/ 46 h 49"/>
                  <a:gd name="T34" fmla="*/ 61 w 106"/>
                  <a:gd name="T35" fmla="*/ 48 h 49"/>
                  <a:gd name="T36" fmla="*/ 72 w 106"/>
                  <a:gd name="T37" fmla="*/ 49 h 49"/>
                  <a:gd name="T38" fmla="*/ 79 w 106"/>
                  <a:gd name="T39" fmla="*/ 48 h 49"/>
                  <a:gd name="T40" fmla="*/ 87 w 106"/>
                  <a:gd name="T41" fmla="*/ 45 h 49"/>
                  <a:gd name="T42" fmla="*/ 97 w 106"/>
                  <a:gd name="T43" fmla="*/ 39 h 49"/>
                  <a:gd name="T44" fmla="*/ 106 w 106"/>
                  <a:gd name="T45" fmla="*/ 31 h 49"/>
                  <a:gd name="T46" fmla="*/ 101 w 106"/>
                  <a:gd name="T47" fmla="*/ 30 h 49"/>
                  <a:gd name="T48" fmla="*/ 98 w 106"/>
                  <a:gd name="T49" fmla="*/ 28 h 49"/>
                  <a:gd name="T50" fmla="*/ 93 w 106"/>
                  <a:gd name="T51" fmla="*/ 25 h 49"/>
                  <a:gd name="T52" fmla="*/ 90 w 106"/>
                  <a:gd name="T53" fmla="*/ 22 h 49"/>
                  <a:gd name="T54" fmla="*/ 88 w 106"/>
                  <a:gd name="T55" fmla="*/ 19 h 49"/>
                  <a:gd name="T56" fmla="*/ 84 w 106"/>
                  <a:gd name="T57" fmla="*/ 16 h 49"/>
                  <a:gd name="T58" fmla="*/ 82 w 106"/>
                  <a:gd name="T59" fmla="*/ 14 h 49"/>
                  <a:gd name="T60" fmla="*/ 80 w 106"/>
                  <a:gd name="T61" fmla="*/ 1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2" name="Freeform 399">
                <a:extLst>
                  <a:ext uri="{FF2B5EF4-FFF2-40B4-BE49-F238E27FC236}">
                    <a16:creationId xmlns:a16="http://schemas.microsoft.com/office/drawing/2014/main" id="{E5E77C06-795D-4316-88D7-6D888A0DF5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19 h 22"/>
                  <a:gd name="T2" fmla="*/ 5 w 47"/>
                  <a:gd name="T3" fmla="*/ 21 h 22"/>
                  <a:gd name="T4" fmla="*/ 12 w 47"/>
                  <a:gd name="T5" fmla="*/ 22 h 22"/>
                  <a:gd name="T6" fmla="*/ 18 w 47"/>
                  <a:gd name="T7" fmla="*/ 22 h 22"/>
                  <a:gd name="T8" fmla="*/ 26 w 47"/>
                  <a:gd name="T9" fmla="*/ 21 h 22"/>
                  <a:gd name="T10" fmla="*/ 33 w 47"/>
                  <a:gd name="T11" fmla="*/ 19 h 22"/>
                  <a:gd name="T12" fmla="*/ 38 w 47"/>
                  <a:gd name="T13" fmla="*/ 15 h 22"/>
                  <a:gd name="T14" fmla="*/ 41 w 47"/>
                  <a:gd name="T15" fmla="*/ 12 h 22"/>
                  <a:gd name="T16" fmla="*/ 44 w 47"/>
                  <a:gd name="T17" fmla="*/ 9 h 22"/>
                  <a:gd name="T18" fmla="*/ 45 w 47"/>
                  <a:gd name="T19" fmla="*/ 5 h 22"/>
                  <a:gd name="T20" fmla="*/ 47 w 47"/>
                  <a:gd name="T21" fmla="*/ 0 h 22"/>
                  <a:gd name="T22" fmla="*/ 0 w 47"/>
                  <a:gd name="T23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3" name="Freeform 400">
                <a:extLst>
                  <a:ext uri="{FF2B5EF4-FFF2-40B4-BE49-F238E27FC236}">
                    <a16:creationId xmlns:a16="http://schemas.microsoft.com/office/drawing/2014/main" id="{FCA1CACC-85C4-4224-9EFD-76C20C2351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53 w 53"/>
                  <a:gd name="T1" fmla="*/ 0 h 32"/>
                  <a:gd name="T2" fmla="*/ 37 w 53"/>
                  <a:gd name="T3" fmla="*/ 9 h 32"/>
                  <a:gd name="T4" fmla="*/ 23 w 53"/>
                  <a:gd name="T5" fmla="*/ 18 h 32"/>
                  <a:gd name="T6" fmla="*/ 11 w 53"/>
                  <a:gd name="T7" fmla="*/ 26 h 32"/>
                  <a:gd name="T8" fmla="*/ 0 w 53"/>
                  <a:gd name="T9" fmla="*/ 32 h 32"/>
                  <a:gd name="T10" fmla="*/ 13 w 53"/>
                  <a:gd name="T11" fmla="*/ 32 h 32"/>
                  <a:gd name="T12" fmla="*/ 26 w 53"/>
                  <a:gd name="T13" fmla="*/ 32 h 32"/>
                  <a:gd name="T14" fmla="*/ 39 w 53"/>
                  <a:gd name="T15" fmla="*/ 32 h 32"/>
                  <a:gd name="T16" fmla="*/ 53 w 53"/>
                  <a:gd name="T17" fmla="*/ 32 h 32"/>
                  <a:gd name="T18" fmla="*/ 53 w 53"/>
                  <a:gd name="T19" fmla="*/ 24 h 32"/>
                  <a:gd name="T20" fmla="*/ 53 w 53"/>
                  <a:gd name="T21" fmla="*/ 16 h 32"/>
                  <a:gd name="T22" fmla="*/ 53 w 53"/>
                  <a:gd name="T23" fmla="*/ 9 h 32"/>
                  <a:gd name="T24" fmla="*/ 53 w 53"/>
                  <a:gd name="T2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4" name="Freeform 401">
                <a:extLst>
                  <a:ext uri="{FF2B5EF4-FFF2-40B4-BE49-F238E27FC236}">
                    <a16:creationId xmlns:a16="http://schemas.microsoft.com/office/drawing/2014/main" id="{E8CDC39D-DA70-41BB-B40B-A647EC142D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27 w 46"/>
                  <a:gd name="T1" fmla="*/ 3 h 34"/>
                  <a:gd name="T2" fmla="*/ 0 w 46"/>
                  <a:gd name="T3" fmla="*/ 16 h 34"/>
                  <a:gd name="T4" fmla="*/ 0 w 46"/>
                  <a:gd name="T5" fmla="*/ 34 h 34"/>
                  <a:gd name="T6" fmla="*/ 27 w 46"/>
                  <a:gd name="T7" fmla="*/ 34 h 34"/>
                  <a:gd name="T8" fmla="*/ 31 w 46"/>
                  <a:gd name="T9" fmla="*/ 32 h 34"/>
                  <a:gd name="T10" fmla="*/ 35 w 46"/>
                  <a:gd name="T11" fmla="*/ 28 h 34"/>
                  <a:gd name="T12" fmla="*/ 39 w 46"/>
                  <a:gd name="T13" fmla="*/ 25 h 34"/>
                  <a:gd name="T14" fmla="*/ 42 w 46"/>
                  <a:gd name="T15" fmla="*/ 21 h 34"/>
                  <a:gd name="T16" fmla="*/ 44 w 46"/>
                  <a:gd name="T17" fmla="*/ 17 h 34"/>
                  <a:gd name="T18" fmla="*/ 45 w 46"/>
                  <a:gd name="T19" fmla="*/ 13 h 34"/>
                  <a:gd name="T20" fmla="*/ 46 w 46"/>
                  <a:gd name="T21" fmla="*/ 8 h 34"/>
                  <a:gd name="T22" fmla="*/ 46 w 46"/>
                  <a:gd name="T23" fmla="*/ 3 h 34"/>
                  <a:gd name="T24" fmla="*/ 46 w 46"/>
                  <a:gd name="T25" fmla="*/ 1 h 34"/>
                  <a:gd name="T26" fmla="*/ 44 w 46"/>
                  <a:gd name="T27" fmla="*/ 0 h 34"/>
                  <a:gd name="T28" fmla="*/ 42 w 46"/>
                  <a:gd name="T29" fmla="*/ 0 h 34"/>
                  <a:gd name="T30" fmla="*/ 39 w 46"/>
                  <a:gd name="T31" fmla="*/ 0 h 34"/>
                  <a:gd name="T32" fmla="*/ 32 w 46"/>
                  <a:gd name="T33" fmla="*/ 2 h 34"/>
                  <a:gd name="T34" fmla="*/ 27 w 46"/>
                  <a:gd name="T35" fmla="*/ 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5" name="Freeform 402">
                <a:extLst>
                  <a:ext uri="{FF2B5EF4-FFF2-40B4-BE49-F238E27FC236}">
                    <a16:creationId xmlns:a16="http://schemas.microsoft.com/office/drawing/2014/main" id="{38B7BB16-061B-41FB-AF90-D8643B00FC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25 h 25"/>
                  <a:gd name="T2" fmla="*/ 14 w 48"/>
                  <a:gd name="T3" fmla="*/ 25 h 25"/>
                  <a:gd name="T4" fmla="*/ 28 w 48"/>
                  <a:gd name="T5" fmla="*/ 25 h 25"/>
                  <a:gd name="T6" fmla="*/ 30 w 48"/>
                  <a:gd name="T7" fmla="*/ 24 h 25"/>
                  <a:gd name="T8" fmla="*/ 33 w 48"/>
                  <a:gd name="T9" fmla="*/ 22 h 25"/>
                  <a:gd name="T10" fmla="*/ 37 w 48"/>
                  <a:gd name="T11" fmla="*/ 18 h 25"/>
                  <a:gd name="T12" fmla="*/ 40 w 48"/>
                  <a:gd name="T13" fmla="*/ 15 h 25"/>
                  <a:gd name="T14" fmla="*/ 45 w 48"/>
                  <a:gd name="T15" fmla="*/ 7 h 25"/>
                  <a:gd name="T16" fmla="*/ 48 w 48"/>
                  <a:gd name="T17" fmla="*/ 0 h 25"/>
                  <a:gd name="T18" fmla="*/ 40 w 48"/>
                  <a:gd name="T19" fmla="*/ 1 h 25"/>
                  <a:gd name="T20" fmla="*/ 33 w 48"/>
                  <a:gd name="T21" fmla="*/ 2 h 25"/>
                  <a:gd name="T22" fmla="*/ 28 w 48"/>
                  <a:gd name="T23" fmla="*/ 5 h 25"/>
                  <a:gd name="T24" fmla="*/ 21 w 48"/>
                  <a:gd name="T25" fmla="*/ 8 h 25"/>
                  <a:gd name="T26" fmla="*/ 11 w 48"/>
                  <a:gd name="T27" fmla="*/ 16 h 25"/>
                  <a:gd name="T28" fmla="*/ 0 w 48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6" name="Freeform 403">
                <a:extLst>
                  <a:ext uri="{FF2B5EF4-FFF2-40B4-BE49-F238E27FC236}">
                    <a16:creationId xmlns:a16="http://schemas.microsoft.com/office/drawing/2014/main" id="{89E97B34-363A-4F07-9F84-D7BAC2A106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37 h 37"/>
                  <a:gd name="T4" fmla="*/ 11 w 30"/>
                  <a:gd name="T5" fmla="*/ 36 h 37"/>
                  <a:gd name="T6" fmla="*/ 20 w 30"/>
                  <a:gd name="T7" fmla="*/ 34 h 37"/>
                  <a:gd name="T8" fmla="*/ 22 w 30"/>
                  <a:gd name="T9" fmla="*/ 33 h 37"/>
                  <a:gd name="T10" fmla="*/ 26 w 30"/>
                  <a:gd name="T11" fmla="*/ 32 h 37"/>
                  <a:gd name="T12" fmla="*/ 28 w 30"/>
                  <a:gd name="T13" fmla="*/ 30 h 37"/>
                  <a:gd name="T14" fmla="*/ 29 w 30"/>
                  <a:gd name="T15" fmla="*/ 28 h 37"/>
                  <a:gd name="T16" fmla="*/ 30 w 30"/>
                  <a:gd name="T17" fmla="*/ 23 h 37"/>
                  <a:gd name="T18" fmla="*/ 30 w 30"/>
                  <a:gd name="T19" fmla="*/ 16 h 37"/>
                  <a:gd name="T20" fmla="*/ 29 w 30"/>
                  <a:gd name="T21" fmla="*/ 9 h 37"/>
                  <a:gd name="T22" fmla="*/ 27 w 30"/>
                  <a:gd name="T23" fmla="*/ 0 h 37"/>
                  <a:gd name="T24" fmla="*/ 0 w 30"/>
                  <a:gd name="T2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7" name="Freeform 404">
                <a:extLst>
                  <a:ext uri="{FF2B5EF4-FFF2-40B4-BE49-F238E27FC236}">
                    <a16:creationId xmlns:a16="http://schemas.microsoft.com/office/drawing/2014/main" id="{39BE5823-391B-42D6-A054-B27BC052C4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33 w 113"/>
                  <a:gd name="T1" fmla="*/ 3 h 46"/>
                  <a:gd name="T2" fmla="*/ 22 w 113"/>
                  <a:gd name="T3" fmla="*/ 3 h 46"/>
                  <a:gd name="T4" fmla="*/ 12 w 113"/>
                  <a:gd name="T5" fmla="*/ 5 h 46"/>
                  <a:gd name="T6" fmla="*/ 7 w 113"/>
                  <a:gd name="T7" fmla="*/ 7 h 46"/>
                  <a:gd name="T8" fmla="*/ 3 w 113"/>
                  <a:gd name="T9" fmla="*/ 11 h 46"/>
                  <a:gd name="T10" fmla="*/ 1 w 113"/>
                  <a:gd name="T11" fmla="*/ 15 h 46"/>
                  <a:gd name="T12" fmla="*/ 0 w 113"/>
                  <a:gd name="T13" fmla="*/ 21 h 46"/>
                  <a:gd name="T14" fmla="*/ 6 w 113"/>
                  <a:gd name="T15" fmla="*/ 27 h 46"/>
                  <a:gd name="T16" fmla="*/ 10 w 113"/>
                  <a:gd name="T17" fmla="*/ 33 h 46"/>
                  <a:gd name="T18" fmla="*/ 16 w 113"/>
                  <a:gd name="T19" fmla="*/ 37 h 46"/>
                  <a:gd name="T20" fmla="*/ 20 w 113"/>
                  <a:gd name="T21" fmla="*/ 41 h 46"/>
                  <a:gd name="T22" fmla="*/ 25 w 113"/>
                  <a:gd name="T23" fmla="*/ 43 h 46"/>
                  <a:gd name="T24" fmla="*/ 30 w 113"/>
                  <a:gd name="T25" fmla="*/ 45 h 46"/>
                  <a:gd name="T26" fmla="*/ 35 w 113"/>
                  <a:gd name="T27" fmla="*/ 46 h 46"/>
                  <a:gd name="T28" fmla="*/ 40 w 113"/>
                  <a:gd name="T29" fmla="*/ 46 h 46"/>
                  <a:gd name="T30" fmla="*/ 56 w 113"/>
                  <a:gd name="T31" fmla="*/ 46 h 46"/>
                  <a:gd name="T32" fmla="*/ 70 w 113"/>
                  <a:gd name="T33" fmla="*/ 43 h 46"/>
                  <a:gd name="T34" fmla="*/ 76 w 113"/>
                  <a:gd name="T35" fmla="*/ 41 h 46"/>
                  <a:gd name="T36" fmla="*/ 81 w 113"/>
                  <a:gd name="T37" fmla="*/ 38 h 46"/>
                  <a:gd name="T38" fmla="*/ 87 w 113"/>
                  <a:gd name="T39" fmla="*/ 36 h 46"/>
                  <a:gd name="T40" fmla="*/ 91 w 113"/>
                  <a:gd name="T41" fmla="*/ 33 h 46"/>
                  <a:gd name="T42" fmla="*/ 99 w 113"/>
                  <a:gd name="T43" fmla="*/ 27 h 46"/>
                  <a:gd name="T44" fmla="*/ 106 w 113"/>
                  <a:gd name="T45" fmla="*/ 20 h 46"/>
                  <a:gd name="T46" fmla="*/ 110 w 113"/>
                  <a:gd name="T47" fmla="*/ 12 h 46"/>
                  <a:gd name="T48" fmla="*/ 113 w 113"/>
                  <a:gd name="T49" fmla="*/ 3 h 46"/>
                  <a:gd name="T50" fmla="*/ 99 w 113"/>
                  <a:gd name="T51" fmla="*/ 1 h 46"/>
                  <a:gd name="T52" fmla="*/ 87 w 113"/>
                  <a:gd name="T53" fmla="*/ 0 h 46"/>
                  <a:gd name="T54" fmla="*/ 76 w 113"/>
                  <a:gd name="T55" fmla="*/ 0 h 46"/>
                  <a:gd name="T56" fmla="*/ 66 w 113"/>
                  <a:gd name="T57" fmla="*/ 1 h 46"/>
                  <a:gd name="T58" fmla="*/ 48 w 113"/>
                  <a:gd name="T59" fmla="*/ 2 h 46"/>
                  <a:gd name="T60" fmla="*/ 33 w 113"/>
                  <a:gd name="T61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8" name="Freeform 405">
                <a:extLst>
                  <a:ext uri="{FF2B5EF4-FFF2-40B4-BE49-F238E27FC236}">
                    <a16:creationId xmlns:a16="http://schemas.microsoft.com/office/drawing/2014/main" id="{38041763-1986-4C55-BC44-C041304237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79 h 82"/>
                  <a:gd name="T2" fmla="*/ 2 w 153"/>
                  <a:gd name="T3" fmla="*/ 81 h 82"/>
                  <a:gd name="T4" fmla="*/ 6 w 153"/>
                  <a:gd name="T5" fmla="*/ 82 h 82"/>
                  <a:gd name="T6" fmla="*/ 10 w 153"/>
                  <a:gd name="T7" fmla="*/ 82 h 82"/>
                  <a:gd name="T8" fmla="*/ 14 w 153"/>
                  <a:gd name="T9" fmla="*/ 82 h 82"/>
                  <a:gd name="T10" fmla="*/ 23 w 153"/>
                  <a:gd name="T11" fmla="*/ 80 h 82"/>
                  <a:gd name="T12" fmla="*/ 33 w 153"/>
                  <a:gd name="T13" fmla="*/ 79 h 82"/>
                  <a:gd name="T14" fmla="*/ 40 w 153"/>
                  <a:gd name="T15" fmla="*/ 79 h 82"/>
                  <a:gd name="T16" fmla="*/ 47 w 153"/>
                  <a:gd name="T17" fmla="*/ 78 h 82"/>
                  <a:gd name="T18" fmla="*/ 56 w 153"/>
                  <a:gd name="T19" fmla="*/ 76 h 82"/>
                  <a:gd name="T20" fmla="*/ 65 w 153"/>
                  <a:gd name="T21" fmla="*/ 74 h 82"/>
                  <a:gd name="T22" fmla="*/ 83 w 153"/>
                  <a:gd name="T23" fmla="*/ 68 h 82"/>
                  <a:gd name="T24" fmla="*/ 103 w 153"/>
                  <a:gd name="T25" fmla="*/ 59 h 82"/>
                  <a:gd name="T26" fmla="*/ 112 w 153"/>
                  <a:gd name="T27" fmla="*/ 54 h 82"/>
                  <a:gd name="T28" fmla="*/ 121 w 153"/>
                  <a:gd name="T29" fmla="*/ 49 h 82"/>
                  <a:gd name="T30" fmla="*/ 129 w 153"/>
                  <a:gd name="T31" fmla="*/ 43 h 82"/>
                  <a:gd name="T32" fmla="*/ 136 w 153"/>
                  <a:gd name="T33" fmla="*/ 38 h 82"/>
                  <a:gd name="T34" fmla="*/ 142 w 153"/>
                  <a:gd name="T35" fmla="*/ 32 h 82"/>
                  <a:gd name="T36" fmla="*/ 147 w 153"/>
                  <a:gd name="T37" fmla="*/ 25 h 82"/>
                  <a:gd name="T38" fmla="*/ 150 w 153"/>
                  <a:gd name="T39" fmla="*/ 19 h 82"/>
                  <a:gd name="T40" fmla="*/ 153 w 153"/>
                  <a:gd name="T41" fmla="*/ 12 h 82"/>
                  <a:gd name="T42" fmla="*/ 134 w 153"/>
                  <a:gd name="T43" fmla="*/ 8 h 82"/>
                  <a:gd name="T44" fmla="*/ 115 w 153"/>
                  <a:gd name="T45" fmla="*/ 3 h 82"/>
                  <a:gd name="T46" fmla="*/ 96 w 153"/>
                  <a:gd name="T47" fmla="*/ 1 h 82"/>
                  <a:gd name="T48" fmla="*/ 77 w 153"/>
                  <a:gd name="T49" fmla="*/ 0 h 82"/>
                  <a:gd name="T50" fmla="*/ 68 w 153"/>
                  <a:gd name="T51" fmla="*/ 1 h 82"/>
                  <a:gd name="T52" fmla="*/ 60 w 153"/>
                  <a:gd name="T53" fmla="*/ 1 h 82"/>
                  <a:gd name="T54" fmla="*/ 52 w 153"/>
                  <a:gd name="T55" fmla="*/ 2 h 82"/>
                  <a:gd name="T56" fmla="*/ 45 w 153"/>
                  <a:gd name="T57" fmla="*/ 4 h 82"/>
                  <a:gd name="T58" fmla="*/ 38 w 153"/>
                  <a:gd name="T59" fmla="*/ 7 h 82"/>
                  <a:gd name="T60" fmla="*/ 34 w 153"/>
                  <a:gd name="T61" fmla="*/ 10 h 82"/>
                  <a:gd name="T62" fmla="*/ 30 w 153"/>
                  <a:gd name="T63" fmla="*/ 14 h 82"/>
                  <a:gd name="T64" fmla="*/ 26 w 153"/>
                  <a:gd name="T65" fmla="*/ 18 h 82"/>
                  <a:gd name="T66" fmla="*/ 32 w 153"/>
                  <a:gd name="T67" fmla="*/ 23 h 82"/>
                  <a:gd name="T68" fmla="*/ 36 w 153"/>
                  <a:gd name="T69" fmla="*/ 29 h 82"/>
                  <a:gd name="T70" fmla="*/ 38 w 153"/>
                  <a:gd name="T71" fmla="*/ 32 h 82"/>
                  <a:gd name="T72" fmla="*/ 42 w 153"/>
                  <a:gd name="T73" fmla="*/ 34 h 82"/>
                  <a:gd name="T74" fmla="*/ 44 w 153"/>
                  <a:gd name="T75" fmla="*/ 36 h 82"/>
                  <a:gd name="T76" fmla="*/ 46 w 153"/>
                  <a:gd name="T77" fmla="*/ 36 h 82"/>
                  <a:gd name="T78" fmla="*/ 40 w 153"/>
                  <a:gd name="T79" fmla="*/ 41 h 82"/>
                  <a:gd name="T80" fmla="*/ 33 w 153"/>
                  <a:gd name="T81" fmla="*/ 46 h 82"/>
                  <a:gd name="T82" fmla="*/ 29 w 153"/>
                  <a:gd name="T83" fmla="*/ 52 h 82"/>
                  <a:gd name="T84" fmla="*/ 23 w 153"/>
                  <a:gd name="T85" fmla="*/ 57 h 82"/>
                  <a:gd name="T86" fmla="*/ 18 w 153"/>
                  <a:gd name="T87" fmla="*/ 64 h 82"/>
                  <a:gd name="T88" fmla="*/ 13 w 153"/>
                  <a:gd name="T89" fmla="*/ 69 h 82"/>
                  <a:gd name="T90" fmla="*/ 7 w 153"/>
                  <a:gd name="T91" fmla="*/ 75 h 82"/>
                  <a:gd name="T92" fmla="*/ 0 w 153"/>
                  <a:gd name="T93" fmla="*/ 7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09" name="Freeform 406">
                <a:extLst>
                  <a:ext uri="{FF2B5EF4-FFF2-40B4-BE49-F238E27FC236}">
                    <a16:creationId xmlns:a16="http://schemas.microsoft.com/office/drawing/2014/main" id="{4871A148-F122-4AD2-9E5E-A6498564CC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37 h 50"/>
                  <a:gd name="T2" fmla="*/ 5 w 86"/>
                  <a:gd name="T3" fmla="*/ 41 h 50"/>
                  <a:gd name="T4" fmla="*/ 11 w 86"/>
                  <a:gd name="T5" fmla="*/ 44 h 50"/>
                  <a:gd name="T6" fmla="*/ 16 w 86"/>
                  <a:gd name="T7" fmla="*/ 47 h 50"/>
                  <a:gd name="T8" fmla="*/ 23 w 86"/>
                  <a:gd name="T9" fmla="*/ 48 h 50"/>
                  <a:gd name="T10" fmla="*/ 35 w 86"/>
                  <a:gd name="T11" fmla="*/ 49 h 50"/>
                  <a:gd name="T12" fmla="*/ 46 w 86"/>
                  <a:gd name="T13" fmla="*/ 50 h 50"/>
                  <a:gd name="T14" fmla="*/ 58 w 86"/>
                  <a:gd name="T15" fmla="*/ 49 h 50"/>
                  <a:gd name="T16" fmla="*/ 67 w 86"/>
                  <a:gd name="T17" fmla="*/ 48 h 50"/>
                  <a:gd name="T18" fmla="*/ 73 w 86"/>
                  <a:gd name="T19" fmla="*/ 47 h 50"/>
                  <a:gd name="T20" fmla="*/ 79 w 86"/>
                  <a:gd name="T21" fmla="*/ 44 h 50"/>
                  <a:gd name="T22" fmla="*/ 82 w 86"/>
                  <a:gd name="T23" fmla="*/ 41 h 50"/>
                  <a:gd name="T24" fmla="*/ 84 w 86"/>
                  <a:gd name="T25" fmla="*/ 37 h 50"/>
                  <a:gd name="T26" fmla="*/ 85 w 86"/>
                  <a:gd name="T27" fmla="*/ 32 h 50"/>
                  <a:gd name="T28" fmla="*/ 86 w 86"/>
                  <a:gd name="T29" fmla="*/ 25 h 50"/>
                  <a:gd name="T30" fmla="*/ 85 w 86"/>
                  <a:gd name="T31" fmla="*/ 17 h 50"/>
                  <a:gd name="T32" fmla="*/ 84 w 86"/>
                  <a:gd name="T33" fmla="*/ 10 h 50"/>
                  <a:gd name="T34" fmla="*/ 83 w 86"/>
                  <a:gd name="T35" fmla="*/ 7 h 50"/>
                  <a:gd name="T36" fmla="*/ 81 w 86"/>
                  <a:gd name="T37" fmla="*/ 5 h 50"/>
                  <a:gd name="T38" fmla="*/ 77 w 86"/>
                  <a:gd name="T39" fmla="*/ 2 h 50"/>
                  <a:gd name="T40" fmla="*/ 73 w 86"/>
                  <a:gd name="T41" fmla="*/ 0 h 50"/>
                  <a:gd name="T42" fmla="*/ 0 w 86"/>
                  <a:gd name="T43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0" name="Freeform 407">
                <a:extLst>
                  <a:ext uri="{FF2B5EF4-FFF2-40B4-BE49-F238E27FC236}">
                    <a16:creationId xmlns:a16="http://schemas.microsoft.com/office/drawing/2014/main" id="{D82AE5D7-7DD1-45C4-A4AF-743AEACF31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19 w 172"/>
                  <a:gd name="T1" fmla="*/ 61 h 74"/>
                  <a:gd name="T2" fmla="*/ 109 w 172"/>
                  <a:gd name="T3" fmla="*/ 61 h 74"/>
                  <a:gd name="T4" fmla="*/ 99 w 172"/>
                  <a:gd name="T5" fmla="*/ 61 h 74"/>
                  <a:gd name="T6" fmla="*/ 90 w 172"/>
                  <a:gd name="T7" fmla="*/ 61 h 74"/>
                  <a:gd name="T8" fmla="*/ 80 w 172"/>
                  <a:gd name="T9" fmla="*/ 61 h 74"/>
                  <a:gd name="T10" fmla="*/ 60 w 172"/>
                  <a:gd name="T11" fmla="*/ 74 h 74"/>
                  <a:gd name="T12" fmla="*/ 33 w 172"/>
                  <a:gd name="T13" fmla="*/ 74 h 74"/>
                  <a:gd name="T14" fmla="*/ 36 w 172"/>
                  <a:gd name="T15" fmla="*/ 61 h 74"/>
                  <a:gd name="T16" fmla="*/ 39 w 172"/>
                  <a:gd name="T17" fmla="*/ 49 h 74"/>
                  <a:gd name="T18" fmla="*/ 30 w 172"/>
                  <a:gd name="T19" fmla="*/ 49 h 74"/>
                  <a:gd name="T20" fmla="*/ 23 w 172"/>
                  <a:gd name="T21" fmla="*/ 48 h 74"/>
                  <a:gd name="T22" fmla="*/ 15 w 172"/>
                  <a:gd name="T23" fmla="*/ 47 h 74"/>
                  <a:gd name="T24" fmla="*/ 9 w 172"/>
                  <a:gd name="T25" fmla="*/ 45 h 74"/>
                  <a:gd name="T26" fmla="*/ 5 w 172"/>
                  <a:gd name="T27" fmla="*/ 42 h 74"/>
                  <a:gd name="T28" fmla="*/ 2 w 172"/>
                  <a:gd name="T29" fmla="*/ 39 h 74"/>
                  <a:gd name="T30" fmla="*/ 1 w 172"/>
                  <a:gd name="T31" fmla="*/ 35 h 74"/>
                  <a:gd name="T32" fmla="*/ 0 w 172"/>
                  <a:gd name="T33" fmla="*/ 31 h 74"/>
                  <a:gd name="T34" fmla="*/ 1 w 172"/>
                  <a:gd name="T35" fmla="*/ 26 h 74"/>
                  <a:gd name="T36" fmla="*/ 2 w 172"/>
                  <a:gd name="T37" fmla="*/ 21 h 74"/>
                  <a:gd name="T38" fmla="*/ 5 w 172"/>
                  <a:gd name="T39" fmla="*/ 17 h 74"/>
                  <a:gd name="T40" fmla="*/ 8 w 172"/>
                  <a:gd name="T41" fmla="*/ 14 h 74"/>
                  <a:gd name="T42" fmla="*/ 13 w 172"/>
                  <a:gd name="T43" fmla="*/ 10 h 74"/>
                  <a:gd name="T44" fmla="*/ 18 w 172"/>
                  <a:gd name="T45" fmla="*/ 7 h 74"/>
                  <a:gd name="T46" fmla="*/ 24 w 172"/>
                  <a:gd name="T47" fmla="*/ 5 h 74"/>
                  <a:gd name="T48" fmla="*/ 29 w 172"/>
                  <a:gd name="T49" fmla="*/ 4 h 74"/>
                  <a:gd name="T50" fmla="*/ 42 w 172"/>
                  <a:gd name="T51" fmla="*/ 1 h 74"/>
                  <a:gd name="T52" fmla="*/ 56 w 172"/>
                  <a:gd name="T53" fmla="*/ 0 h 74"/>
                  <a:gd name="T54" fmla="*/ 69 w 172"/>
                  <a:gd name="T55" fmla="*/ 0 h 74"/>
                  <a:gd name="T56" fmla="*/ 80 w 172"/>
                  <a:gd name="T57" fmla="*/ 0 h 74"/>
                  <a:gd name="T58" fmla="*/ 94 w 172"/>
                  <a:gd name="T59" fmla="*/ 1 h 74"/>
                  <a:gd name="T60" fmla="*/ 106 w 172"/>
                  <a:gd name="T61" fmla="*/ 4 h 74"/>
                  <a:gd name="T62" fmla="*/ 117 w 172"/>
                  <a:gd name="T63" fmla="*/ 7 h 74"/>
                  <a:gd name="T64" fmla="*/ 128 w 172"/>
                  <a:gd name="T65" fmla="*/ 13 h 74"/>
                  <a:gd name="T66" fmla="*/ 139 w 172"/>
                  <a:gd name="T67" fmla="*/ 17 h 74"/>
                  <a:gd name="T68" fmla="*/ 150 w 172"/>
                  <a:gd name="T69" fmla="*/ 21 h 74"/>
                  <a:gd name="T70" fmla="*/ 161 w 172"/>
                  <a:gd name="T71" fmla="*/ 24 h 74"/>
                  <a:gd name="T72" fmla="*/ 172 w 172"/>
                  <a:gd name="T73" fmla="*/ 25 h 74"/>
                  <a:gd name="T74" fmla="*/ 172 w 172"/>
                  <a:gd name="T75" fmla="*/ 43 h 74"/>
                  <a:gd name="T76" fmla="*/ 169 w 172"/>
                  <a:gd name="T77" fmla="*/ 48 h 74"/>
                  <a:gd name="T78" fmla="*/ 165 w 172"/>
                  <a:gd name="T79" fmla="*/ 53 h 74"/>
                  <a:gd name="T80" fmla="*/ 161 w 172"/>
                  <a:gd name="T81" fmla="*/ 57 h 74"/>
                  <a:gd name="T82" fmla="*/ 158 w 172"/>
                  <a:gd name="T83" fmla="*/ 60 h 74"/>
                  <a:gd name="T84" fmla="*/ 153 w 172"/>
                  <a:gd name="T85" fmla="*/ 62 h 74"/>
                  <a:gd name="T86" fmla="*/ 149 w 172"/>
                  <a:gd name="T87" fmla="*/ 63 h 74"/>
                  <a:gd name="T88" fmla="*/ 146 w 172"/>
                  <a:gd name="T89" fmla="*/ 65 h 74"/>
                  <a:gd name="T90" fmla="*/ 141 w 172"/>
                  <a:gd name="T91" fmla="*/ 65 h 74"/>
                  <a:gd name="T92" fmla="*/ 131 w 172"/>
                  <a:gd name="T93" fmla="*/ 65 h 74"/>
                  <a:gd name="T94" fmla="*/ 121 w 172"/>
                  <a:gd name="T95" fmla="*/ 63 h 74"/>
                  <a:gd name="T96" fmla="*/ 112 w 172"/>
                  <a:gd name="T97" fmla="*/ 59 h 74"/>
                  <a:gd name="T98" fmla="*/ 99 w 172"/>
                  <a:gd name="T99" fmla="*/ 55 h 74"/>
                  <a:gd name="T100" fmla="*/ 106 w 172"/>
                  <a:gd name="T101" fmla="*/ 55 h 74"/>
                  <a:gd name="T102" fmla="*/ 119 w 172"/>
                  <a:gd name="T103" fmla="*/ 6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1" name="Freeform 408">
                <a:extLst>
                  <a:ext uri="{FF2B5EF4-FFF2-40B4-BE49-F238E27FC236}">
                    <a16:creationId xmlns:a16="http://schemas.microsoft.com/office/drawing/2014/main" id="{48306CFD-238C-46E9-B90E-C0E91DC917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27 w 120"/>
                  <a:gd name="T1" fmla="*/ 49 h 49"/>
                  <a:gd name="T2" fmla="*/ 47 w 120"/>
                  <a:gd name="T3" fmla="*/ 49 h 49"/>
                  <a:gd name="T4" fmla="*/ 64 w 120"/>
                  <a:gd name="T5" fmla="*/ 48 h 49"/>
                  <a:gd name="T6" fmla="*/ 78 w 120"/>
                  <a:gd name="T7" fmla="*/ 46 h 49"/>
                  <a:gd name="T8" fmla="*/ 90 w 120"/>
                  <a:gd name="T9" fmla="*/ 43 h 49"/>
                  <a:gd name="T10" fmla="*/ 96 w 120"/>
                  <a:gd name="T11" fmla="*/ 39 h 49"/>
                  <a:gd name="T12" fmla="*/ 100 w 120"/>
                  <a:gd name="T13" fmla="*/ 37 h 49"/>
                  <a:gd name="T14" fmla="*/ 104 w 120"/>
                  <a:gd name="T15" fmla="*/ 34 h 49"/>
                  <a:gd name="T16" fmla="*/ 108 w 120"/>
                  <a:gd name="T17" fmla="*/ 31 h 49"/>
                  <a:gd name="T18" fmla="*/ 114 w 120"/>
                  <a:gd name="T19" fmla="*/ 22 h 49"/>
                  <a:gd name="T20" fmla="*/ 120 w 120"/>
                  <a:gd name="T21" fmla="*/ 12 h 49"/>
                  <a:gd name="T22" fmla="*/ 102 w 120"/>
                  <a:gd name="T23" fmla="*/ 6 h 49"/>
                  <a:gd name="T24" fmla="*/ 84 w 120"/>
                  <a:gd name="T25" fmla="*/ 3 h 49"/>
                  <a:gd name="T26" fmla="*/ 66 w 120"/>
                  <a:gd name="T27" fmla="*/ 1 h 49"/>
                  <a:gd name="T28" fmla="*/ 50 w 120"/>
                  <a:gd name="T29" fmla="*/ 0 h 49"/>
                  <a:gd name="T30" fmla="*/ 34 w 120"/>
                  <a:gd name="T31" fmla="*/ 1 h 49"/>
                  <a:gd name="T32" fmla="*/ 20 w 120"/>
                  <a:gd name="T33" fmla="*/ 2 h 49"/>
                  <a:gd name="T34" fmla="*/ 9 w 120"/>
                  <a:gd name="T35" fmla="*/ 4 h 49"/>
                  <a:gd name="T36" fmla="*/ 0 w 120"/>
                  <a:gd name="T37" fmla="*/ 6 h 49"/>
                  <a:gd name="T38" fmla="*/ 0 w 120"/>
                  <a:gd name="T39" fmla="*/ 30 h 49"/>
                  <a:gd name="T40" fmla="*/ 2 w 120"/>
                  <a:gd name="T41" fmla="*/ 35 h 49"/>
                  <a:gd name="T42" fmla="*/ 6 w 120"/>
                  <a:gd name="T43" fmla="*/ 38 h 49"/>
                  <a:gd name="T44" fmla="*/ 9 w 120"/>
                  <a:gd name="T45" fmla="*/ 41 h 49"/>
                  <a:gd name="T46" fmla="*/ 13 w 120"/>
                  <a:gd name="T47" fmla="*/ 45 h 49"/>
                  <a:gd name="T48" fmla="*/ 20 w 120"/>
                  <a:gd name="T49" fmla="*/ 48 h 49"/>
                  <a:gd name="T50" fmla="*/ 27 w 120"/>
                  <a:gd name="T5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2" name="Freeform 409">
                <a:extLst>
                  <a:ext uri="{FF2B5EF4-FFF2-40B4-BE49-F238E27FC236}">
                    <a16:creationId xmlns:a16="http://schemas.microsoft.com/office/drawing/2014/main" id="{2EA852F1-6998-4690-9849-6965096DBD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33 w 85"/>
                  <a:gd name="T1" fmla="*/ 0 h 61"/>
                  <a:gd name="T2" fmla="*/ 22 w 85"/>
                  <a:gd name="T3" fmla="*/ 5 h 61"/>
                  <a:gd name="T4" fmla="*/ 11 w 85"/>
                  <a:gd name="T5" fmla="*/ 12 h 61"/>
                  <a:gd name="T6" fmla="*/ 6 w 85"/>
                  <a:gd name="T7" fmla="*/ 17 h 61"/>
                  <a:gd name="T8" fmla="*/ 3 w 85"/>
                  <a:gd name="T9" fmla="*/ 21 h 61"/>
                  <a:gd name="T10" fmla="*/ 0 w 85"/>
                  <a:gd name="T11" fmla="*/ 25 h 61"/>
                  <a:gd name="T12" fmla="*/ 0 w 85"/>
                  <a:gd name="T13" fmla="*/ 31 h 61"/>
                  <a:gd name="T14" fmla="*/ 0 w 85"/>
                  <a:gd name="T15" fmla="*/ 34 h 61"/>
                  <a:gd name="T16" fmla="*/ 1 w 85"/>
                  <a:gd name="T17" fmla="*/ 37 h 61"/>
                  <a:gd name="T18" fmla="*/ 2 w 85"/>
                  <a:gd name="T19" fmla="*/ 40 h 61"/>
                  <a:gd name="T20" fmla="*/ 5 w 85"/>
                  <a:gd name="T21" fmla="*/ 43 h 61"/>
                  <a:gd name="T22" fmla="*/ 11 w 85"/>
                  <a:gd name="T23" fmla="*/ 48 h 61"/>
                  <a:gd name="T24" fmla="*/ 18 w 85"/>
                  <a:gd name="T25" fmla="*/ 53 h 61"/>
                  <a:gd name="T26" fmla="*/ 27 w 85"/>
                  <a:gd name="T27" fmla="*/ 56 h 61"/>
                  <a:gd name="T28" fmla="*/ 36 w 85"/>
                  <a:gd name="T29" fmla="*/ 59 h 61"/>
                  <a:gd name="T30" fmla="*/ 45 w 85"/>
                  <a:gd name="T31" fmla="*/ 61 h 61"/>
                  <a:gd name="T32" fmla="*/ 53 w 85"/>
                  <a:gd name="T33" fmla="*/ 61 h 61"/>
                  <a:gd name="T34" fmla="*/ 56 w 85"/>
                  <a:gd name="T35" fmla="*/ 61 h 61"/>
                  <a:gd name="T36" fmla="*/ 59 w 85"/>
                  <a:gd name="T37" fmla="*/ 60 h 61"/>
                  <a:gd name="T38" fmla="*/ 62 w 85"/>
                  <a:gd name="T39" fmla="*/ 59 h 61"/>
                  <a:gd name="T40" fmla="*/ 66 w 85"/>
                  <a:gd name="T41" fmla="*/ 57 h 61"/>
                  <a:gd name="T42" fmla="*/ 72 w 85"/>
                  <a:gd name="T43" fmla="*/ 52 h 61"/>
                  <a:gd name="T44" fmla="*/ 77 w 85"/>
                  <a:gd name="T45" fmla="*/ 47 h 61"/>
                  <a:gd name="T46" fmla="*/ 80 w 85"/>
                  <a:gd name="T47" fmla="*/ 40 h 61"/>
                  <a:gd name="T48" fmla="*/ 83 w 85"/>
                  <a:gd name="T49" fmla="*/ 33 h 61"/>
                  <a:gd name="T50" fmla="*/ 85 w 85"/>
                  <a:gd name="T51" fmla="*/ 25 h 61"/>
                  <a:gd name="T52" fmla="*/ 85 w 85"/>
                  <a:gd name="T53" fmla="*/ 18 h 61"/>
                  <a:gd name="T54" fmla="*/ 33 w 85"/>
                  <a:gd name="T5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3" name="Freeform 410">
                <a:extLst>
                  <a:ext uri="{FF2B5EF4-FFF2-40B4-BE49-F238E27FC236}">
                    <a16:creationId xmlns:a16="http://schemas.microsoft.com/office/drawing/2014/main" id="{B278808E-185F-45D3-8AFB-BDB0854339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6 h 19"/>
                  <a:gd name="T2" fmla="*/ 7 w 100"/>
                  <a:gd name="T3" fmla="*/ 11 h 19"/>
                  <a:gd name="T4" fmla="*/ 13 w 100"/>
                  <a:gd name="T5" fmla="*/ 15 h 19"/>
                  <a:gd name="T6" fmla="*/ 21 w 100"/>
                  <a:gd name="T7" fmla="*/ 18 h 19"/>
                  <a:gd name="T8" fmla="*/ 27 w 100"/>
                  <a:gd name="T9" fmla="*/ 19 h 19"/>
                  <a:gd name="T10" fmla="*/ 100 w 100"/>
                  <a:gd name="T11" fmla="*/ 6 h 19"/>
                  <a:gd name="T12" fmla="*/ 73 w 100"/>
                  <a:gd name="T13" fmla="*/ 2 h 19"/>
                  <a:gd name="T14" fmla="*/ 47 w 100"/>
                  <a:gd name="T15" fmla="*/ 0 h 19"/>
                  <a:gd name="T16" fmla="*/ 36 w 100"/>
                  <a:gd name="T17" fmla="*/ 0 h 19"/>
                  <a:gd name="T18" fmla="*/ 24 w 100"/>
                  <a:gd name="T19" fmla="*/ 1 h 19"/>
                  <a:gd name="T20" fmla="*/ 12 w 100"/>
                  <a:gd name="T21" fmla="*/ 3 h 19"/>
                  <a:gd name="T22" fmla="*/ 0 w 100"/>
                  <a:gd name="T23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4" name="Freeform 411">
                <a:extLst>
                  <a:ext uri="{FF2B5EF4-FFF2-40B4-BE49-F238E27FC236}">
                    <a16:creationId xmlns:a16="http://schemas.microsoft.com/office/drawing/2014/main" id="{C066F636-15DF-4AC0-AA0F-EC129C5123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27 h 45"/>
                  <a:gd name="T2" fmla="*/ 0 w 166"/>
                  <a:gd name="T3" fmla="*/ 29 h 45"/>
                  <a:gd name="T4" fmla="*/ 3 w 166"/>
                  <a:gd name="T5" fmla="*/ 31 h 45"/>
                  <a:gd name="T6" fmla="*/ 8 w 166"/>
                  <a:gd name="T7" fmla="*/ 33 h 45"/>
                  <a:gd name="T8" fmla="*/ 13 w 166"/>
                  <a:gd name="T9" fmla="*/ 35 h 45"/>
                  <a:gd name="T10" fmla="*/ 27 w 166"/>
                  <a:gd name="T11" fmla="*/ 38 h 45"/>
                  <a:gd name="T12" fmla="*/ 44 w 166"/>
                  <a:gd name="T13" fmla="*/ 41 h 45"/>
                  <a:gd name="T14" fmla="*/ 75 w 166"/>
                  <a:gd name="T15" fmla="*/ 44 h 45"/>
                  <a:gd name="T16" fmla="*/ 92 w 166"/>
                  <a:gd name="T17" fmla="*/ 45 h 45"/>
                  <a:gd name="T18" fmla="*/ 166 w 166"/>
                  <a:gd name="T19" fmla="*/ 27 h 45"/>
                  <a:gd name="T20" fmla="*/ 157 w 166"/>
                  <a:gd name="T21" fmla="*/ 25 h 45"/>
                  <a:gd name="T22" fmla="*/ 137 w 166"/>
                  <a:gd name="T23" fmla="*/ 19 h 45"/>
                  <a:gd name="T24" fmla="*/ 110 w 166"/>
                  <a:gd name="T25" fmla="*/ 11 h 45"/>
                  <a:gd name="T26" fmla="*/ 80 w 166"/>
                  <a:gd name="T27" fmla="*/ 4 h 45"/>
                  <a:gd name="T28" fmla="*/ 65 w 166"/>
                  <a:gd name="T29" fmla="*/ 2 h 45"/>
                  <a:gd name="T30" fmla="*/ 50 w 166"/>
                  <a:gd name="T31" fmla="*/ 1 h 45"/>
                  <a:gd name="T32" fmla="*/ 36 w 166"/>
                  <a:gd name="T33" fmla="*/ 0 h 45"/>
                  <a:gd name="T34" fmla="*/ 24 w 166"/>
                  <a:gd name="T35" fmla="*/ 2 h 45"/>
                  <a:gd name="T36" fmla="*/ 19 w 166"/>
                  <a:gd name="T37" fmla="*/ 3 h 45"/>
                  <a:gd name="T38" fmla="*/ 14 w 166"/>
                  <a:gd name="T39" fmla="*/ 5 h 45"/>
                  <a:gd name="T40" fmla="*/ 10 w 166"/>
                  <a:gd name="T41" fmla="*/ 7 h 45"/>
                  <a:gd name="T42" fmla="*/ 7 w 166"/>
                  <a:gd name="T43" fmla="*/ 10 h 45"/>
                  <a:gd name="T44" fmla="*/ 3 w 166"/>
                  <a:gd name="T45" fmla="*/ 13 h 45"/>
                  <a:gd name="T46" fmla="*/ 1 w 166"/>
                  <a:gd name="T47" fmla="*/ 17 h 45"/>
                  <a:gd name="T48" fmla="*/ 0 w 166"/>
                  <a:gd name="T49" fmla="*/ 22 h 45"/>
                  <a:gd name="T50" fmla="*/ 0 w 166"/>
                  <a:gd name="T51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5" name="Freeform 412">
                <a:extLst>
                  <a:ext uri="{FF2B5EF4-FFF2-40B4-BE49-F238E27FC236}">
                    <a16:creationId xmlns:a16="http://schemas.microsoft.com/office/drawing/2014/main" id="{E7A5D3E2-8B21-4049-9E69-B0BD379EB7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9 h 25"/>
                  <a:gd name="T4" fmla="*/ 3 w 33"/>
                  <a:gd name="T5" fmla="*/ 15 h 25"/>
                  <a:gd name="T6" fmla="*/ 6 w 33"/>
                  <a:gd name="T7" fmla="*/ 20 h 25"/>
                  <a:gd name="T8" fmla="*/ 11 w 33"/>
                  <a:gd name="T9" fmla="*/ 22 h 25"/>
                  <a:gd name="T10" fmla="*/ 16 w 33"/>
                  <a:gd name="T11" fmla="*/ 24 h 25"/>
                  <a:gd name="T12" fmla="*/ 22 w 33"/>
                  <a:gd name="T13" fmla="*/ 25 h 25"/>
                  <a:gd name="T14" fmla="*/ 27 w 33"/>
                  <a:gd name="T15" fmla="*/ 25 h 25"/>
                  <a:gd name="T16" fmla="*/ 33 w 33"/>
                  <a:gd name="T17" fmla="*/ 25 h 25"/>
                  <a:gd name="T18" fmla="*/ 33 w 33"/>
                  <a:gd name="T19" fmla="*/ 0 h 25"/>
                  <a:gd name="T20" fmla="*/ 24 w 33"/>
                  <a:gd name="T21" fmla="*/ 0 h 25"/>
                  <a:gd name="T22" fmla="*/ 16 w 33"/>
                  <a:gd name="T23" fmla="*/ 0 h 25"/>
                  <a:gd name="T24" fmla="*/ 9 w 33"/>
                  <a:gd name="T25" fmla="*/ 0 h 25"/>
                  <a:gd name="T26" fmla="*/ 0 w 33"/>
                  <a:gd name="T2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6" name="Freeform 413">
                <a:extLst>
                  <a:ext uri="{FF2B5EF4-FFF2-40B4-BE49-F238E27FC236}">
                    <a16:creationId xmlns:a16="http://schemas.microsoft.com/office/drawing/2014/main" id="{C21E632F-544D-4C96-AF8D-3A0D5B784F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62 h 62"/>
                  <a:gd name="T2" fmla="*/ 12 w 48"/>
                  <a:gd name="T3" fmla="*/ 56 h 62"/>
                  <a:gd name="T4" fmla="*/ 22 w 48"/>
                  <a:gd name="T5" fmla="*/ 50 h 62"/>
                  <a:gd name="T6" fmla="*/ 30 w 48"/>
                  <a:gd name="T7" fmla="*/ 43 h 62"/>
                  <a:gd name="T8" fmla="*/ 37 w 48"/>
                  <a:gd name="T9" fmla="*/ 36 h 62"/>
                  <a:gd name="T10" fmla="*/ 41 w 48"/>
                  <a:gd name="T11" fmla="*/ 28 h 62"/>
                  <a:gd name="T12" fmla="*/ 44 w 48"/>
                  <a:gd name="T13" fmla="*/ 19 h 62"/>
                  <a:gd name="T14" fmla="*/ 47 w 48"/>
                  <a:gd name="T15" fmla="*/ 9 h 62"/>
                  <a:gd name="T16" fmla="*/ 48 w 48"/>
                  <a:gd name="T17" fmla="*/ 0 h 62"/>
                  <a:gd name="T18" fmla="*/ 40 w 48"/>
                  <a:gd name="T19" fmla="*/ 3 h 62"/>
                  <a:gd name="T20" fmla="*/ 32 w 48"/>
                  <a:gd name="T21" fmla="*/ 6 h 62"/>
                  <a:gd name="T22" fmla="*/ 23 w 48"/>
                  <a:gd name="T23" fmla="*/ 10 h 62"/>
                  <a:gd name="T24" fmla="*/ 17 w 48"/>
                  <a:gd name="T25" fmla="*/ 15 h 62"/>
                  <a:gd name="T26" fmla="*/ 10 w 48"/>
                  <a:gd name="T27" fmla="*/ 21 h 62"/>
                  <a:gd name="T28" fmla="*/ 6 w 48"/>
                  <a:gd name="T29" fmla="*/ 27 h 62"/>
                  <a:gd name="T30" fmla="*/ 4 w 48"/>
                  <a:gd name="T31" fmla="*/ 31 h 62"/>
                  <a:gd name="T32" fmla="*/ 3 w 48"/>
                  <a:gd name="T33" fmla="*/ 35 h 62"/>
                  <a:gd name="T34" fmla="*/ 1 w 48"/>
                  <a:gd name="T35" fmla="*/ 39 h 62"/>
                  <a:gd name="T36" fmla="*/ 0 w 48"/>
                  <a:gd name="T37" fmla="*/ 43 h 62"/>
                  <a:gd name="T38" fmla="*/ 0 w 48"/>
                  <a:gd name="T39" fmla="*/ 52 h 62"/>
                  <a:gd name="T40" fmla="*/ 0 w 48"/>
                  <a:gd name="T41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7" name="Freeform 414">
                <a:extLst>
                  <a:ext uri="{FF2B5EF4-FFF2-40B4-BE49-F238E27FC236}">
                    <a16:creationId xmlns:a16="http://schemas.microsoft.com/office/drawing/2014/main" id="{6EB2866C-833F-419F-B148-58A4F45D8F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47 w 113"/>
                  <a:gd name="T1" fmla="*/ 0 h 62"/>
                  <a:gd name="T2" fmla="*/ 36 w 113"/>
                  <a:gd name="T3" fmla="*/ 7 h 62"/>
                  <a:gd name="T4" fmla="*/ 23 w 113"/>
                  <a:gd name="T5" fmla="*/ 17 h 62"/>
                  <a:gd name="T6" fmla="*/ 11 w 113"/>
                  <a:gd name="T7" fmla="*/ 27 h 62"/>
                  <a:gd name="T8" fmla="*/ 0 w 113"/>
                  <a:gd name="T9" fmla="*/ 37 h 62"/>
                  <a:gd name="T10" fmla="*/ 22 w 113"/>
                  <a:gd name="T11" fmla="*/ 46 h 62"/>
                  <a:gd name="T12" fmla="*/ 41 w 113"/>
                  <a:gd name="T13" fmla="*/ 54 h 62"/>
                  <a:gd name="T14" fmla="*/ 51 w 113"/>
                  <a:gd name="T15" fmla="*/ 57 h 62"/>
                  <a:gd name="T16" fmla="*/ 62 w 113"/>
                  <a:gd name="T17" fmla="*/ 59 h 62"/>
                  <a:gd name="T18" fmla="*/ 73 w 113"/>
                  <a:gd name="T19" fmla="*/ 61 h 62"/>
                  <a:gd name="T20" fmla="*/ 87 w 113"/>
                  <a:gd name="T21" fmla="*/ 62 h 62"/>
                  <a:gd name="T22" fmla="*/ 97 w 113"/>
                  <a:gd name="T23" fmla="*/ 61 h 62"/>
                  <a:gd name="T24" fmla="*/ 106 w 113"/>
                  <a:gd name="T25" fmla="*/ 58 h 62"/>
                  <a:gd name="T26" fmla="*/ 109 w 113"/>
                  <a:gd name="T27" fmla="*/ 56 h 62"/>
                  <a:gd name="T28" fmla="*/ 111 w 113"/>
                  <a:gd name="T29" fmla="*/ 54 h 62"/>
                  <a:gd name="T30" fmla="*/ 113 w 113"/>
                  <a:gd name="T31" fmla="*/ 52 h 62"/>
                  <a:gd name="T32" fmla="*/ 113 w 113"/>
                  <a:gd name="T33" fmla="*/ 49 h 62"/>
                  <a:gd name="T34" fmla="*/ 91 w 113"/>
                  <a:gd name="T35" fmla="*/ 41 h 62"/>
                  <a:gd name="T36" fmla="*/ 70 w 113"/>
                  <a:gd name="T37" fmla="*/ 32 h 62"/>
                  <a:gd name="T38" fmla="*/ 65 w 113"/>
                  <a:gd name="T39" fmla="*/ 29 h 62"/>
                  <a:gd name="T40" fmla="*/ 61 w 113"/>
                  <a:gd name="T41" fmla="*/ 26 h 62"/>
                  <a:gd name="T42" fmla="*/ 57 w 113"/>
                  <a:gd name="T43" fmla="*/ 23 h 62"/>
                  <a:gd name="T44" fmla="*/ 54 w 113"/>
                  <a:gd name="T45" fmla="*/ 20 h 62"/>
                  <a:gd name="T46" fmla="*/ 51 w 113"/>
                  <a:gd name="T47" fmla="*/ 16 h 62"/>
                  <a:gd name="T48" fmla="*/ 48 w 113"/>
                  <a:gd name="T49" fmla="*/ 10 h 62"/>
                  <a:gd name="T50" fmla="*/ 47 w 113"/>
                  <a:gd name="T51" fmla="*/ 5 h 62"/>
                  <a:gd name="T52" fmla="*/ 47 w 113"/>
                  <a:gd name="T5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8" name="Freeform 415">
                <a:extLst>
                  <a:ext uri="{FF2B5EF4-FFF2-40B4-BE49-F238E27FC236}">
                    <a16:creationId xmlns:a16="http://schemas.microsoft.com/office/drawing/2014/main" id="{FD144610-8996-4322-8252-23B71B000C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15 w 93"/>
                  <a:gd name="T3" fmla="*/ 0 h 50"/>
                  <a:gd name="T4" fmla="*/ 30 w 93"/>
                  <a:gd name="T5" fmla="*/ 1 h 50"/>
                  <a:gd name="T6" fmla="*/ 45 w 93"/>
                  <a:gd name="T7" fmla="*/ 2 h 50"/>
                  <a:gd name="T8" fmla="*/ 59 w 93"/>
                  <a:gd name="T9" fmla="*/ 5 h 50"/>
                  <a:gd name="T10" fmla="*/ 64 w 93"/>
                  <a:gd name="T11" fmla="*/ 7 h 50"/>
                  <a:gd name="T12" fmla="*/ 71 w 93"/>
                  <a:gd name="T13" fmla="*/ 9 h 50"/>
                  <a:gd name="T14" fmla="*/ 75 w 93"/>
                  <a:gd name="T15" fmla="*/ 12 h 50"/>
                  <a:gd name="T16" fmla="*/ 81 w 93"/>
                  <a:gd name="T17" fmla="*/ 16 h 50"/>
                  <a:gd name="T18" fmla="*/ 85 w 93"/>
                  <a:gd name="T19" fmla="*/ 20 h 50"/>
                  <a:gd name="T20" fmla="*/ 89 w 93"/>
                  <a:gd name="T21" fmla="*/ 25 h 50"/>
                  <a:gd name="T22" fmla="*/ 91 w 93"/>
                  <a:gd name="T23" fmla="*/ 30 h 50"/>
                  <a:gd name="T24" fmla="*/ 93 w 93"/>
                  <a:gd name="T25" fmla="*/ 37 h 50"/>
                  <a:gd name="T26" fmla="*/ 79 w 93"/>
                  <a:gd name="T27" fmla="*/ 37 h 50"/>
                  <a:gd name="T28" fmla="*/ 68 w 93"/>
                  <a:gd name="T29" fmla="*/ 39 h 50"/>
                  <a:gd name="T30" fmla="*/ 60 w 93"/>
                  <a:gd name="T31" fmla="*/ 41 h 50"/>
                  <a:gd name="T32" fmla="*/ 52 w 93"/>
                  <a:gd name="T33" fmla="*/ 43 h 50"/>
                  <a:gd name="T34" fmla="*/ 42 w 93"/>
                  <a:gd name="T35" fmla="*/ 47 h 50"/>
                  <a:gd name="T36" fmla="*/ 33 w 93"/>
                  <a:gd name="T37" fmla="*/ 50 h 50"/>
                  <a:gd name="T38" fmla="*/ 30 w 93"/>
                  <a:gd name="T39" fmla="*/ 50 h 50"/>
                  <a:gd name="T40" fmla="*/ 28 w 93"/>
                  <a:gd name="T41" fmla="*/ 48 h 50"/>
                  <a:gd name="T42" fmla="*/ 26 w 93"/>
                  <a:gd name="T43" fmla="*/ 47 h 50"/>
                  <a:gd name="T44" fmla="*/ 25 w 93"/>
                  <a:gd name="T45" fmla="*/ 45 h 50"/>
                  <a:gd name="T46" fmla="*/ 23 w 93"/>
                  <a:gd name="T47" fmla="*/ 41 h 50"/>
                  <a:gd name="T48" fmla="*/ 22 w 93"/>
                  <a:gd name="T49" fmla="*/ 36 h 50"/>
                  <a:gd name="T50" fmla="*/ 22 w 93"/>
                  <a:gd name="T51" fmla="*/ 31 h 50"/>
                  <a:gd name="T52" fmla="*/ 23 w 93"/>
                  <a:gd name="T53" fmla="*/ 26 h 50"/>
                  <a:gd name="T54" fmla="*/ 24 w 93"/>
                  <a:gd name="T55" fmla="*/ 22 h 50"/>
                  <a:gd name="T56" fmla="*/ 26 w 93"/>
                  <a:gd name="T57" fmla="*/ 19 h 50"/>
                  <a:gd name="T58" fmla="*/ 0 w 93"/>
                  <a:gd name="T59" fmla="*/ 19 h 50"/>
                  <a:gd name="T60" fmla="*/ 0 w 93"/>
                  <a:gd name="T6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19" name="Freeform 416">
                <a:extLst>
                  <a:ext uri="{FF2B5EF4-FFF2-40B4-BE49-F238E27FC236}">
                    <a16:creationId xmlns:a16="http://schemas.microsoft.com/office/drawing/2014/main" id="{A172D052-261F-44AB-933D-5F0E68444E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20 w 1029"/>
                  <a:gd name="T1" fmla="*/ 112 h 604"/>
                  <a:gd name="T2" fmla="*/ 67 w 1029"/>
                  <a:gd name="T3" fmla="*/ 60 h 604"/>
                  <a:gd name="T4" fmla="*/ 266 w 1029"/>
                  <a:gd name="T5" fmla="*/ 0 h 604"/>
                  <a:gd name="T6" fmla="*/ 205 w 1029"/>
                  <a:gd name="T7" fmla="*/ 47 h 604"/>
                  <a:gd name="T8" fmla="*/ 180 w 1029"/>
                  <a:gd name="T9" fmla="*/ 105 h 604"/>
                  <a:gd name="T10" fmla="*/ 274 w 1029"/>
                  <a:gd name="T11" fmla="*/ 60 h 604"/>
                  <a:gd name="T12" fmla="*/ 397 w 1029"/>
                  <a:gd name="T13" fmla="*/ 14 h 604"/>
                  <a:gd name="T14" fmla="*/ 438 w 1029"/>
                  <a:gd name="T15" fmla="*/ 23 h 604"/>
                  <a:gd name="T16" fmla="*/ 433 w 1029"/>
                  <a:gd name="T17" fmla="*/ 71 h 604"/>
                  <a:gd name="T18" fmla="*/ 581 w 1029"/>
                  <a:gd name="T19" fmla="*/ 80 h 604"/>
                  <a:gd name="T20" fmla="*/ 675 w 1029"/>
                  <a:gd name="T21" fmla="*/ 89 h 604"/>
                  <a:gd name="T22" fmla="*/ 749 w 1029"/>
                  <a:gd name="T23" fmla="*/ 111 h 604"/>
                  <a:gd name="T24" fmla="*/ 749 w 1029"/>
                  <a:gd name="T25" fmla="*/ 134 h 604"/>
                  <a:gd name="T26" fmla="*/ 711 w 1029"/>
                  <a:gd name="T27" fmla="*/ 184 h 604"/>
                  <a:gd name="T28" fmla="*/ 799 w 1029"/>
                  <a:gd name="T29" fmla="*/ 168 h 604"/>
                  <a:gd name="T30" fmla="*/ 866 w 1029"/>
                  <a:gd name="T31" fmla="*/ 191 h 604"/>
                  <a:gd name="T32" fmla="*/ 856 w 1029"/>
                  <a:gd name="T33" fmla="*/ 239 h 604"/>
                  <a:gd name="T34" fmla="*/ 788 w 1029"/>
                  <a:gd name="T35" fmla="*/ 248 h 604"/>
                  <a:gd name="T36" fmla="*/ 859 w 1029"/>
                  <a:gd name="T37" fmla="*/ 284 h 604"/>
                  <a:gd name="T38" fmla="*/ 903 w 1029"/>
                  <a:gd name="T39" fmla="*/ 327 h 604"/>
                  <a:gd name="T40" fmla="*/ 977 w 1029"/>
                  <a:gd name="T41" fmla="*/ 329 h 604"/>
                  <a:gd name="T42" fmla="*/ 1029 w 1029"/>
                  <a:gd name="T43" fmla="*/ 351 h 604"/>
                  <a:gd name="T44" fmla="*/ 939 w 1029"/>
                  <a:gd name="T45" fmla="*/ 409 h 604"/>
                  <a:gd name="T46" fmla="*/ 899 w 1029"/>
                  <a:gd name="T47" fmla="*/ 417 h 604"/>
                  <a:gd name="T48" fmla="*/ 874 w 1029"/>
                  <a:gd name="T49" fmla="*/ 443 h 604"/>
                  <a:gd name="T50" fmla="*/ 830 w 1029"/>
                  <a:gd name="T51" fmla="*/ 414 h 604"/>
                  <a:gd name="T52" fmla="*/ 851 w 1029"/>
                  <a:gd name="T53" fmla="*/ 393 h 604"/>
                  <a:gd name="T54" fmla="*/ 792 w 1029"/>
                  <a:gd name="T55" fmla="*/ 379 h 604"/>
                  <a:gd name="T56" fmla="*/ 759 w 1029"/>
                  <a:gd name="T57" fmla="*/ 364 h 604"/>
                  <a:gd name="T58" fmla="*/ 744 w 1029"/>
                  <a:gd name="T59" fmla="*/ 394 h 604"/>
                  <a:gd name="T60" fmla="*/ 747 w 1029"/>
                  <a:gd name="T61" fmla="*/ 445 h 604"/>
                  <a:gd name="T62" fmla="*/ 795 w 1029"/>
                  <a:gd name="T63" fmla="*/ 523 h 604"/>
                  <a:gd name="T64" fmla="*/ 771 w 1029"/>
                  <a:gd name="T65" fmla="*/ 547 h 604"/>
                  <a:gd name="T66" fmla="*/ 708 w 1029"/>
                  <a:gd name="T67" fmla="*/ 556 h 604"/>
                  <a:gd name="T68" fmla="*/ 618 w 1029"/>
                  <a:gd name="T69" fmla="*/ 517 h 604"/>
                  <a:gd name="T70" fmla="*/ 668 w 1029"/>
                  <a:gd name="T71" fmla="*/ 567 h 604"/>
                  <a:gd name="T72" fmla="*/ 665 w 1029"/>
                  <a:gd name="T73" fmla="*/ 604 h 604"/>
                  <a:gd name="T74" fmla="*/ 518 w 1029"/>
                  <a:gd name="T75" fmla="*/ 570 h 604"/>
                  <a:gd name="T76" fmla="*/ 471 w 1029"/>
                  <a:gd name="T77" fmla="*/ 523 h 604"/>
                  <a:gd name="T78" fmla="*/ 410 w 1029"/>
                  <a:gd name="T79" fmla="*/ 473 h 604"/>
                  <a:gd name="T80" fmla="*/ 367 w 1029"/>
                  <a:gd name="T81" fmla="*/ 453 h 604"/>
                  <a:gd name="T82" fmla="*/ 392 w 1029"/>
                  <a:gd name="T83" fmla="*/ 433 h 604"/>
                  <a:gd name="T84" fmla="*/ 459 w 1029"/>
                  <a:gd name="T85" fmla="*/ 399 h 604"/>
                  <a:gd name="T86" fmla="*/ 500 w 1029"/>
                  <a:gd name="T87" fmla="*/ 378 h 604"/>
                  <a:gd name="T88" fmla="*/ 577 w 1029"/>
                  <a:gd name="T89" fmla="*/ 380 h 604"/>
                  <a:gd name="T90" fmla="*/ 614 w 1029"/>
                  <a:gd name="T91" fmla="*/ 395 h 604"/>
                  <a:gd name="T92" fmla="*/ 687 w 1029"/>
                  <a:gd name="T93" fmla="*/ 387 h 604"/>
                  <a:gd name="T94" fmla="*/ 581 w 1029"/>
                  <a:gd name="T95" fmla="*/ 355 h 604"/>
                  <a:gd name="T96" fmla="*/ 542 w 1029"/>
                  <a:gd name="T97" fmla="*/ 361 h 604"/>
                  <a:gd name="T98" fmla="*/ 539 w 1029"/>
                  <a:gd name="T99" fmla="*/ 350 h 604"/>
                  <a:gd name="T100" fmla="*/ 576 w 1029"/>
                  <a:gd name="T101" fmla="*/ 306 h 604"/>
                  <a:gd name="T102" fmla="*/ 576 w 1029"/>
                  <a:gd name="T103" fmla="*/ 274 h 604"/>
                  <a:gd name="T104" fmla="*/ 524 w 1029"/>
                  <a:gd name="T105" fmla="*/ 254 h 604"/>
                  <a:gd name="T106" fmla="*/ 473 w 1029"/>
                  <a:gd name="T107" fmla="*/ 198 h 604"/>
                  <a:gd name="T108" fmla="*/ 434 w 1029"/>
                  <a:gd name="T109" fmla="*/ 168 h 604"/>
                  <a:gd name="T110" fmla="*/ 408 w 1029"/>
                  <a:gd name="T111" fmla="*/ 163 h 604"/>
                  <a:gd name="T112" fmla="*/ 378 w 1029"/>
                  <a:gd name="T113" fmla="*/ 203 h 604"/>
                  <a:gd name="T114" fmla="*/ 207 w 1029"/>
                  <a:gd name="T115" fmla="*/ 174 h 604"/>
                  <a:gd name="T116" fmla="*/ 114 w 1029"/>
                  <a:gd name="T117" fmla="*/ 189 h 604"/>
                  <a:gd name="T118" fmla="*/ 79 w 1029"/>
                  <a:gd name="T119" fmla="*/ 187 h 604"/>
                  <a:gd name="T120" fmla="*/ 16 w 1029"/>
                  <a:gd name="T121" fmla="*/ 180 h 604"/>
                  <a:gd name="T122" fmla="*/ 9 w 1029"/>
                  <a:gd name="T123" fmla="*/ 158 h 604"/>
                  <a:gd name="T124" fmla="*/ 75 w 1029"/>
                  <a:gd name="T125" fmla="*/ 149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0" name="Freeform 417">
                <a:extLst>
                  <a:ext uri="{FF2B5EF4-FFF2-40B4-BE49-F238E27FC236}">
                    <a16:creationId xmlns:a16="http://schemas.microsoft.com/office/drawing/2014/main" id="{E3E38D16-AD87-449F-AE6A-8000900D18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797 w 1268"/>
                  <a:gd name="T1" fmla="*/ 38 h 321"/>
                  <a:gd name="T2" fmla="*/ 813 w 1268"/>
                  <a:gd name="T3" fmla="*/ 16 h 321"/>
                  <a:gd name="T4" fmla="*/ 846 w 1268"/>
                  <a:gd name="T5" fmla="*/ 10 h 321"/>
                  <a:gd name="T6" fmla="*/ 865 w 1268"/>
                  <a:gd name="T7" fmla="*/ 25 h 321"/>
                  <a:gd name="T8" fmla="*/ 938 w 1268"/>
                  <a:gd name="T9" fmla="*/ 14 h 321"/>
                  <a:gd name="T10" fmla="*/ 1020 w 1268"/>
                  <a:gd name="T11" fmla="*/ 1 h 321"/>
                  <a:gd name="T12" fmla="*/ 1084 w 1268"/>
                  <a:gd name="T13" fmla="*/ 17 h 321"/>
                  <a:gd name="T14" fmla="*/ 1133 w 1268"/>
                  <a:gd name="T15" fmla="*/ 20 h 321"/>
                  <a:gd name="T16" fmla="*/ 1268 w 1268"/>
                  <a:gd name="T17" fmla="*/ 32 h 321"/>
                  <a:gd name="T18" fmla="*/ 1242 w 1268"/>
                  <a:gd name="T19" fmla="*/ 50 h 321"/>
                  <a:gd name="T20" fmla="*/ 1163 w 1268"/>
                  <a:gd name="T21" fmla="*/ 64 h 321"/>
                  <a:gd name="T22" fmla="*/ 1053 w 1268"/>
                  <a:gd name="T23" fmla="*/ 77 h 321"/>
                  <a:gd name="T24" fmla="*/ 1029 w 1268"/>
                  <a:gd name="T25" fmla="*/ 96 h 321"/>
                  <a:gd name="T26" fmla="*/ 999 w 1268"/>
                  <a:gd name="T27" fmla="*/ 104 h 321"/>
                  <a:gd name="T28" fmla="*/ 942 w 1268"/>
                  <a:gd name="T29" fmla="*/ 102 h 321"/>
                  <a:gd name="T30" fmla="*/ 930 w 1268"/>
                  <a:gd name="T31" fmla="*/ 118 h 321"/>
                  <a:gd name="T32" fmla="*/ 747 w 1268"/>
                  <a:gd name="T33" fmla="*/ 133 h 321"/>
                  <a:gd name="T34" fmla="*/ 666 w 1268"/>
                  <a:gd name="T35" fmla="*/ 156 h 321"/>
                  <a:gd name="T36" fmla="*/ 635 w 1268"/>
                  <a:gd name="T37" fmla="*/ 181 h 321"/>
                  <a:gd name="T38" fmla="*/ 591 w 1268"/>
                  <a:gd name="T39" fmla="*/ 167 h 321"/>
                  <a:gd name="T40" fmla="*/ 570 w 1268"/>
                  <a:gd name="T41" fmla="*/ 181 h 321"/>
                  <a:gd name="T42" fmla="*/ 590 w 1268"/>
                  <a:gd name="T43" fmla="*/ 207 h 321"/>
                  <a:gd name="T44" fmla="*/ 545 w 1268"/>
                  <a:gd name="T45" fmla="*/ 237 h 321"/>
                  <a:gd name="T46" fmla="*/ 483 w 1268"/>
                  <a:gd name="T47" fmla="*/ 236 h 321"/>
                  <a:gd name="T48" fmla="*/ 404 w 1268"/>
                  <a:gd name="T49" fmla="*/ 242 h 321"/>
                  <a:gd name="T50" fmla="*/ 405 w 1268"/>
                  <a:gd name="T51" fmla="*/ 257 h 321"/>
                  <a:gd name="T52" fmla="*/ 392 w 1268"/>
                  <a:gd name="T53" fmla="*/ 293 h 321"/>
                  <a:gd name="T54" fmla="*/ 333 w 1268"/>
                  <a:gd name="T55" fmla="*/ 320 h 321"/>
                  <a:gd name="T56" fmla="*/ 290 w 1268"/>
                  <a:gd name="T57" fmla="*/ 296 h 321"/>
                  <a:gd name="T58" fmla="*/ 253 w 1268"/>
                  <a:gd name="T59" fmla="*/ 285 h 321"/>
                  <a:gd name="T60" fmla="*/ 96 w 1268"/>
                  <a:gd name="T61" fmla="*/ 276 h 321"/>
                  <a:gd name="T62" fmla="*/ 0 w 1268"/>
                  <a:gd name="T63" fmla="*/ 285 h 321"/>
                  <a:gd name="T64" fmla="*/ 10 w 1268"/>
                  <a:gd name="T65" fmla="*/ 266 h 321"/>
                  <a:gd name="T66" fmla="*/ 56 w 1268"/>
                  <a:gd name="T67" fmla="*/ 246 h 321"/>
                  <a:gd name="T68" fmla="*/ 143 w 1268"/>
                  <a:gd name="T69" fmla="*/ 235 h 321"/>
                  <a:gd name="T70" fmla="*/ 170 w 1268"/>
                  <a:gd name="T71" fmla="*/ 225 h 321"/>
                  <a:gd name="T72" fmla="*/ 190 w 1268"/>
                  <a:gd name="T73" fmla="*/ 217 h 321"/>
                  <a:gd name="T74" fmla="*/ 219 w 1268"/>
                  <a:gd name="T75" fmla="*/ 232 h 321"/>
                  <a:gd name="T76" fmla="*/ 247 w 1268"/>
                  <a:gd name="T77" fmla="*/ 247 h 321"/>
                  <a:gd name="T78" fmla="*/ 208 w 1268"/>
                  <a:gd name="T79" fmla="*/ 207 h 321"/>
                  <a:gd name="T80" fmla="*/ 193 w 1268"/>
                  <a:gd name="T81" fmla="*/ 200 h 321"/>
                  <a:gd name="T82" fmla="*/ 197 w 1268"/>
                  <a:gd name="T83" fmla="*/ 181 h 321"/>
                  <a:gd name="T84" fmla="*/ 246 w 1268"/>
                  <a:gd name="T85" fmla="*/ 174 h 321"/>
                  <a:gd name="T86" fmla="*/ 365 w 1268"/>
                  <a:gd name="T87" fmla="*/ 186 h 321"/>
                  <a:gd name="T88" fmla="*/ 418 w 1268"/>
                  <a:gd name="T89" fmla="*/ 174 h 321"/>
                  <a:gd name="T90" fmla="*/ 322 w 1268"/>
                  <a:gd name="T91" fmla="*/ 169 h 321"/>
                  <a:gd name="T92" fmla="*/ 299 w 1268"/>
                  <a:gd name="T93" fmla="*/ 149 h 321"/>
                  <a:gd name="T94" fmla="*/ 378 w 1268"/>
                  <a:gd name="T95" fmla="*/ 137 h 321"/>
                  <a:gd name="T96" fmla="*/ 438 w 1268"/>
                  <a:gd name="T97" fmla="*/ 155 h 321"/>
                  <a:gd name="T98" fmla="*/ 478 w 1268"/>
                  <a:gd name="T99" fmla="*/ 124 h 321"/>
                  <a:gd name="T100" fmla="*/ 664 w 1268"/>
                  <a:gd name="T101" fmla="*/ 87 h 321"/>
                  <a:gd name="T102" fmla="*/ 589 w 1268"/>
                  <a:gd name="T103" fmla="*/ 110 h 321"/>
                  <a:gd name="T104" fmla="*/ 449 w 1268"/>
                  <a:gd name="T105" fmla="*/ 111 h 321"/>
                  <a:gd name="T106" fmla="*/ 312 w 1268"/>
                  <a:gd name="T107" fmla="*/ 116 h 321"/>
                  <a:gd name="T108" fmla="*/ 253 w 1268"/>
                  <a:gd name="T109" fmla="*/ 101 h 321"/>
                  <a:gd name="T110" fmla="*/ 219 w 1268"/>
                  <a:gd name="T111" fmla="*/ 80 h 321"/>
                  <a:gd name="T112" fmla="*/ 253 w 1268"/>
                  <a:gd name="T113" fmla="*/ 71 h 321"/>
                  <a:gd name="T114" fmla="*/ 446 w 1268"/>
                  <a:gd name="T115" fmla="*/ 47 h 321"/>
                  <a:gd name="T116" fmla="*/ 618 w 1268"/>
                  <a:gd name="T117" fmla="*/ 32 h 321"/>
                  <a:gd name="T118" fmla="*/ 674 w 1268"/>
                  <a:gd name="T119" fmla="*/ 20 h 321"/>
                  <a:gd name="T120" fmla="*/ 757 w 1268"/>
                  <a:gd name="T121" fmla="*/ 26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1" name="Freeform 418">
                <a:extLst>
                  <a:ext uri="{FF2B5EF4-FFF2-40B4-BE49-F238E27FC236}">
                    <a16:creationId xmlns:a16="http://schemas.microsoft.com/office/drawing/2014/main" id="{102D4962-4CA2-4A83-ADAF-80BCEA8F1B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1 w 160"/>
                  <a:gd name="T3" fmla="*/ 10 h 117"/>
                  <a:gd name="T4" fmla="*/ 4 w 160"/>
                  <a:gd name="T5" fmla="*/ 19 h 117"/>
                  <a:gd name="T6" fmla="*/ 9 w 160"/>
                  <a:gd name="T7" fmla="*/ 29 h 117"/>
                  <a:gd name="T8" fmla="*/ 15 w 160"/>
                  <a:gd name="T9" fmla="*/ 39 h 117"/>
                  <a:gd name="T10" fmla="*/ 22 w 160"/>
                  <a:gd name="T11" fmla="*/ 48 h 117"/>
                  <a:gd name="T12" fmla="*/ 31 w 160"/>
                  <a:gd name="T13" fmla="*/ 59 h 117"/>
                  <a:gd name="T14" fmla="*/ 41 w 160"/>
                  <a:gd name="T15" fmla="*/ 68 h 117"/>
                  <a:gd name="T16" fmla="*/ 51 w 160"/>
                  <a:gd name="T17" fmla="*/ 77 h 117"/>
                  <a:gd name="T18" fmla="*/ 62 w 160"/>
                  <a:gd name="T19" fmla="*/ 85 h 117"/>
                  <a:gd name="T20" fmla="*/ 73 w 160"/>
                  <a:gd name="T21" fmla="*/ 93 h 117"/>
                  <a:gd name="T22" fmla="*/ 84 w 160"/>
                  <a:gd name="T23" fmla="*/ 99 h 117"/>
                  <a:gd name="T24" fmla="*/ 95 w 160"/>
                  <a:gd name="T25" fmla="*/ 105 h 117"/>
                  <a:gd name="T26" fmla="*/ 106 w 160"/>
                  <a:gd name="T27" fmla="*/ 111 h 117"/>
                  <a:gd name="T28" fmla="*/ 116 w 160"/>
                  <a:gd name="T29" fmla="*/ 114 h 117"/>
                  <a:gd name="T30" fmla="*/ 124 w 160"/>
                  <a:gd name="T31" fmla="*/ 117 h 117"/>
                  <a:gd name="T32" fmla="*/ 133 w 160"/>
                  <a:gd name="T33" fmla="*/ 117 h 117"/>
                  <a:gd name="T34" fmla="*/ 139 w 160"/>
                  <a:gd name="T35" fmla="*/ 116 h 117"/>
                  <a:gd name="T36" fmla="*/ 146 w 160"/>
                  <a:gd name="T37" fmla="*/ 113 h 117"/>
                  <a:gd name="T38" fmla="*/ 153 w 160"/>
                  <a:gd name="T39" fmla="*/ 110 h 117"/>
                  <a:gd name="T40" fmla="*/ 160 w 160"/>
                  <a:gd name="T41" fmla="*/ 104 h 117"/>
                  <a:gd name="T42" fmla="*/ 150 w 160"/>
                  <a:gd name="T43" fmla="*/ 91 h 117"/>
                  <a:gd name="T44" fmla="*/ 141 w 160"/>
                  <a:gd name="T45" fmla="*/ 79 h 117"/>
                  <a:gd name="T46" fmla="*/ 138 w 160"/>
                  <a:gd name="T47" fmla="*/ 73 h 117"/>
                  <a:gd name="T48" fmla="*/ 135 w 160"/>
                  <a:gd name="T49" fmla="*/ 66 h 117"/>
                  <a:gd name="T50" fmla="*/ 133 w 160"/>
                  <a:gd name="T51" fmla="*/ 58 h 117"/>
                  <a:gd name="T52" fmla="*/ 133 w 160"/>
                  <a:gd name="T53" fmla="*/ 49 h 117"/>
                  <a:gd name="T54" fmla="*/ 127 w 160"/>
                  <a:gd name="T55" fmla="*/ 48 h 117"/>
                  <a:gd name="T56" fmla="*/ 118 w 160"/>
                  <a:gd name="T57" fmla="*/ 45 h 117"/>
                  <a:gd name="T58" fmla="*/ 108 w 160"/>
                  <a:gd name="T59" fmla="*/ 40 h 117"/>
                  <a:gd name="T60" fmla="*/ 97 w 160"/>
                  <a:gd name="T61" fmla="*/ 34 h 117"/>
                  <a:gd name="T62" fmla="*/ 87 w 160"/>
                  <a:gd name="T63" fmla="*/ 28 h 117"/>
                  <a:gd name="T64" fmla="*/ 77 w 160"/>
                  <a:gd name="T65" fmla="*/ 21 h 117"/>
                  <a:gd name="T66" fmla="*/ 74 w 160"/>
                  <a:gd name="T67" fmla="*/ 17 h 117"/>
                  <a:gd name="T68" fmla="*/ 71 w 160"/>
                  <a:gd name="T69" fmla="*/ 13 h 117"/>
                  <a:gd name="T70" fmla="*/ 68 w 160"/>
                  <a:gd name="T71" fmla="*/ 10 h 117"/>
                  <a:gd name="T72" fmla="*/ 66 w 160"/>
                  <a:gd name="T73" fmla="*/ 6 h 117"/>
                  <a:gd name="T74" fmla="*/ 60 w 160"/>
                  <a:gd name="T75" fmla="*/ 6 h 117"/>
                  <a:gd name="T76" fmla="*/ 52 w 160"/>
                  <a:gd name="T77" fmla="*/ 6 h 117"/>
                  <a:gd name="T78" fmla="*/ 43 w 160"/>
                  <a:gd name="T79" fmla="*/ 4 h 117"/>
                  <a:gd name="T80" fmla="*/ 33 w 160"/>
                  <a:gd name="T81" fmla="*/ 0 h 117"/>
                  <a:gd name="T82" fmla="*/ 0 w 160"/>
                  <a:gd name="T83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2" name="Freeform 419">
                <a:extLst>
                  <a:ext uri="{FF2B5EF4-FFF2-40B4-BE49-F238E27FC236}">
                    <a16:creationId xmlns:a16="http://schemas.microsoft.com/office/drawing/2014/main" id="{F6A2876C-A4F7-45CF-99C3-98647F172E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40 w 80"/>
                  <a:gd name="T1" fmla="*/ 123 h 141"/>
                  <a:gd name="T2" fmla="*/ 80 w 80"/>
                  <a:gd name="T3" fmla="*/ 36 h 141"/>
                  <a:gd name="T4" fmla="*/ 80 w 80"/>
                  <a:gd name="T5" fmla="*/ 18 h 141"/>
                  <a:gd name="T6" fmla="*/ 68 w 80"/>
                  <a:gd name="T7" fmla="*/ 17 h 141"/>
                  <a:gd name="T8" fmla="*/ 59 w 80"/>
                  <a:gd name="T9" fmla="*/ 16 h 141"/>
                  <a:gd name="T10" fmla="*/ 53 w 80"/>
                  <a:gd name="T11" fmla="*/ 14 h 141"/>
                  <a:gd name="T12" fmla="*/ 47 w 80"/>
                  <a:gd name="T13" fmla="*/ 11 h 141"/>
                  <a:gd name="T14" fmla="*/ 44 w 80"/>
                  <a:gd name="T15" fmla="*/ 8 h 141"/>
                  <a:gd name="T16" fmla="*/ 42 w 80"/>
                  <a:gd name="T17" fmla="*/ 5 h 141"/>
                  <a:gd name="T18" fmla="*/ 41 w 80"/>
                  <a:gd name="T19" fmla="*/ 2 h 141"/>
                  <a:gd name="T20" fmla="*/ 40 w 80"/>
                  <a:gd name="T21" fmla="*/ 0 h 141"/>
                  <a:gd name="T22" fmla="*/ 0 w 80"/>
                  <a:gd name="T23" fmla="*/ 0 h 141"/>
                  <a:gd name="T24" fmla="*/ 0 w 80"/>
                  <a:gd name="T25" fmla="*/ 23 h 141"/>
                  <a:gd name="T26" fmla="*/ 0 w 80"/>
                  <a:gd name="T27" fmla="*/ 40 h 141"/>
                  <a:gd name="T28" fmla="*/ 0 w 80"/>
                  <a:gd name="T29" fmla="*/ 52 h 141"/>
                  <a:gd name="T30" fmla="*/ 0 w 80"/>
                  <a:gd name="T31" fmla="*/ 61 h 141"/>
                  <a:gd name="T32" fmla="*/ 1 w 80"/>
                  <a:gd name="T33" fmla="*/ 69 h 141"/>
                  <a:gd name="T34" fmla="*/ 3 w 80"/>
                  <a:gd name="T35" fmla="*/ 78 h 141"/>
                  <a:gd name="T36" fmla="*/ 7 w 80"/>
                  <a:gd name="T37" fmla="*/ 88 h 141"/>
                  <a:gd name="T38" fmla="*/ 11 w 80"/>
                  <a:gd name="T39" fmla="*/ 99 h 141"/>
                  <a:gd name="T40" fmla="*/ 20 w 80"/>
                  <a:gd name="T41" fmla="*/ 121 h 141"/>
                  <a:gd name="T42" fmla="*/ 27 w 80"/>
                  <a:gd name="T43" fmla="*/ 141 h 141"/>
                  <a:gd name="T44" fmla="*/ 31 w 80"/>
                  <a:gd name="T45" fmla="*/ 135 h 141"/>
                  <a:gd name="T46" fmla="*/ 33 w 80"/>
                  <a:gd name="T47" fmla="*/ 129 h 141"/>
                  <a:gd name="T48" fmla="*/ 34 w 80"/>
                  <a:gd name="T49" fmla="*/ 127 h 141"/>
                  <a:gd name="T50" fmla="*/ 36 w 80"/>
                  <a:gd name="T51" fmla="*/ 125 h 141"/>
                  <a:gd name="T52" fmla="*/ 38 w 80"/>
                  <a:gd name="T53" fmla="*/ 123 h 141"/>
                  <a:gd name="T54" fmla="*/ 40 w 80"/>
                  <a:gd name="T55" fmla="*/ 123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3" name="Freeform 420">
                <a:extLst>
                  <a:ext uri="{FF2B5EF4-FFF2-40B4-BE49-F238E27FC236}">
                    <a16:creationId xmlns:a16="http://schemas.microsoft.com/office/drawing/2014/main" id="{03846184-FBC2-4611-B339-23E0E7EAC3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93 h 124"/>
                  <a:gd name="T2" fmla="*/ 0 w 259"/>
                  <a:gd name="T3" fmla="*/ 96 h 124"/>
                  <a:gd name="T4" fmla="*/ 2 w 259"/>
                  <a:gd name="T5" fmla="*/ 100 h 124"/>
                  <a:gd name="T6" fmla="*/ 4 w 259"/>
                  <a:gd name="T7" fmla="*/ 103 h 124"/>
                  <a:gd name="T8" fmla="*/ 6 w 259"/>
                  <a:gd name="T9" fmla="*/ 106 h 124"/>
                  <a:gd name="T10" fmla="*/ 14 w 259"/>
                  <a:gd name="T11" fmla="*/ 111 h 124"/>
                  <a:gd name="T12" fmla="*/ 23 w 259"/>
                  <a:gd name="T13" fmla="*/ 115 h 124"/>
                  <a:gd name="T14" fmla="*/ 31 w 259"/>
                  <a:gd name="T15" fmla="*/ 120 h 124"/>
                  <a:gd name="T16" fmla="*/ 41 w 259"/>
                  <a:gd name="T17" fmla="*/ 122 h 124"/>
                  <a:gd name="T18" fmla="*/ 51 w 259"/>
                  <a:gd name="T19" fmla="*/ 124 h 124"/>
                  <a:gd name="T20" fmla="*/ 60 w 259"/>
                  <a:gd name="T21" fmla="*/ 124 h 124"/>
                  <a:gd name="T22" fmla="*/ 68 w 259"/>
                  <a:gd name="T23" fmla="*/ 124 h 124"/>
                  <a:gd name="T24" fmla="*/ 75 w 259"/>
                  <a:gd name="T25" fmla="*/ 123 h 124"/>
                  <a:gd name="T26" fmla="*/ 81 w 259"/>
                  <a:gd name="T27" fmla="*/ 122 h 124"/>
                  <a:gd name="T28" fmla="*/ 87 w 259"/>
                  <a:gd name="T29" fmla="*/ 120 h 124"/>
                  <a:gd name="T30" fmla="*/ 97 w 259"/>
                  <a:gd name="T31" fmla="*/ 114 h 124"/>
                  <a:gd name="T32" fmla="*/ 106 w 259"/>
                  <a:gd name="T33" fmla="*/ 108 h 124"/>
                  <a:gd name="T34" fmla="*/ 115 w 259"/>
                  <a:gd name="T35" fmla="*/ 103 h 124"/>
                  <a:gd name="T36" fmla="*/ 125 w 259"/>
                  <a:gd name="T37" fmla="*/ 98 h 124"/>
                  <a:gd name="T38" fmla="*/ 130 w 259"/>
                  <a:gd name="T39" fmla="*/ 96 h 124"/>
                  <a:gd name="T40" fmla="*/ 137 w 259"/>
                  <a:gd name="T41" fmla="*/ 94 h 124"/>
                  <a:gd name="T42" fmla="*/ 145 w 259"/>
                  <a:gd name="T43" fmla="*/ 93 h 124"/>
                  <a:gd name="T44" fmla="*/ 152 w 259"/>
                  <a:gd name="T45" fmla="*/ 93 h 124"/>
                  <a:gd name="T46" fmla="*/ 162 w 259"/>
                  <a:gd name="T47" fmla="*/ 94 h 124"/>
                  <a:gd name="T48" fmla="*/ 171 w 259"/>
                  <a:gd name="T49" fmla="*/ 96 h 124"/>
                  <a:gd name="T50" fmla="*/ 180 w 259"/>
                  <a:gd name="T51" fmla="*/ 99 h 124"/>
                  <a:gd name="T52" fmla="*/ 188 w 259"/>
                  <a:gd name="T53" fmla="*/ 103 h 124"/>
                  <a:gd name="T54" fmla="*/ 204 w 259"/>
                  <a:gd name="T55" fmla="*/ 111 h 124"/>
                  <a:gd name="T56" fmla="*/ 219 w 259"/>
                  <a:gd name="T57" fmla="*/ 117 h 124"/>
                  <a:gd name="T58" fmla="*/ 259 w 259"/>
                  <a:gd name="T59" fmla="*/ 117 h 124"/>
                  <a:gd name="T60" fmla="*/ 259 w 259"/>
                  <a:gd name="T61" fmla="*/ 99 h 124"/>
                  <a:gd name="T62" fmla="*/ 252 w 259"/>
                  <a:gd name="T63" fmla="*/ 98 h 124"/>
                  <a:gd name="T64" fmla="*/ 244 w 259"/>
                  <a:gd name="T65" fmla="*/ 96 h 124"/>
                  <a:gd name="T66" fmla="*/ 236 w 259"/>
                  <a:gd name="T67" fmla="*/ 94 h 124"/>
                  <a:gd name="T68" fmla="*/ 226 w 259"/>
                  <a:gd name="T69" fmla="*/ 93 h 124"/>
                  <a:gd name="T70" fmla="*/ 230 w 259"/>
                  <a:gd name="T71" fmla="*/ 85 h 124"/>
                  <a:gd name="T72" fmla="*/ 236 w 259"/>
                  <a:gd name="T73" fmla="*/ 79 h 124"/>
                  <a:gd name="T74" fmla="*/ 240 w 259"/>
                  <a:gd name="T75" fmla="*/ 74 h 124"/>
                  <a:gd name="T76" fmla="*/ 246 w 259"/>
                  <a:gd name="T77" fmla="*/ 69 h 124"/>
                  <a:gd name="T78" fmla="*/ 238 w 259"/>
                  <a:gd name="T79" fmla="*/ 61 h 124"/>
                  <a:gd name="T80" fmla="*/ 230 w 259"/>
                  <a:gd name="T81" fmla="*/ 56 h 124"/>
                  <a:gd name="T82" fmla="*/ 222 w 259"/>
                  <a:gd name="T83" fmla="*/ 50 h 124"/>
                  <a:gd name="T84" fmla="*/ 214 w 259"/>
                  <a:gd name="T85" fmla="*/ 46 h 124"/>
                  <a:gd name="T86" fmla="*/ 197 w 259"/>
                  <a:gd name="T87" fmla="*/ 37 h 124"/>
                  <a:gd name="T88" fmla="*/ 182 w 259"/>
                  <a:gd name="T89" fmla="*/ 30 h 124"/>
                  <a:gd name="T90" fmla="*/ 166 w 259"/>
                  <a:gd name="T91" fmla="*/ 23 h 124"/>
                  <a:gd name="T92" fmla="*/ 153 w 259"/>
                  <a:gd name="T93" fmla="*/ 17 h 124"/>
                  <a:gd name="T94" fmla="*/ 147 w 259"/>
                  <a:gd name="T95" fmla="*/ 13 h 124"/>
                  <a:gd name="T96" fmla="*/ 141 w 259"/>
                  <a:gd name="T97" fmla="*/ 10 h 124"/>
                  <a:gd name="T98" fmla="*/ 137 w 259"/>
                  <a:gd name="T99" fmla="*/ 5 h 124"/>
                  <a:gd name="T100" fmla="*/ 132 w 259"/>
                  <a:gd name="T101" fmla="*/ 0 h 124"/>
                  <a:gd name="T102" fmla="*/ 124 w 259"/>
                  <a:gd name="T103" fmla="*/ 3 h 124"/>
                  <a:gd name="T104" fmla="*/ 114 w 259"/>
                  <a:gd name="T105" fmla="*/ 7 h 124"/>
                  <a:gd name="T106" fmla="*/ 105 w 259"/>
                  <a:gd name="T107" fmla="*/ 12 h 124"/>
                  <a:gd name="T108" fmla="*/ 95 w 259"/>
                  <a:gd name="T109" fmla="*/ 17 h 124"/>
                  <a:gd name="T110" fmla="*/ 75 w 259"/>
                  <a:gd name="T111" fmla="*/ 29 h 124"/>
                  <a:gd name="T112" fmla="*/ 57 w 259"/>
                  <a:gd name="T113" fmla="*/ 42 h 124"/>
                  <a:gd name="T114" fmla="*/ 38 w 259"/>
                  <a:gd name="T115" fmla="*/ 56 h 124"/>
                  <a:gd name="T116" fmla="*/ 23 w 259"/>
                  <a:gd name="T117" fmla="*/ 70 h 124"/>
                  <a:gd name="T118" fmla="*/ 9 w 259"/>
                  <a:gd name="T119" fmla="*/ 83 h 124"/>
                  <a:gd name="T120" fmla="*/ 0 w 259"/>
                  <a:gd name="T121" fmla="*/ 93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4" name="Freeform 421">
                <a:extLst>
                  <a:ext uri="{FF2B5EF4-FFF2-40B4-BE49-F238E27FC236}">
                    <a16:creationId xmlns:a16="http://schemas.microsoft.com/office/drawing/2014/main" id="{04B4B022-0E11-422C-B30F-B9BA096F57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32 h 57"/>
                  <a:gd name="T2" fmla="*/ 7 w 119"/>
                  <a:gd name="T3" fmla="*/ 35 h 57"/>
                  <a:gd name="T4" fmla="*/ 14 w 119"/>
                  <a:gd name="T5" fmla="*/ 38 h 57"/>
                  <a:gd name="T6" fmla="*/ 20 w 119"/>
                  <a:gd name="T7" fmla="*/ 42 h 57"/>
                  <a:gd name="T8" fmla="*/ 26 w 119"/>
                  <a:gd name="T9" fmla="*/ 47 h 57"/>
                  <a:gd name="T10" fmla="*/ 32 w 119"/>
                  <a:gd name="T11" fmla="*/ 51 h 57"/>
                  <a:gd name="T12" fmla="*/ 36 w 119"/>
                  <a:gd name="T13" fmla="*/ 54 h 57"/>
                  <a:gd name="T14" fmla="*/ 41 w 119"/>
                  <a:gd name="T15" fmla="*/ 56 h 57"/>
                  <a:gd name="T16" fmla="*/ 47 w 119"/>
                  <a:gd name="T17" fmla="*/ 57 h 57"/>
                  <a:gd name="T18" fmla="*/ 55 w 119"/>
                  <a:gd name="T19" fmla="*/ 57 h 57"/>
                  <a:gd name="T20" fmla="*/ 62 w 119"/>
                  <a:gd name="T21" fmla="*/ 56 h 57"/>
                  <a:gd name="T22" fmla="*/ 70 w 119"/>
                  <a:gd name="T23" fmla="*/ 55 h 57"/>
                  <a:gd name="T24" fmla="*/ 77 w 119"/>
                  <a:gd name="T25" fmla="*/ 53 h 57"/>
                  <a:gd name="T26" fmla="*/ 83 w 119"/>
                  <a:gd name="T27" fmla="*/ 50 h 57"/>
                  <a:gd name="T28" fmla="*/ 89 w 119"/>
                  <a:gd name="T29" fmla="*/ 48 h 57"/>
                  <a:gd name="T30" fmla="*/ 93 w 119"/>
                  <a:gd name="T31" fmla="*/ 44 h 57"/>
                  <a:gd name="T32" fmla="*/ 97 w 119"/>
                  <a:gd name="T33" fmla="*/ 40 h 57"/>
                  <a:gd name="T34" fmla="*/ 106 w 119"/>
                  <a:gd name="T35" fmla="*/ 32 h 57"/>
                  <a:gd name="T36" fmla="*/ 112 w 119"/>
                  <a:gd name="T37" fmla="*/ 23 h 57"/>
                  <a:gd name="T38" fmla="*/ 116 w 119"/>
                  <a:gd name="T39" fmla="*/ 13 h 57"/>
                  <a:gd name="T40" fmla="*/ 119 w 119"/>
                  <a:gd name="T41" fmla="*/ 1 h 57"/>
                  <a:gd name="T42" fmla="*/ 101 w 119"/>
                  <a:gd name="T43" fmla="*/ 0 h 57"/>
                  <a:gd name="T44" fmla="*/ 82 w 119"/>
                  <a:gd name="T45" fmla="*/ 0 h 57"/>
                  <a:gd name="T46" fmla="*/ 63 w 119"/>
                  <a:gd name="T47" fmla="*/ 2 h 57"/>
                  <a:gd name="T48" fmla="*/ 45 w 119"/>
                  <a:gd name="T49" fmla="*/ 5 h 57"/>
                  <a:gd name="T50" fmla="*/ 36 w 119"/>
                  <a:gd name="T51" fmla="*/ 7 h 57"/>
                  <a:gd name="T52" fmla="*/ 28 w 119"/>
                  <a:gd name="T53" fmla="*/ 10 h 57"/>
                  <a:gd name="T54" fmla="*/ 22 w 119"/>
                  <a:gd name="T55" fmla="*/ 13 h 57"/>
                  <a:gd name="T56" fmla="*/ 15 w 119"/>
                  <a:gd name="T57" fmla="*/ 16 h 57"/>
                  <a:gd name="T58" fmla="*/ 10 w 119"/>
                  <a:gd name="T59" fmla="*/ 19 h 57"/>
                  <a:gd name="T60" fmla="*/ 5 w 119"/>
                  <a:gd name="T61" fmla="*/ 23 h 57"/>
                  <a:gd name="T62" fmla="*/ 2 w 119"/>
                  <a:gd name="T63" fmla="*/ 27 h 57"/>
                  <a:gd name="T64" fmla="*/ 0 w 119"/>
                  <a:gd name="T65" fmla="*/ 3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5" name="Freeform 422">
                <a:extLst>
                  <a:ext uri="{FF2B5EF4-FFF2-40B4-BE49-F238E27FC236}">
                    <a16:creationId xmlns:a16="http://schemas.microsoft.com/office/drawing/2014/main" id="{0F5C45C4-E684-4B1A-BB13-E83D5A7E50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50 h 52"/>
                  <a:gd name="T2" fmla="*/ 6 w 107"/>
                  <a:gd name="T3" fmla="*/ 51 h 52"/>
                  <a:gd name="T4" fmla="*/ 9 w 107"/>
                  <a:gd name="T5" fmla="*/ 52 h 52"/>
                  <a:gd name="T6" fmla="*/ 13 w 107"/>
                  <a:gd name="T7" fmla="*/ 52 h 52"/>
                  <a:gd name="T8" fmla="*/ 17 w 107"/>
                  <a:gd name="T9" fmla="*/ 52 h 52"/>
                  <a:gd name="T10" fmla="*/ 24 w 107"/>
                  <a:gd name="T11" fmla="*/ 50 h 52"/>
                  <a:gd name="T12" fmla="*/ 34 w 107"/>
                  <a:gd name="T13" fmla="*/ 50 h 52"/>
                  <a:gd name="T14" fmla="*/ 43 w 107"/>
                  <a:gd name="T15" fmla="*/ 49 h 52"/>
                  <a:gd name="T16" fmla="*/ 53 w 107"/>
                  <a:gd name="T17" fmla="*/ 48 h 52"/>
                  <a:gd name="T18" fmla="*/ 62 w 107"/>
                  <a:gd name="T19" fmla="*/ 47 h 52"/>
                  <a:gd name="T20" fmla="*/ 70 w 107"/>
                  <a:gd name="T21" fmla="*/ 43 h 52"/>
                  <a:gd name="T22" fmla="*/ 79 w 107"/>
                  <a:gd name="T23" fmla="*/ 40 h 52"/>
                  <a:gd name="T24" fmla="*/ 88 w 107"/>
                  <a:gd name="T25" fmla="*/ 36 h 52"/>
                  <a:gd name="T26" fmla="*/ 97 w 107"/>
                  <a:gd name="T27" fmla="*/ 31 h 52"/>
                  <a:gd name="T28" fmla="*/ 107 w 107"/>
                  <a:gd name="T29" fmla="*/ 24 h 52"/>
                  <a:gd name="T30" fmla="*/ 107 w 107"/>
                  <a:gd name="T31" fmla="*/ 0 h 52"/>
                  <a:gd name="T32" fmla="*/ 98 w 107"/>
                  <a:gd name="T33" fmla="*/ 1 h 52"/>
                  <a:gd name="T34" fmla="*/ 86 w 107"/>
                  <a:gd name="T35" fmla="*/ 3 h 52"/>
                  <a:gd name="T36" fmla="*/ 72 w 107"/>
                  <a:gd name="T37" fmla="*/ 7 h 52"/>
                  <a:gd name="T38" fmla="*/ 56 w 107"/>
                  <a:gd name="T39" fmla="*/ 13 h 52"/>
                  <a:gd name="T40" fmla="*/ 41 w 107"/>
                  <a:gd name="T41" fmla="*/ 20 h 52"/>
                  <a:gd name="T42" fmla="*/ 25 w 107"/>
                  <a:gd name="T43" fmla="*/ 28 h 52"/>
                  <a:gd name="T44" fmla="*/ 19 w 107"/>
                  <a:gd name="T45" fmla="*/ 33 h 52"/>
                  <a:gd name="T46" fmla="*/ 12 w 107"/>
                  <a:gd name="T47" fmla="*/ 38 h 52"/>
                  <a:gd name="T48" fmla="*/ 6 w 107"/>
                  <a:gd name="T49" fmla="*/ 43 h 52"/>
                  <a:gd name="T50" fmla="*/ 0 w 107"/>
                  <a:gd name="T51" fmla="*/ 5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6" name="Freeform 423">
                <a:extLst>
                  <a:ext uri="{FF2B5EF4-FFF2-40B4-BE49-F238E27FC236}">
                    <a16:creationId xmlns:a16="http://schemas.microsoft.com/office/drawing/2014/main" id="{3D4BD816-E1F4-46FF-A7DB-EAF195DE9B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27 w 246"/>
                  <a:gd name="T1" fmla="*/ 99 h 99"/>
                  <a:gd name="T2" fmla="*/ 22 w 246"/>
                  <a:gd name="T3" fmla="*/ 97 h 99"/>
                  <a:gd name="T4" fmla="*/ 17 w 246"/>
                  <a:gd name="T5" fmla="*/ 96 h 99"/>
                  <a:gd name="T6" fmla="*/ 12 w 246"/>
                  <a:gd name="T7" fmla="*/ 93 h 99"/>
                  <a:gd name="T8" fmla="*/ 9 w 246"/>
                  <a:gd name="T9" fmla="*/ 90 h 99"/>
                  <a:gd name="T10" fmla="*/ 6 w 246"/>
                  <a:gd name="T11" fmla="*/ 86 h 99"/>
                  <a:gd name="T12" fmla="*/ 2 w 246"/>
                  <a:gd name="T13" fmla="*/ 82 h 99"/>
                  <a:gd name="T14" fmla="*/ 1 w 246"/>
                  <a:gd name="T15" fmla="*/ 78 h 99"/>
                  <a:gd name="T16" fmla="*/ 0 w 246"/>
                  <a:gd name="T17" fmla="*/ 73 h 99"/>
                  <a:gd name="T18" fmla="*/ 0 w 246"/>
                  <a:gd name="T19" fmla="*/ 69 h 99"/>
                  <a:gd name="T20" fmla="*/ 1 w 246"/>
                  <a:gd name="T21" fmla="*/ 65 h 99"/>
                  <a:gd name="T22" fmla="*/ 3 w 246"/>
                  <a:gd name="T23" fmla="*/ 60 h 99"/>
                  <a:gd name="T24" fmla="*/ 5 w 246"/>
                  <a:gd name="T25" fmla="*/ 56 h 99"/>
                  <a:gd name="T26" fmla="*/ 10 w 246"/>
                  <a:gd name="T27" fmla="*/ 49 h 99"/>
                  <a:gd name="T28" fmla="*/ 18 w 246"/>
                  <a:gd name="T29" fmla="*/ 41 h 99"/>
                  <a:gd name="T30" fmla="*/ 25 w 246"/>
                  <a:gd name="T31" fmla="*/ 34 h 99"/>
                  <a:gd name="T32" fmla="*/ 35 w 246"/>
                  <a:gd name="T33" fmla="*/ 28 h 99"/>
                  <a:gd name="T34" fmla="*/ 46 w 246"/>
                  <a:gd name="T35" fmla="*/ 23 h 99"/>
                  <a:gd name="T36" fmla="*/ 57 w 246"/>
                  <a:gd name="T37" fmla="*/ 18 h 99"/>
                  <a:gd name="T38" fmla="*/ 69 w 246"/>
                  <a:gd name="T39" fmla="*/ 14 h 99"/>
                  <a:gd name="T40" fmla="*/ 81 w 246"/>
                  <a:gd name="T41" fmla="*/ 10 h 99"/>
                  <a:gd name="T42" fmla="*/ 92 w 246"/>
                  <a:gd name="T43" fmla="*/ 7 h 99"/>
                  <a:gd name="T44" fmla="*/ 104 w 246"/>
                  <a:gd name="T45" fmla="*/ 4 h 99"/>
                  <a:gd name="T46" fmla="*/ 124 w 246"/>
                  <a:gd name="T47" fmla="*/ 1 h 99"/>
                  <a:gd name="T48" fmla="*/ 140 w 246"/>
                  <a:gd name="T49" fmla="*/ 0 h 99"/>
                  <a:gd name="T50" fmla="*/ 168 w 246"/>
                  <a:gd name="T51" fmla="*/ 0 h 99"/>
                  <a:gd name="T52" fmla="*/ 193 w 246"/>
                  <a:gd name="T53" fmla="*/ 1 h 99"/>
                  <a:gd name="T54" fmla="*/ 219 w 246"/>
                  <a:gd name="T55" fmla="*/ 2 h 99"/>
                  <a:gd name="T56" fmla="*/ 246 w 246"/>
                  <a:gd name="T57" fmla="*/ 6 h 99"/>
                  <a:gd name="T58" fmla="*/ 244 w 246"/>
                  <a:gd name="T59" fmla="*/ 11 h 99"/>
                  <a:gd name="T60" fmla="*/ 241 w 246"/>
                  <a:gd name="T61" fmla="*/ 15 h 99"/>
                  <a:gd name="T62" fmla="*/ 236 w 246"/>
                  <a:gd name="T63" fmla="*/ 20 h 99"/>
                  <a:gd name="T64" fmla="*/ 231 w 246"/>
                  <a:gd name="T65" fmla="*/ 26 h 99"/>
                  <a:gd name="T66" fmla="*/ 215 w 246"/>
                  <a:gd name="T67" fmla="*/ 36 h 99"/>
                  <a:gd name="T68" fmla="*/ 199 w 246"/>
                  <a:gd name="T69" fmla="*/ 46 h 99"/>
                  <a:gd name="T70" fmla="*/ 180 w 246"/>
                  <a:gd name="T71" fmla="*/ 55 h 99"/>
                  <a:gd name="T72" fmla="*/ 162 w 246"/>
                  <a:gd name="T73" fmla="*/ 61 h 99"/>
                  <a:gd name="T74" fmla="*/ 152 w 246"/>
                  <a:gd name="T75" fmla="*/ 64 h 99"/>
                  <a:gd name="T76" fmla="*/ 143 w 246"/>
                  <a:gd name="T77" fmla="*/ 66 h 99"/>
                  <a:gd name="T78" fmla="*/ 134 w 246"/>
                  <a:gd name="T79" fmla="*/ 67 h 99"/>
                  <a:gd name="T80" fmla="*/ 126 w 246"/>
                  <a:gd name="T81" fmla="*/ 67 h 99"/>
                  <a:gd name="T82" fmla="*/ 120 w 246"/>
                  <a:gd name="T83" fmla="*/ 67 h 99"/>
                  <a:gd name="T84" fmla="*/ 110 w 246"/>
                  <a:gd name="T85" fmla="*/ 67 h 99"/>
                  <a:gd name="T86" fmla="*/ 100 w 246"/>
                  <a:gd name="T87" fmla="*/ 67 h 99"/>
                  <a:gd name="T88" fmla="*/ 93 w 246"/>
                  <a:gd name="T89" fmla="*/ 67 h 99"/>
                  <a:gd name="T90" fmla="*/ 88 w 246"/>
                  <a:gd name="T91" fmla="*/ 69 h 99"/>
                  <a:gd name="T92" fmla="*/ 80 w 246"/>
                  <a:gd name="T93" fmla="*/ 72 h 99"/>
                  <a:gd name="T94" fmla="*/ 72 w 246"/>
                  <a:gd name="T95" fmla="*/ 77 h 99"/>
                  <a:gd name="T96" fmla="*/ 63 w 246"/>
                  <a:gd name="T97" fmla="*/ 83 h 99"/>
                  <a:gd name="T98" fmla="*/ 53 w 246"/>
                  <a:gd name="T99" fmla="*/ 88 h 99"/>
                  <a:gd name="T100" fmla="*/ 44 w 246"/>
                  <a:gd name="T101" fmla="*/ 93 h 99"/>
                  <a:gd name="T102" fmla="*/ 35 w 246"/>
                  <a:gd name="T103" fmla="*/ 96 h 99"/>
                  <a:gd name="T104" fmla="*/ 27 w 246"/>
                  <a:gd name="T105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7" name="Freeform 424">
                <a:extLst>
                  <a:ext uri="{FF2B5EF4-FFF2-40B4-BE49-F238E27FC236}">
                    <a16:creationId xmlns:a16="http://schemas.microsoft.com/office/drawing/2014/main" id="{38EBF934-0467-4A5B-843E-EFE034CC78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33 w 233"/>
                  <a:gd name="T1" fmla="*/ 88 h 123"/>
                  <a:gd name="T2" fmla="*/ 10 w 233"/>
                  <a:gd name="T3" fmla="*/ 78 h 123"/>
                  <a:gd name="T4" fmla="*/ 0 w 233"/>
                  <a:gd name="T5" fmla="*/ 55 h 123"/>
                  <a:gd name="T6" fmla="*/ 20 w 233"/>
                  <a:gd name="T7" fmla="*/ 37 h 123"/>
                  <a:gd name="T8" fmla="*/ 40 w 233"/>
                  <a:gd name="T9" fmla="*/ 37 h 123"/>
                  <a:gd name="T10" fmla="*/ 61 w 233"/>
                  <a:gd name="T11" fmla="*/ 37 h 123"/>
                  <a:gd name="T12" fmla="*/ 72 w 233"/>
                  <a:gd name="T13" fmla="*/ 36 h 123"/>
                  <a:gd name="T14" fmla="*/ 83 w 233"/>
                  <a:gd name="T15" fmla="*/ 33 h 123"/>
                  <a:gd name="T16" fmla="*/ 104 w 233"/>
                  <a:gd name="T17" fmla="*/ 23 h 123"/>
                  <a:gd name="T18" fmla="*/ 123 w 233"/>
                  <a:gd name="T19" fmla="*/ 11 h 123"/>
                  <a:gd name="T20" fmla="*/ 146 w 233"/>
                  <a:gd name="T21" fmla="*/ 0 h 123"/>
                  <a:gd name="T22" fmla="*/ 161 w 233"/>
                  <a:gd name="T23" fmla="*/ 8 h 123"/>
                  <a:gd name="T24" fmla="*/ 181 w 233"/>
                  <a:gd name="T25" fmla="*/ 12 h 123"/>
                  <a:gd name="T26" fmla="*/ 190 w 233"/>
                  <a:gd name="T27" fmla="*/ 10 h 123"/>
                  <a:gd name="T28" fmla="*/ 201 w 233"/>
                  <a:gd name="T29" fmla="*/ 6 h 123"/>
                  <a:gd name="T30" fmla="*/ 213 w 233"/>
                  <a:gd name="T31" fmla="*/ 0 h 123"/>
                  <a:gd name="T32" fmla="*/ 232 w 233"/>
                  <a:gd name="T33" fmla="*/ 6 h 123"/>
                  <a:gd name="T34" fmla="*/ 228 w 233"/>
                  <a:gd name="T35" fmla="*/ 18 h 123"/>
                  <a:gd name="T36" fmla="*/ 219 w 233"/>
                  <a:gd name="T37" fmla="*/ 25 h 123"/>
                  <a:gd name="T38" fmla="*/ 207 w 233"/>
                  <a:gd name="T39" fmla="*/ 30 h 123"/>
                  <a:gd name="T40" fmla="*/ 201 w 233"/>
                  <a:gd name="T41" fmla="*/ 43 h 123"/>
                  <a:gd name="T42" fmla="*/ 206 w 233"/>
                  <a:gd name="T43" fmla="*/ 62 h 123"/>
                  <a:gd name="T44" fmla="*/ 185 w 233"/>
                  <a:gd name="T45" fmla="*/ 85 h 123"/>
                  <a:gd name="T46" fmla="*/ 157 w 233"/>
                  <a:gd name="T47" fmla="*/ 96 h 123"/>
                  <a:gd name="T48" fmla="*/ 139 w 233"/>
                  <a:gd name="T49" fmla="*/ 98 h 123"/>
                  <a:gd name="T50" fmla="*/ 116 w 233"/>
                  <a:gd name="T51" fmla="*/ 100 h 123"/>
                  <a:gd name="T52" fmla="*/ 96 w 233"/>
                  <a:gd name="T53" fmla="*/ 106 h 123"/>
                  <a:gd name="T54" fmla="*/ 82 w 233"/>
                  <a:gd name="T55" fmla="*/ 115 h 123"/>
                  <a:gd name="T56" fmla="*/ 67 w 233"/>
                  <a:gd name="T57" fmla="*/ 122 h 123"/>
                  <a:gd name="T58" fmla="*/ 58 w 233"/>
                  <a:gd name="T59" fmla="*/ 122 h 123"/>
                  <a:gd name="T60" fmla="*/ 53 w 233"/>
                  <a:gd name="T61" fmla="*/ 115 h 123"/>
                  <a:gd name="T62" fmla="*/ 48 w 233"/>
                  <a:gd name="T63" fmla="*/ 10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8" name="Freeform 425">
                <a:extLst>
                  <a:ext uri="{FF2B5EF4-FFF2-40B4-BE49-F238E27FC236}">
                    <a16:creationId xmlns:a16="http://schemas.microsoft.com/office/drawing/2014/main" id="{DDDDDF03-3FEF-4CCD-B845-C4598FF7A3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147 h 172"/>
                  <a:gd name="T2" fmla="*/ 3 w 484"/>
                  <a:gd name="T3" fmla="*/ 156 h 172"/>
                  <a:gd name="T4" fmla="*/ 9 w 484"/>
                  <a:gd name="T5" fmla="*/ 162 h 172"/>
                  <a:gd name="T6" fmla="*/ 17 w 484"/>
                  <a:gd name="T7" fmla="*/ 167 h 172"/>
                  <a:gd name="T8" fmla="*/ 31 w 484"/>
                  <a:gd name="T9" fmla="*/ 170 h 172"/>
                  <a:gd name="T10" fmla="*/ 51 w 484"/>
                  <a:gd name="T11" fmla="*/ 172 h 172"/>
                  <a:gd name="T12" fmla="*/ 73 w 484"/>
                  <a:gd name="T13" fmla="*/ 172 h 172"/>
                  <a:gd name="T14" fmla="*/ 99 w 484"/>
                  <a:gd name="T15" fmla="*/ 167 h 172"/>
                  <a:gd name="T16" fmla="*/ 139 w 484"/>
                  <a:gd name="T17" fmla="*/ 156 h 172"/>
                  <a:gd name="T18" fmla="*/ 189 w 484"/>
                  <a:gd name="T19" fmla="*/ 135 h 172"/>
                  <a:gd name="T20" fmla="*/ 240 w 484"/>
                  <a:gd name="T21" fmla="*/ 113 h 172"/>
                  <a:gd name="T22" fmla="*/ 287 w 484"/>
                  <a:gd name="T23" fmla="*/ 100 h 172"/>
                  <a:gd name="T24" fmla="*/ 350 w 484"/>
                  <a:gd name="T25" fmla="*/ 87 h 172"/>
                  <a:gd name="T26" fmla="*/ 401 w 484"/>
                  <a:gd name="T27" fmla="*/ 75 h 172"/>
                  <a:gd name="T28" fmla="*/ 434 w 484"/>
                  <a:gd name="T29" fmla="*/ 64 h 172"/>
                  <a:gd name="T30" fmla="*/ 461 w 484"/>
                  <a:gd name="T31" fmla="*/ 52 h 172"/>
                  <a:gd name="T32" fmla="*/ 475 w 484"/>
                  <a:gd name="T33" fmla="*/ 42 h 172"/>
                  <a:gd name="T34" fmla="*/ 482 w 484"/>
                  <a:gd name="T35" fmla="*/ 35 h 172"/>
                  <a:gd name="T36" fmla="*/ 449 w 484"/>
                  <a:gd name="T37" fmla="*/ 26 h 172"/>
                  <a:gd name="T38" fmla="*/ 387 w 484"/>
                  <a:gd name="T39" fmla="*/ 16 h 172"/>
                  <a:gd name="T40" fmla="*/ 331 w 484"/>
                  <a:gd name="T41" fmla="*/ 6 h 172"/>
                  <a:gd name="T42" fmla="*/ 272 w 484"/>
                  <a:gd name="T43" fmla="*/ 0 h 172"/>
                  <a:gd name="T44" fmla="*/ 225 w 484"/>
                  <a:gd name="T45" fmla="*/ 0 h 172"/>
                  <a:gd name="T46" fmla="*/ 203 w 484"/>
                  <a:gd name="T47" fmla="*/ 4 h 172"/>
                  <a:gd name="T48" fmla="*/ 186 w 484"/>
                  <a:gd name="T49" fmla="*/ 8 h 172"/>
                  <a:gd name="T50" fmla="*/ 176 w 484"/>
                  <a:gd name="T51" fmla="*/ 6 h 172"/>
                  <a:gd name="T52" fmla="*/ 169 w 484"/>
                  <a:gd name="T53" fmla="*/ 3 h 172"/>
                  <a:gd name="T54" fmla="*/ 165 w 484"/>
                  <a:gd name="T55" fmla="*/ 8 h 172"/>
                  <a:gd name="T56" fmla="*/ 161 w 484"/>
                  <a:gd name="T57" fmla="*/ 24 h 172"/>
                  <a:gd name="T58" fmla="*/ 154 w 484"/>
                  <a:gd name="T59" fmla="*/ 36 h 172"/>
                  <a:gd name="T60" fmla="*/ 144 w 484"/>
                  <a:gd name="T61" fmla="*/ 46 h 172"/>
                  <a:gd name="T62" fmla="*/ 127 w 484"/>
                  <a:gd name="T63" fmla="*/ 58 h 172"/>
                  <a:gd name="T64" fmla="*/ 97 w 484"/>
                  <a:gd name="T65" fmla="*/ 69 h 172"/>
                  <a:gd name="T66" fmla="*/ 66 w 484"/>
                  <a:gd name="T67" fmla="*/ 78 h 172"/>
                  <a:gd name="T68" fmla="*/ 38 w 484"/>
                  <a:gd name="T69" fmla="*/ 88 h 172"/>
                  <a:gd name="T70" fmla="*/ 19 w 484"/>
                  <a:gd name="T71" fmla="*/ 98 h 172"/>
                  <a:gd name="T72" fmla="*/ 10 w 484"/>
                  <a:gd name="T73" fmla="*/ 107 h 172"/>
                  <a:gd name="T74" fmla="*/ 3 w 484"/>
                  <a:gd name="T75" fmla="*/ 119 h 172"/>
                  <a:gd name="T76" fmla="*/ 0 w 484"/>
                  <a:gd name="T77" fmla="*/ 13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29" name="Freeform 426">
                <a:extLst>
                  <a:ext uri="{FF2B5EF4-FFF2-40B4-BE49-F238E27FC236}">
                    <a16:creationId xmlns:a16="http://schemas.microsoft.com/office/drawing/2014/main" id="{7FDCFFF3-39D4-4416-8C8A-67E7E48C7C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317 w 684"/>
                  <a:gd name="T1" fmla="*/ 5 h 240"/>
                  <a:gd name="T2" fmla="*/ 304 w 684"/>
                  <a:gd name="T3" fmla="*/ 27 h 240"/>
                  <a:gd name="T4" fmla="*/ 297 w 684"/>
                  <a:gd name="T5" fmla="*/ 41 h 240"/>
                  <a:gd name="T6" fmla="*/ 299 w 684"/>
                  <a:gd name="T7" fmla="*/ 43 h 240"/>
                  <a:gd name="T8" fmla="*/ 337 w 684"/>
                  <a:gd name="T9" fmla="*/ 39 h 240"/>
                  <a:gd name="T10" fmla="*/ 372 w 684"/>
                  <a:gd name="T11" fmla="*/ 19 h 240"/>
                  <a:gd name="T12" fmla="*/ 379 w 684"/>
                  <a:gd name="T13" fmla="*/ 38 h 240"/>
                  <a:gd name="T14" fmla="*/ 377 w 684"/>
                  <a:gd name="T15" fmla="*/ 55 h 240"/>
                  <a:gd name="T16" fmla="*/ 405 w 684"/>
                  <a:gd name="T17" fmla="*/ 69 h 240"/>
                  <a:gd name="T18" fmla="*/ 511 w 684"/>
                  <a:gd name="T19" fmla="*/ 51 h 240"/>
                  <a:gd name="T20" fmla="*/ 514 w 684"/>
                  <a:gd name="T21" fmla="*/ 70 h 240"/>
                  <a:gd name="T22" fmla="*/ 541 w 684"/>
                  <a:gd name="T23" fmla="*/ 63 h 240"/>
                  <a:gd name="T24" fmla="*/ 557 w 684"/>
                  <a:gd name="T25" fmla="*/ 45 h 240"/>
                  <a:gd name="T26" fmla="*/ 558 w 684"/>
                  <a:gd name="T27" fmla="*/ 19 h 240"/>
                  <a:gd name="T28" fmla="*/ 563 w 684"/>
                  <a:gd name="T29" fmla="*/ 8 h 240"/>
                  <a:gd name="T30" fmla="*/ 579 w 684"/>
                  <a:gd name="T31" fmla="*/ 0 h 240"/>
                  <a:gd name="T32" fmla="*/ 624 w 684"/>
                  <a:gd name="T33" fmla="*/ 3 h 240"/>
                  <a:gd name="T34" fmla="*/ 645 w 684"/>
                  <a:gd name="T35" fmla="*/ 0 h 240"/>
                  <a:gd name="T36" fmla="*/ 657 w 684"/>
                  <a:gd name="T37" fmla="*/ 39 h 240"/>
                  <a:gd name="T38" fmla="*/ 653 w 684"/>
                  <a:gd name="T39" fmla="*/ 70 h 240"/>
                  <a:gd name="T40" fmla="*/ 637 w 684"/>
                  <a:gd name="T41" fmla="*/ 101 h 240"/>
                  <a:gd name="T42" fmla="*/ 618 w 684"/>
                  <a:gd name="T43" fmla="*/ 124 h 240"/>
                  <a:gd name="T44" fmla="*/ 648 w 684"/>
                  <a:gd name="T45" fmla="*/ 137 h 240"/>
                  <a:gd name="T46" fmla="*/ 672 w 684"/>
                  <a:gd name="T47" fmla="*/ 145 h 240"/>
                  <a:gd name="T48" fmla="*/ 684 w 684"/>
                  <a:gd name="T49" fmla="*/ 180 h 240"/>
                  <a:gd name="T50" fmla="*/ 639 w 684"/>
                  <a:gd name="T51" fmla="*/ 185 h 240"/>
                  <a:gd name="T52" fmla="*/ 608 w 684"/>
                  <a:gd name="T53" fmla="*/ 181 h 240"/>
                  <a:gd name="T54" fmla="*/ 574 w 684"/>
                  <a:gd name="T55" fmla="*/ 180 h 240"/>
                  <a:gd name="T56" fmla="*/ 564 w 684"/>
                  <a:gd name="T57" fmla="*/ 184 h 240"/>
                  <a:gd name="T58" fmla="*/ 542 w 684"/>
                  <a:gd name="T59" fmla="*/ 200 h 240"/>
                  <a:gd name="T60" fmla="*/ 524 w 684"/>
                  <a:gd name="T61" fmla="*/ 209 h 240"/>
                  <a:gd name="T62" fmla="*/ 493 w 684"/>
                  <a:gd name="T63" fmla="*/ 209 h 240"/>
                  <a:gd name="T64" fmla="*/ 452 w 684"/>
                  <a:gd name="T65" fmla="*/ 204 h 240"/>
                  <a:gd name="T66" fmla="*/ 422 w 684"/>
                  <a:gd name="T67" fmla="*/ 198 h 240"/>
                  <a:gd name="T68" fmla="*/ 337 w 684"/>
                  <a:gd name="T69" fmla="*/ 211 h 240"/>
                  <a:gd name="T70" fmla="*/ 231 w 684"/>
                  <a:gd name="T71" fmla="*/ 230 h 240"/>
                  <a:gd name="T72" fmla="*/ 169 w 684"/>
                  <a:gd name="T73" fmla="*/ 238 h 240"/>
                  <a:gd name="T74" fmla="*/ 124 w 684"/>
                  <a:gd name="T75" fmla="*/ 238 h 240"/>
                  <a:gd name="T76" fmla="*/ 100 w 684"/>
                  <a:gd name="T77" fmla="*/ 228 h 240"/>
                  <a:gd name="T78" fmla="*/ 67 w 684"/>
                  <a:gd name="T79" fmla="*/ 208 h 240"/>
                  <a:gd name="T80" fmla="*/ 29 w 684"/>
                  <a:gd name="T81" fmla="*/ 196 h 240"/>
                  <a:gd name="T82" fmla="*/ 0 w 684"/>
                  <a:gd name="T83" fmla="*/ 173 h 240"/>
                  <a:gd name="T84" fmla="*/ 64 w 684"/>
                  <a:gd name="T85" fmla="*/ 159 h 240"/>
                  <a:gd name="T86" fmla="*/ 100 w 684"/>
                  <a:gd name="T87" fmla="*/ 154 h 240"/>
                  <a:gd name="T88" fmla="*/ 156 w 684"/>
                  <a:gd name="T89" fmla="*/ 160 h 240"/>
                  <a:gd name="T90" fmla="*/ 201 w 684"/>
                  <a:gd name="T91" fmla="*/ 165 h 240"/>
                  <a:gd name="T92" fmla="*/ 224 w 684"/>
                  <a:gd name="T93" fmla="*/ 162 h 240"/>
                  <a:gd name="T94" fmla="*/ 26 w 684"/>
                  <a:gd name="T95" fmla="*/ 136 h 240"/>
                  <a:gd name="T96" fmla="*/ 52 w 684"/>
                  <a:gd name="T97" fmla="*/ 128 h 240"/>
                  <a:gd name="T98" fmla="*/ 109 w 684"/>
                  <a:gd name="T99" fmla="*/ 117 h 240"/>
                  <a:gd name="T100" fmla="*/ 165 w 684"/>
                  <a:gd name="T101" fmla="*/ 108 h 240"/>
                  <a:gd name="T102" fmla="*/ 187 w 684"/>
                  <a:gd name="T103" fmla="*/ 99 h 240"/>
                  <a:gd name="T104" fmla="*/ 166 w 684"/>
                  <a:gd name="T105" fmla="*/ 93 h 240"/>
                  <a:gd name="T106" fmla="*/ 125 w 684"/>
                  <a:gd name="T107" fmla="*/ 98 h 240"/>
                  <a:gd name="T108" fmla="*/ 71 w 684"/>
                  <a:gd name="T109" fmla="*/ 110 h 240"/>
                  <a:gd name="T110" fmla="*/ 52 w 684"/>
                  <a:gd name="T111" fmla="*/ 106 h 240"/>
                  <a:gd name="T112" fmla="*/ 55 w 684"/>
                  <a:gd name="T113" fmla="*/ 90 h 240"/>
                  <a:gd name="T114" fmla="*/ 54 w 684"/>
                  <a:gd name="T115" fmla="*/ 81 h 240"/>
                  <a:gd name="T116" fmla="*/ 59 w 684"/>
                  <a:gd name="T117" fmla="*/ 7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30" name="Freeform 427">
                <a:extLst>
                  <a:ext uri="{FF2B5EF4-FFF2-40B4-BE49-F238E27FC236}">
                    <a16:creationId xmlns:a16="http://schemas.microsoft.com/office/drawing/2014/main" id="{26326E31-F68E-466F-A023-DEC671F3BA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180 w 332"/>
                  <a:gd name="T1" fmla="*/ 38 h 287"/>
                  <a:gd name="T2" fmla="*/ 202 w 332"/>
                  <a:gd name="T3" fmla="*/ 24 h 287"/>
                  <a:gd name="T4" fmla="*/ 226 w 332"/>
                  <a:gd name="T5" fmla="*/ 7 h 287"/>
                  <a:gd name="T6" fmla="*/ 240 w 332"/>
                  <a:gd name="T7" fmla="*/ 1 h 287"/>
                  <a:gd name="T8" fmla="*/ 246 w 332"/>
                  <a:gd name="T9" fmla="*/ 1 h 287"/>
                  <a:gd name="T10" fmla="*/ 245 w 332"/>
                  <a:gd name="T11" fmla="*/ 12 h 287"/>
                  <a:gd name="T12" fmla="*/ 234 w 332"/>
                  <a:gd name="T13" fmla="*/ 33 h 287"/>
                  <a:gd name="T14" fmla="*/ 217 w 332"/>
                  <a:gd name="T15" fmla="*/ 55 h 287"/>
                  <a:gd name="T16" fmla="*/ 202 w 332"/>
                  <a:gd name="T17" fmla="*/ 67 h 287"/>
                  <a:gd name="T18" fmla="*/ 191 w 332"/>
                  <a:gd name="T19" fmla="*/ 71 h 287"/>
                  <a:gd name="T20" fmla="*/ 191 w 332"/>
                  <a:gd name="T21" fmla="*/ 73 h 287"/>
                  <a:gd name="T22" fmla="*/ 201 w 332"/>
                  <a:gd name="T23" fmla="*/ 74 h 287"/>
                  <a:gd name="T24" fmla="*/ 216 w 332"/>
                  <a:gd name="T25" fmla="*/ 72 h 287"/>
                  <a:gd name="T26" fmla="*/ 224 w 332"/>
                  <a:gd name="T27" fmla="*/ 77 h 287"/>
                  <a:gd name="T28" fmla="*/ 217 w 332"/>
                  <a:gd name="T29" fmla="*/ 88 h 287"/>
                  <a:gd name="T30" fmla="*/ 214 w 332"/>
                  <a:gd name="T31" fmla="*/ 97 h 287"/>
                  <a:gd name="T32" fmla="*/ 217 w 332"/>
                  <a:gd name="T33" fmla="*/ 105 h 287"/>
                  <a:gd name="T34" fmla="*/ 249 w 332"/>
                  <a:gd name="T35" fmla="*/ 113 h 287"/>
                  <a:gd name="T36" fmla="*/ 308 w 332"/>
                  <a:gd name="T37" fmla="*/ 124 h 287"/>
                  <a:gd name="T38" fmla="*/ 322 w 332"/>
                  <a:gd name="T39" fmla="*/ 131 h 287"/>
                  <a:gd name="T40" fmla="*/ 315 w 332"/>
                  <a:gd name="T41" fmla="*/ 140 h 287"/>
                  <a:gd name="T42" fmla="*/ 303 w 332"/>
                  <a:gd name="T43" fmla="*/ 149 h 287"/>
                  <a:gd name="T44" fmla="*/ 299 w 332"/>
                  <a:gd name="T45" fmla="*/ 154 h 287"/>
                  <a:gd name="T46" fmla="*/ 302 w 332"/>
                  <a:gd name="T47" fmla="*/ 160 h 287"/>
                  <a:gd name="T48" fmla="*/ 308 w 332"/>
                  <a:gd name="T49" fmla="*/ 168 h 287"/>
                  <a:gd name="T50" fmla="*/ 319 w 332"/>
                  <a:gd name="T51" fmla="*/ 176 h 287"/>
                  <a:gd name="T52" fmla="*/ 329 w 332"/>
                  <a:gd name="T53" fmla="*/ 184 h 287"/>
                  <a:gd name="T54" fmla="*/ 290 w 332"/>
                  <a:gd name="T55" fmla="*/ 211 h 287"/>
                  <a:gd name="T56" fmla="*/ 241 w 332"/>
                  <a:gd name="T57" fmla="*/ 241 h 287"/>
                  <a:gd name="T58" fmla="*/ 207 w 332"/>
                  <a:gd name="T59" fmla="*/ 268 h 287"/>
                  <a:gd name="T60" fmla="*/ 173 w 332"/>
                  <a:gd name="T61" fmla="*/ 244 h 287"/>
                  <a:gd name="T62" fmla="*/ 182 w 332"/>
                  <a:gd name="T63" fmla="*/ 243 h 287"/>
                  <a:gd name="T64" fmla="*/ 189 w 332"/>
                  <a:gd name="T65" fmla="*/ 240 h 287"/>
                  <a:gd name="T66" fmla="*/ 200 w 332"/>
                  <a:gd name="T67" fmla="*/ 232 h 287"/>
                  <a:gd name="T68" fmla="*/ 149 w 332"/>
                  <a:gd name="T69" fmla="*/ 232 h 287"/>
                  <a:gd name="T70" fmla="*/ 101 w 332"/>
                  <a:gd name="T71" fmla="*/ 232 h 287"/>
                  <a:gd name="T72" fmla="*/ 58 w 332"/>
                  <a:gd name="T73" fmla="*/ 232 h 287"/>
                  <a:gd name="T74" fmla="*/ 27 w 332"/>
                  <a:gd name="T75" fmla="*/ 232 h 287"/>
                  <a:gd name="T76" fmla="*/ 11 w 332"/>
                  <a:gd name="T77" fmla="*/ 227 h 287"/>
                  <a:gd name="T78" fmla="*/ 3 w 332"/>
                  <a:gd name="T79" fmla="*/ 222 h 287"/>
                  <a:gd name="T80" fmla="*/ 0 w 332"/>
                  <a:gd name="T81" fmla="*/ 213 h 287"/>
                  <a:gd name="T82" fmla="*/ 4 w 332"/>
                  <a:gd name="T83" fmla="*/ 205 h 287"/>
                  <a:gd name="T84" fmla="*/ 13 w 332"/>
                  <a:gd name="T85" fmla="*/ 197 h 287"/>
                  <a:gd name="T86" fmla="*/ 41 w 332"/>
                  <a:gd name="T87" fmla="*/ 179 h 287"/>
                  <a:gd name="T88" fmla="*/ 73 w 332"/>
                  <a:gd name="T89" fmla="*/ 162 h 287"/>
                  <a:gd name="T90" fmla="*/ 85 w 332"/>
                  <a:gd name="T91" fmla="*/ 152 h 287"/>
                  <a:gd name="T92" fmla="*/ 93 w 332"/>
                  <a:gd name="T93" fmla="*/ 145 h 287"/>
                  <a:gd name="T94" fmla="*/ 106 w 332"/>
                  <a:gd name="T95" fmla="*/ 130 h 287"/>
                  <a:gd name="T96" fmla="*/ 116 w 332"/>
                  <a:gd name="T97" fmla="*/ 114 h 287"/>
                  <a:gd name="T98" fmla="*/ 130 w 332"/>
                  <a:gd name="T99" fmla="*/ 79 h 287"/>
                  <a:gd name="T100" fmla="*/ 138 w 332"/>
                  <a:gd name="T101" fmla="*/ 64 h 287"/>
                  <a:gd name="T102" fmla="*/ 147 w 332"/>
                  <a:gd name="T103" fmla="*/ 52 h 287"/>
                  <a:gd name="T104" fmla="*/ 158 w 332"/>
                  <a:gd name="T105" fmla="*/ 43 h 287"/>
                  <a:gd name="T106" fmla="*/ 173 w 332"/>
                  <a:gd name="T107" fmla="*/ 40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31" name="Freeform 428">
                <a:extLst>
                  <a:ext uri="{FF2B5EF4-FFF2-40B4-BE49-F238E27FC236}">
                    <a16:creationId xmlns:a16="http://schemas.microsoft.com/office/drawing/2014/main" id="{52CB73F2-BDE3-42DB-B7DA-E5525FD4FF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06 w 345"/>
                  <a:gd name="T1" fmla="*/ 86 h 86"/>
                  <a:gd name="T2" fmla="*/ 119 w 345"/>
                  <a:gd name="T3" fmla="*/ 81 h 86"/>
                  <a:gd name="T4" fmla="*/ 133 w 345"/>
                  <a:gd name="T5" fmla="*/ 76 h 86"/>
                  <a:gd name="T6" fmla="*/ 148 w 345"/>
                  <a:gd name="T7" fmla="*/ 72 h 86"/>
                  <a:gd name="T8" fmla="*/ 164 w 345"/>
                  <a:gd name="T9" fmla="*/ 69 h 86"/>
                  <a:gd name="T10" fmla="*/ 197 w 345"/>
                  <a:gd name="T11" fmla="*/ 63 h 86"/>
                  <a:gd name="T12" fmla="*/ 231 w 345"/>
                  <a:gd name="T13" fmla="*/ 57 h 86"/>
                  <a:gd name="T14" fmla="*/ 247 w 345"/>
                  <a:gd name="T15" fmla="*/ 53 h 86"/>
                  <a:gd name="T16" fmla="*/ 264 w 345"/>
                  <a:gd name="T17" fmla="*/ 50 h 86"/>
                  <a:gd name="T18" fmla="*/ 279 w 345"/>
                  <a:gd name="T19" fmla="*/ 46 h 86"/>
                  <a:gd name="T20" fmla="*/ 294 w 345"/>
                  <a:gd name="T21" fmla="*/ 40 h 86"/>
                  <a:gd name="T22" fmla="*/ 309 w 345"/>
                  <a:gd name="T23" fmla="*/ 35 h 86"/>
                  <a:gd name="T24" fmla="*/ 322 w 345"/>
                  <a:gd name="T25" fmla="*/ 28 h 86"/>
                  <a:gd name="T26" fmla="*/ 334 w 345"/>
                  <a:gd name="T27" fmla="*/ 21 h 86"/>
                  <a:gd name="T28" fmla="*/ 345 w 345"/>
                  <a:gd name="T29" fmla="*/ 13 h 86"/>
                  <a:gd name="T30" fmla="*/ 335 w 345"/>
                  <a:gd name="T31" fmla="*/ 12 h 86"/>
                  <a:gd name="T32" fmla="*/ 326 w 345"/>
                  <a:gd name="T33" fmla="*/ 11 h 86"/>
                  <a:gd name="T34" fmla="*/ 317 w 345"/>
                  <a:gd name="T35" fmla="*/ 9 h 86"/>
                  <a:gd name="T36" fmla="*/ 309 w 345"/>
                  <a:gd name="T37" fmla="*/ 6 h 86"/>
                  <a:gd name="T38" fmla="*/ 300 w 345"/>
                  <a:gd name="T39" fmla="*/ 4 h 86"/>
                  <a:gd name="T40" fmla="*/ 291 w 345"/>
                  <a:gd name="T41" fmla="*/ 2 h 86"/>
                  <a:gd name="T42" fmla="*/ 281 w 345"/>
                  <a:gd name="T43" fmla="*/ 1 h 86"/>
                  <a:gd name="T44" fmla="*/ 272 w 345"/>
                  <a:gd name="T45" fmla="*/ 0 h 86"/>
                  <a:gd name="T46" fmla="*/ 259 w 345"/>
                  <a:gd name="T47" fmla="*/ 1 h 86"/>
                  <a:gd name="T48" fmla="*/ 245 w 345"/>
                  <a:gd name="T49" fmla="*/ 3 h 86"/>
                  <a:gd name="T50" fmla="*/ 227 w 345"/>
                  <a:gd name="T51" fmla="*/ 5 h 86"/>
                  <a:gd name="T52" fmla="*/ 209 w 345"/>
                  <a:gd name="T53" fmla="*/ 9 h 86"/>
                  <a:gd name="T54" fmla="*/ 168 w 345"/>
                  <a:gd name="T55" fmla="*/ 18 h 86"/>
                  <a:gd name="T56" fmla="*/ 126 w 345"/>
                  <a:gd name="T57" fmla="*/ 29 h 86"/>
                  <a:gd name="T58" fmla="*/ 104 w 345"/>
                  <a:gd name="T59" fmla="*/ 36 h 86"/>
                  <a:gd name="T60" fmla="*/ 85 w 345"/>
                  <a:gd name="T61" fmla="*/ 42 h 86"/>
                  <a:gd name="T62" fmla="*/ 66 w 345"/>
                  <a:gd name="T63" fmla="*/ 50 h 86"/>
                  <a:gd name="T64" fmla="*/ 47 w 345"/>
                  <a:gd name="T65" fmla="*/ 58 h 86"/>
                  <a:gd name="T66" fmla="*/ 32 w 345"/>
                  <a:gd name="T67" fmla="*/ 65 h 86"/>
                  <a:gd name="T68" fmla="*/ 19 w 345"/>
                  <a:gd name="T69" fmla="*/ 72 h 86"/>
                  <a:gd name="T70" fmla="*/ 8 w 345"/>
                  <a:gd name="T71" fmla="*/ 79 h 86"/>
                  <a:gd name="T72" fmla="*/ 0 w 345"/>
                  <a:gd name="T73" fmla="*/ 86 h 86"/>
                  <a:gd name="T74" fmla="*/ 106 w 345"/>
                  <a:gd name="T7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32" name="Freeform 429">
                <a:extLst>
                  <a:ext uri="{FF2B5EF4-FFF2-40B4-BE49-F238E27FC236}">
                    <a16:creationId xmlns:a16="http://schemas.microsoft.com/office/drawing/2014/main" id="{08AACBC7-3BC5-4C82-9F02-1933156E3E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19 w 464"/>
                  <a:gd name="T1" fmla="*/ 86 h 130"/>
                  <a:gd name="T2" fmla="*/ 77 w 464"/>
                  <a:gd name="T3" fmla="*/ 81 h 130"/>
                  <a:gd name="T4" fmla="*/ 103 w 464"/>
                  <a:gd name="T5" fmla="*/ 81 h 130"/>
                  <a:gd name="T6" fmla="*/ 92 w 464"/>
                  <a:gd name="T7" fmla="*/ 89 h 130"/>
                  <a:gd name="T8" fmla="*/ 81 w 464"/>
                  <a:gd name="T9" fmla="*/ 100 h 130"/>
                  <a:gd name="T10" fmla="*/ 73 w 464"/>
                  <a:gd name="T11" fmla="*/ 112 h 130"/>
                  <a:gd name="T12" fmla="*/ 73 w 464"/>
                  <a:gd name="T13" fmla="*/ 119 h 130"/>
                  <a:gd name="T14" fmla="*/ 79 w 464"/>
                  <a:gd name="T15" fmla="*/ 124 h 130"/>
                  <a:gd name="T16" fmla="*/ 92 w 464"/>
                  <a:gd name="T17" fmla="*/ 129 h 130"/>
                  <a:gd name="T18" fmla="*/ 109 w 464"/>
                  <a:gd name="T19" fmla="*/ 129 h 130"/>
                  <a:gd name="T20" fmla="*/ 128 w 464"/>
                  <a:gd name="T21" fmla="*/ 127 h 130"/>
                  <a:gd name="T22" fmla="*/ 157 w 464"/>
                  <a:gd name="T23" fmla="*/ 119 h 130"/>
                  <a:gd name="T24" fmla="*/ 196 w 464"/>
                  <a:gd name="T25" fmla="*/ 108 h 130"/>
                  <a:gd name="T26" fmla="*/ 226 w 464"/>
                  <a:gd name="T27" fmla="*/ 101 h 130"/>
                  <a:gd name="T28" fmla="*/ 248 w 464"/>
                  <a:gd name="T29" fmla="*/ 99 h 130"/>
                  <a:gd name="T30" fmla="*/ 266 w 464"/>
                  <a:gd name="T31" fmla="*/ 99 h 130"/>
                  <a:gd name="T32" fmla="*/ 304 w 464"/>
                  <a:gd name="T33" fmla="*/ 99 h 130"/>
                  <a:gd name="T34" fmla="*/ 333 w 464"/>
                  <a:gd name="T35" fmla="*/ 98 h 130"/>
                  <a:gd name="T36" fmla="*/ 376 w 464"/>
                  <a:gd name="T37" fmla="*/ 93 h 130"/>
                  <a:gd name="T38" fmla="*/ 415 w 464"/>
                  <a:gd name="T39" fmla="*/ 83 h 130"/>
                  <a:gd name="T40" fmla="*/ 449 w 464"/>
                  <a:gd name="T41" fmla="*/ 66 h 130"/>
                  <a:gd name="T42" fmla="*/ 455 w 464"/>
                  <a:gd name="T43" fmla="*/ 51 h 130"/>
                  <a:gd name="T44" fmla="*/ 439 w 464"/>
                  <a:gd name="T45" fmla="*/ 48 h 130"/>
                  <a:gd name="T46" fmla="*/ 413 w 464"/>
                  <a:gd name="T47" fmla="*/ 48 h 130"/>
                  <a:gd name="T48" fmla="*/ 396 w 464"/>
                  <a:gd name="T49" fmla="*/ 46 h 130"/>
                  <a:gd name="T50" fmla="*/ 406 w 464"/>
                  <a:gd name="T51" fmla="*/ 36 h 130"/>
                  <a:gd name="T52" fmla="*/ 413 w 464"/>
                  <a:gd name="T53" fmla="*/ 22 h 130"/>
                  <a:gd name="T54" fmla="*/ 418 w 464"/>
                  <a:gd name="T55" fmla="*/ 7 h 130"/>
                  <a:gd name="T56" fmla="*/ 378 w 464"/>
                  <a:gd name="T57" fmla="*/ 0 h 130"/>
                  <a:gd name="T58" fmla="*/ 360 w 464"/>
                  <a:gd name="T59" fmla="*/ 19 h 130"/>
                  <a:gd name="T60" fmla="*/ 343 w 464"/>
                  <a:gd name="T61" fmla="*/ 41 h 130"/>
                  <a:gd name="T62" fmla="*/ 323 w 464"/>
                  <a:gd name="T63" fmla="*/ 59 h 130"/>
                  <a:gd name="T64" fmla="*/ 312 w 464"/>
                  <a:gd name="T65" fmla="*/ 65 h 130"/>
                  <a:gd name="T66" fmla="*/ 298 w 464"/>
                  <a:gd name="T67" fmla="*/ 68 h 130"/>
                  <a:gd name="T68" fmla="*/ 278 w 464"/>
                  <a:gd name="T69" fmla="*/ 66 h 130"/>
                  <a:gd name="T70" fmla="*/ 262 w 464"/>
                  <a:gd name="T71" fmla="*/ 63 h 130"/>
                  <a:gd name="T72" fmla="*/ 239 w 464"/>
                  <a:gd name="T73" fmla="*/ 54 h 130"/>
                  <a:gd name="T74" fmla="*/ 205 w 464"/>
                  <a:gd name="T75" fmla="*/ 31 h 130"/>
                  <a:gd name="T76" fmla="*/ 180 w 464"/>
                  <a:gd name="T77" fmla="*/ 29 h 130"/>
                  <a:gd name="T78" fmla="*/ 150 w 464"/>
                  <a:gd name="T79" fmla="*/ 31 h 130"/>
                  <a:gd name="T80" fmla="*/ 117 w 464"/>
                  <a:gd name="T81" fmla="*/ 37 h 130"/>
                  <a:gd name="T82" fmla="*/ 85 w 464"/>
                  <a:gd name="T83" fmla="*/ 45 h 130"/>
                  <a:gd name="T84" fmla="*/ 54 w 464"/>
                  <a:gd name="T85" fmla="*/ 54 h 130"/>
                  <a:gd name="T86" fmla="*/ 29 w 464"/>
                  <a:gd name="T87" fmla="*/ 65 h 130"/>
                  <a:gd name="T88" fmla="*/ 9 w 464"/>
                  <a:gd name="T89" fmla="*/ 77 h 130"/>
                  <a:gd name="T90" fmla="*/ 0 w 464"/>
                  <a:gd name="T91" fmla="*/ 86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33" name="Freeform 430">
                <a:extLst>
                  <a:ext uri="{FF2B5EF4-FFF2-40B4-BE49-F238E27FC236}">
                    <a16:creationId xmlns:a16="http://schemas.microsoft.com/office/drawing/2014/main" id="{BC4D4716-B926-416F-A4EF-3B8028F76C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63 w 472"/>
                  <a:gd name="T1" fmla="*/ 0 h 92"/>
                  <a:gd name="T2" fmla="*/ 44 w 472"/>
                  <a:gd name="T3" fmla="*/ 0 h 92"/>
                  <a:gd name="T4" fmla="*/ 24 w 472"/>
                  <a:gd name="T5" fmla="*/ 0 h 92"/>
                  <a:gd name="T6" fmla="*/ 12 w 472"/>
                  <a:gd name="T7" fmla="*/ 3 h 92"/>
                  <a:gd name="T8" fmla="*/ 7 w 472"/>
                  <a:gd name="T9" fmla="*/ 8 h 92"/>
                  <a:gd name="T10" fmla="*/ 7 w 472"/>
                  <a:gd name="T11" fmla="*/ 16 h 92"/>
                  <a:gd name="T12" fmla="*/ 10 w 472"/>
                  <a:gd name="T13" fmla="*/ 23 h 92"/>
                  <a:gd name="T14" fmla="*/ 15 w 472"/>
                  <a:gd name="T15" fmla="*/ 32 h 92"/>
                  <a:gd name="T16" fmla="*/ 14 w 472"/>
                  <a:gd name="T17" fmla="*/ 41 h 92"/>
                  <a:gd name="T18" fmla="*/ 4 w 472"/>
                  <a:gd name="T19" fmla="*/ 50 h 92"/>
                  <a:gd name="T20" fmla="*/ 1 w 472"/>
                  <a:gd name="T21" fmla="*/ 57 h 92"/>
                  <a:gd name="T22" fmla="*/ 2 w 472"/>
                  <a:gd name="T23" fmla="*/ 64 h 92"/>
                  <a:gd name="T24" fmla="*/ 14 w 472"/>
                  <a:gd name="T25" fmla="*/ 69 h 92"/>
                  <a:gd name="T26" fmla="*/ 48 w 472"/>
                  <a:gd name="T27" fmla="*/ 76 h 92"/>
                  <a:gd name="T28" fmla="*/ 109 w 472"/>
                  <a:gd name="T29" fmla="*/ 85 h 92"/>
                  <a:gd name="T30" fmla="*/ 167 w 472"/>
                  <a:gd name="T31" fmla="*/ 91 h 92"/>
                  <a:gd name="T32" fmla="*/ 365 w 472"/>
                  <a:gd name="T33" fmla="*/ 92 h 92"/>
                  <a:gd name="T34" fmla="*/ 374 w 472"/>
                  <a:gd name="T35" fmla="*/ 81 h 92"/>
                  <a:gd name="T36" fmla="*/ 385 w 472"/>
                  <a:gd name="T37" fmla="*/ 75 h 92"/>
                  <a:gd name="T38" fmla="*/ 397 w 472"/>
                  <a:gd name="T39" fmla="*/ 73 h 92"/>
                  <a:gd name="T40" fmla="*/ 411 w 472"/>
                  <a:gd name="T41" fmla="*/ 73 h 92"/>
                  <a:gd name="T42" fmla="*/ 441 w 472"/>
                  <a:gd name="T43" fmla="*/ 76 h 92"/>
                  <a:gd name="T44" fmla="*/ 456 w 472"/>
                  <a:gd name="T45" fmla="*/ 76 h 92"/>
                  <a:gd name="T46" fmla="*/ 472 w 472"/>
                  <a:gd name="T47" fmla="*/ 73 h 92"/>
                  <a:gd name="T48" fmla="*/ 465 w 472"/>
                  <a:gd name="T49" fmla="*/ 33 h 92"/>
                  <a:gd name="T50" fmla="*/ 453 w 472"/>
                  <a:gd name="T51" fmla="*/ 26 h 92"/>
                  <a:gd name="T52" fmla="*/ 443 w 472"/>
                  <a:gd name="T53" fmla="*/ 18 h 92"/>
                  <a:gd name="T54" fmla="*/ 432 w 472"/>
                  <a:gd name="T55" fmla="*/ 13 h 92"/>
                  <a:gd name="T56" fmla="*/ 416 w 472"/>
                  <a:gd name="T57" fmla="*/ 12 h 92"/>
                  <a:gd name="T58" fmla="*/ 396 w 472"/>
                  <a:gd name="T59" fmla="*/ 15 h 92"/>
                  <a:gd name="T60" fmla="*/ 367 w 472"/>
                  <a:gd name="T61" fmla="*/ 22 h 92"/>
                  <a:gd name="T62" fmla="*/ 328 w 472"/>
                  <a:gd name="T63" fmla="*/ 33 h 92"/>
                  <a:gd name="T64" fmla="*/ 298 w 472"/>
                  <a:gd name="T65" fmla="*/ 39 h 92"/>
                  <a:gd name="T66" fmla="*/ 276 w 472"/>
                  <a:gd name="T67" fmla="*/ 42 h 92"/>
                  <a:gd name="T68" fmla="*/ 236 w 472"/>
                  <a:gd name="T69" fmla="*/ 42 h 92"/>
                  <a:gd name="T70" fmla="*/ 191 w 472"/>
                  <a:gd name="T71" fmla="*/ 42 h 92"/>
                  <a:gd name="T72" fmla="*/ 156 w 472"/>
                  <a:gd name="T73" fmla="*/ 42 h 92"/>
                  <a:gd name="T74" fmla="*/ 120 w 472"/>
                  <a:gd name="T75" fmla="*/ 42 h 92"/>
                  <a:gd name="T76" fmla="*/ 91 w 472"/>
                  <a:gd name="T77" fmla="*/ 41 h 92"/>
                  <a:gd name="T78" fmla="*/ 78 w 472"/>
                  <a:gd name="T79" fmla="*/ 36 h 92"/>
                  <a:gd name="T80" fmla="*/ 70 w 472"/>
                  <a:gd name="T81" fmla="*/ 27 h 92"/>
                  <a:gd name="T82" fmla="*/ 67 w 472"/>
                  <a:gd name="T83" fmla="*/ 17 h 92"/>
                  <a:gd name="T84" fmla="*/ 69 w 472"/>
                  <a:gd name="T85" fmla="*/ 8 h 92"/>
                  <a:gd name="T86" fmla="*/ 74 w 472"/>
                  <a:gd name="T87" fmla="*/ 2 h 92"/>
                  <a:gd name="T88" fmla="*/ 74 w 472"/>
                  <a:gd name="T8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34" name="Freeform 431">
                <a:extLst>
                  <a:ext uri="{FF2B5EF4-FFF2-40B4-BE49-F238E27FC236}">
                    <a16:creationId xmlns:a16="http://schemas.microsoft.com/office/drawing/2014/main" id="{2B81D974-7C0C-4A09-9FE7-9DA4D31D4B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145 w 326"/>
                  <a:gd name="T1" fmla="*/ 107 h 135"/>
                  <a:gd name="T2" fmla="*/ 203 w 326"/>
                  <a:gd name="T3" fmla="*/ 97 h 135"/>
                  <a:gd name="T4" fmla="*/ 262 w 326"/>
                  <a:gd name="T5" fmla="*/ 84 h 135"/>
                  <a:gd name="T6" fmla="*/ 300 w 326"/>
                  <a:gd name="T7" fmla="*/ 74 h 135"/>
                  <a:gd name="T8" fmla="*/ 318 w 326"/>
                  <a:gd name="T9" fmla="*/ 66 h 135"/>
                  <a:gd name="T10" fmla="*/ 322 w 326"/>
                  <a:gd name="T11" fmla="*/ 56 h 135"/>
                  <a:gd name="T12" fmla="*/ 312 w 326"/>
                  <a:gd name="T13" fmla="*/ 48 h 135"/>
                  <a:gd name="T14" fmla="*/ 300 w 326"/>
                  <a:gd name="T15" fmla="*/ 41 h 135"/>
                  <a:gd name="T16" fmla="*/ 286 w 326"/>
                  <a:gd name="T17" fmla="*/ 37 h 135"/>
                  <a:gd name="T18" fmla="*/ 263 w 326"/>
                  <a:gd name="T19" fmla="*/ 32 h 135"/>
                  <a:gd name="T20" fmla="*/ 230 w 326"/>
                  <a:gd name="T21" fmla="*/ 30 h 135"/>
                  <a:gd name="T22" fmla="*/ 209 w 326"/>
                  <a:gd name="T23" fmla="*/ 30 h 135"/>
                  <a:gd name="T24" fmla="*/ 202 w 326"/>
                  <a:gd name="T25" fmla="*/ 24 h 135"/>
                  <a:gd name="T26" fmla="*/ 196 w 326"/>
                  <a:gd name="T27" fmla="*/ 17 h 135"/>
                  <a:gd name="T28" fmla="*/ 191 w 326"/>
                  <a:gd name="T29" fmla="*/ 9 h 135"/>
                  <a:gd name="T30" fmla="*/ 180 w 326"/>
                  <a:gd name="T31" fmla="*/ 5 h 135"/>
                  <a:gd name="T32" fmla="*/ 162 w 326"/>
                  <a:gd name="T33" fmla="*/ 1 h 135"/>
                  <a:gd name="T34" fmla="*/ 135 w 326"/>
                  <a:gd name="T35" fmla="*/ 1 h 135"/>
                  <a:gd name="T36" fmla="*/ 87 w 326"/>
                  <a:gd name="T37" fmla="*/ 8 h 135"/>
                  <a:gd name="T38" fmla="*/ 49 w 326"/>
                  <a:gd name="T39" fmla="*/ 17 h 135"/>
                  <a:gd name="T40" fmla="*/ 27 w 326"/>
                  <a:gd name="T41" fmla="*/ 26 h 135"/>
                  <a:gd name="T42" fmla="*/ 11 w 326"/>
                  <a:gd name="T43" fmla="*/ 37 h 135"/>
                  <a:gd name="T44" fmla="*/ 3 w 326"/>
                  <a:gd name="T45" fmla="*/ 46 h 135"/>
                  <a:gd name="T46" fmla="*/ 1 w 326"/>
                  <a:gd name="T47" fmla="*/ 52 h 135"/>
                  <a:gd name="T48" fmla="*/ 34 w 326"/>
                  <a:gd name="T49" fmla="*/ 74 h 135"/>
                  <a:gd name="T50" fmla="*/ 56 w 326"/>
                  <a:gd name="T51" fmla="*/ 81 h 135"/>
                  <a:gd name="T52" fmla="*/ 41 w 326"/>
                  <a:gd name="T53" fmla="*/ 90 h 135"/>
                  <a:gd name="T54" fmla="*/ 38 w 326"/>
                  <a:gd name="T55" fmla="*/ 99 h 135"/>
                  <a:gd name="T56" fmla="*/ 44 w 326"/>
                  <a:gd name="T57" fmla="*/ 114 h 135"/>
                  <a:gd name="T58" fmla="*/ 48 w 326"/>
                  <a:gd name="T59" fmla="*/ 128 h 135"/>
                  <a:gd name="T60" fmla="*/ 55 w 326"/>
                  <a:gd name="T61" fmla="*/ 134 h 135"/>
                  <a:gd name="T62" fmla="*/ 69 w 326"/>
                  <a:gd name="T63" fmla="*/ 135 h 135"/>
                  <a:gd name="T64" fmla="*/ 86 w 326"/>
                  <a:gd name="T65" fmla="*/ 131 h 135"/>
                  <a:gd name="T66" fmla="*/ 101 w 326"/>
                  <a:gd name="T67" fmla="*/ 127 h 135"/>
                  <a:gd name="T68" fmla="*/ 117 w 326"/>
                  <a:gd name="T69" fmla="*/ 124 h 135"/>
                  <a:gd name="T70" fmla="*/ 120 w 326"/>
                  <a:gd name="T71" fmla="*/ 111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35" name="Freeform 432">
                <a:extLst>
                  <a:ext uri="{FF2B5EF4-FFF2-40B4-BE49-F238E27FC236}">
                    <a16:creationId xmlns:a16="http://schemas.microsoft.com/office/drawing/2014/main" id="{FC50E306-71A4-4F9A-83EC-4CB14769B9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46 w 159"/>
                  <a:gd name="T1" fmla="*/ 53 h 56"/>
                  <a:gd name="T2" fmla="*/ 40 w 159"/>
                  <a:gd name="T3" fmla="*/ 52 h 56"/>
                  <a:gd name="T4" fmla="*/ 34 w 159"/>
                  <a:gd name="T5" fmla="*/ 49 h 56"/>
                  <a:gd name="T6" fmla="*/ 26 w 159"/>
                  <a:gd name="T7" fmla="*/ 45 h 56"/>
                  <a:gd name="T8" fmla="*/ 18 w 159"/>
                  <a:gd name="T9" fmla="*/ 38 h 56"/>
                  <a:gd name="T10" fmla="*/ 10 w 159"/>
                  <a:gd name="T11" fmla="*/ 31 h 56"/>
                  <a:gd name="T12" fmla="*/ 5 w 159"/>
                  <a:gd name="T13" fmla="*/ 24 h 56"/>
                  <a:gd name="T14" fmla="*/ 3 w 159"/>
                  <a:gd name="T15" fmla="*/ 21 h 56"/>
                  <a:gd name="T16" fmla="*/ 1 w 159"/>
                  <a:gd name="T17" fmla="*/ 17 h 56"/>
                  <a:gd name="T18" fmla="*/ 0 w 159"/>
                  <a:gd name="T19" fmla="*/ 13 h 56"/>
                  <a:gd name="T20" fmla="*/ 0 w 159"/>
                  <a:gd name="T21" fmla="*/ 10 h 56"/>
                  <a:gd name="T22" fmla="*/ 21 w 159"/>
                  <a:gd name="T23" fmla="*/ 10 h 56"/>
                  <a:gd name="T24" fmla="*/ 39 w 159"/>
                  <a:gd name="T25" fmla="*/ 10 h 56"/>
                  <a:gd name="T26" fmla="*/ 52 w 159"/>
                  <a:gd name="T27" fmla="*/ 10 h 56"/>
                  <a:gd name="T28" fmla="*/ 59 w 159"/>
                  <a:gd name="T29" fmla="*/ 10 h 56"/>
                  <a:gd name="T30" fmla="*/ 83 w 159"/>
                  <a:gd name="T31" fmla="*/ 6 h 56"/>
                  <a:gd name="T32" fmla="*/ 117 w 159"/>
                  <a:gd name="T33" fmla="*/ 0 h 56"/>
                  <a:gd name="T34" fmla="*/ 125 w 159"/>
                  <a:gd name="T35" fmla="*/ 0 h 56"/>
                  <a:gd name="T36" fmla="*/ 132 w 159"/>
                  <a:gd name="T37" fmla="*/ 0 h 56"/>
                  <a:gd name="T38" fmla="*/ 140 w 159"/>
                  <a:gd name="T39" fmla="*/ 0 h 56"/>
                  <a:gd name="T40" fmla="*/ 147 w 159"/>
                  <a:gd name="T41" fmla="*/ 2 h 56"/>
                  <a:gd name="T42" fmla="*/ 151 w 159"/>
                  <a:gd name="T43" fmla="*/ 5 h 56"/>
                  <a:gd name="T44" fmla="*/ 155 w 159"/>
                  <a:gd name="T45" fmla="*/ 9 h 56"/>
                  <a:gd name="T46" fmla="*/ 158 w 159"/>
                  <a:gd name="T47" fmla="*/ 15 h 56"/>
                  <a:gd name="T48" fmla="*/ 159 w 159"/>
                  <a:gd name="T49" fmla="*/ 22 h 56"/>
                  <a:gd name="T50" fmla="*/ 158 w 159"/>
                  <a:gd name="T51" fmla="*/ 30 h 56"/>
                  <a:gd name="T52" fmla="*/ 155 w 159"/>
                  <a:gd name="T53" fmla="*/ 37 h 56"/>
                  <a:gd name="T54" fmla="*/ 151 w 159"/>
                  <a:gd name="T55" fmla="*/ 44 h 56"/>
                  <a:gd name="T56" fmla="*/ 146 w 159"/>
                  <a:gd name="T57" fmla="*/ 48 h 56"/>
                  <a:gd name="T58" fmla="*/ 139 w 159"/>
                  <a:gd name="T59" fmla="*/ 52 h 56"/>
                  <a:gd name="T60" fmla="*/ 132 w 159"/>
                  <a:gd name="T61" fmla="*/ 54 h 56"/>
                  <a:gd name="T62" fmla="*/ 124 w 159"/>
                  <a:gd name="T63" fmla="*/ 55 h 56"/>
                  <a:gd name="T64" fmla="*/ 115 w 159"/>
                  <a:gd name="T65" fmla="*/ 56 h 56"/>
                  <a:gd name="T66" fmla="*/ 77 w 159"/>
                  <a:gd name="T67" fmla="*/ 55 h 56"/>
                  <a:gd name="T68" fmla="*/ 46 w 159"/>
                  <a:gd name="T69" fmla="*/ 5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436" name="Freeform 433">
                <a:extLst>
                  <a:ext uri="{FF2B5EF4-FFF2-40B4-BE49-F238E27FC236}">
                    <a16:creationId xmlns:a16="http://schemas.microsoft.com/office/drawing/2014/main" id="{F21295F5-6CF4-4826-8983-BA829D613B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2931 w 3734"/>
                  <a:gd name="T1" fmla="*/ 1362 h 1644"/>
                  <a:gd name="T2" fmla="*/ 2556 w 3734"/>
                  <a:gd name="T3" fmla="*/ 1522 h 1644"/>
                  <a:gd name="T4" fmla="*/ 2312 w 3734"/>
                  <a:gd name="T5" fmla="*/ 1592 h 1644"/>
                  <a:gd name="T6" fmla="*/ 2294 w 3734"/>
                  <a:gd name="T7" fmla="*/ 1634 h 1644"/>
                  <a:gd name="T8" fmla="*/ 2177 w 3734"/>
                  <a:gd name="T9" fmla="*/ 1607 h 1644"/>
                  <a:gd name="T10" fmla="*/ 2279 w 3734"/>
                  <a:gd name="T11" fmla="*/ 1512 h 1644"/>
                  <a:gd name="T12" fmla="*/ 2166 w 3734"/>
                  <a:gd name="T13" fmla="*/ 1416 h 1644"/>
                  <a:gd name="T14" fmla="*/ 2094 w 3734"/>
                  <a:gd name="T15" fmla="*/ 1295 h 1644"/>
                  <a:gd name="T16" fmla="*/ 1947 w 3734"/>
                  <a:gd name="T17" fmla="*/ 1317 h 1644"/>
                  <a:gd name="T18" fmla="*/ 1771 w 3734"/>
                  <a:gd name="T19" fmla="*/ 1281 h 1644"/>
                  <a:gd name="T20" fmla="*/ 261 w 3734"/>
                  <a:gd name="T21" fmla="*/ 1235 h 1644"/>
                  <a:gd name="T22" fmla="*/ 127 w 3734"/>
                  <a:gd name="T23" fmla="*/ 1125 h 1644"/>
                  <a:gd name="T24" fmla="*/ 151 w 3734"/>
                  <a:gd name="T25" fmla="*/ 1040 h 1644"/>
                  <a:gd name="T26" fmla="*/ 147 w 3734"/>
                  <a:gd name="T27" fmla="*/ 927 h 1644"/>
                  <a:gd name="T28" fmla="*/ 259 w 3734"/>
                  <a:gd name="T29" fmla="*/ 859 h 1644"/>
                  <a:gd name="T30" fmla="*/ 250 w 3734"/>
                  <a:gd name="T31" fmla="*/ 747 h 1644"/>
                  <a:gd name="T32" fmla="*/ 128 w 3734"/>
                  <a:gd name="T33" fmla="*/ 665 h 1644"/>
                  <a:gd name="T34" fmla="*/ 602 w 3734"/>
                  <a:gd name="T35" fmla="*/ 114 h 1644"/>
                  <a:gd name="T36" fmla="*/ 1146 w 3734"/>
                  <a:gd name="T37" fmla="*/ 105 h 1644"/>
                  <a:gd name="T38" fmla="*/ 1296 w 3734"/>
                  <a:gd name="T39" fmla="*/ 117 h 1644"/>
                  <a:gd name="T40" fmla="*/ 1641 w 3734"/>
                  <a:gd name="T41" fmla="*/ 166 h 1644"/>
                  <a:gd name="T42" fmla="*/ 1771 w 3734"/>
                  <a:gd name="T43" fmla="*/ 206 h 1644"/>
                  <a:gd name="T44" fmla="*/ 2076 w 3734"/>
                  <a:gd name="T45" fmla="*/ 193 h 1644"/>
                  <a:gd name="T46" fmla="*/ 2286 w 3734"/>
                  <a:gd name="T47" fmla="*/ 216 h 1644"/>
                  <a:gd name="T48" fmla="*/ 2365 w 3734"/>
                  <a:gd name="T49" fmla="*/ 216 h 1644"/>
                  <a:gd name="T50" fmla="*/ 2518 w 3734"/>
                  <a:gd name="T51" fmla="*/ 123 h 1644"/>
                  <a:gd name="T52" fmla="*/ 2587 w 3734"/>
                  <a:gd name="T53" fmla="*/ 2 h 1644"/>
                  <a:gd name="T54" fmla="*/ 2644 w 3734"/>
                  <a:gd name="T55" fmla="*/ 105 h 1644"/>
                  <a:gd name="T56" fmla="*/ 2664 w 3734"/>
                  <a:gd name="T57" fmla="*/ 166 h 1644"/>
                  <a:gd name="T58" fmla="*/ 2716 w 3734"/>
                  <a:gd name="T59" fmla="*/ 196 h 1644"/>
                  <a:gd name="T60" fmla="*/ 2891 w 3734"/>
                  <a:gd name="T61" fmla="*/ 121 h 1644"/>
                  <a:gd name="T62" fmla="*/ 3036 w 3734"/>
                  <a:gd name="T63" fmla="*/ 135 h 1644"/>
                  <a:gd name="T64" fmla="*/ 2883 w 3734"/>
                  <a:gd name="T65" fmla="*/ 271 h 1644"/>
                  <a:gd name="T66" fmla="*/ 2790 w 3734"/>
                  <a:gd name="T67" fmla="*/ 289 h 1644"/>
                  <a:gd name="T68" fmla="*/ 2569 w 3734"/>
                  <a:gd name="T69" fmla="*/ 304 h 1644"/>
                  <a:gd name="T70" fmla="*/ 2501 w 3734"/>
                  <a:gd name="T71" fmla="*/ 402 h 1644"/>
                  <a:gd name="T72" fmla="*/ 2333 w 3734"/>
                  <a:gd name="T73" fmla="*/ 471 h 1644"/>
                  <a:gd name="T74" fmla="*/ 2087 w 3734"/>
                  <a:gd name="T75" fmla="*/ 625 h 1644"/>
                  <a:gd name="T76" fmla="*/ 2106 w 3734"/>
                  <a:gd name="T77" fmla="*/ 793 h 1644"/>
                  <a:gd name="T78" fmla="*/ 2360 w 3734"/>
                  <a:gd name="T79" fmla="*/ 907 h 1644"/>
                  <a:gd name="T80" fmla="*/ 2443 w 3734"/>
                  <a:gd name="T81" fmla="*/ 1059 h 1644"/>
                  <a:gd name="T82" fmla="*/ 2614 w 3734"/>
                  <a:gd name="T83" fmla="*/ 987 h 1644"/>
                  <a:gd name="T84" fmla="*/ 2848 w 3734"/>
                  <a:gd name="T85" fmla="*/ 785 h 1644"/>
                  <a:gd name="T86" fmla="*/ 2896 w 3734"/>
                  <a:gd name="T87" fmla="*/ 597 h 1644"/>
                  <a:gd name="T88" fmla="*/ 3156 w 3734"/>
                  <a:gd name="T89" fmla="*/ 500 h 1644"/>
                  <a:gd name="T90" fmla="*/ 3276 w 3734"/>
                  <a:gd name="T91" fmla="*/ 592 h 1644"/>
                  <a:gd name="T92" fmla="*/ 3226 w 3734"/>
                  <a:gd name="T93" fmla="*/ 736 h 1644"/>
                  <a:gd name="T94" fmla="*/ 3492 w 3734"/>
                  <a:gd name="T95" fmla="*/ 613 h 1644"/>
                  <a:gd name="T96" fmla="*/ 3545 w 3734"/>
                  <a:gd name="T97" fmla="*/ 774 h 1644"/>
                  <a:gd name="T98" fmla="*/ 3662 w 3734"/>
                  <a:gd name="T99" fmla="*/ 924 h 1644"/>
                  <a:gd name="T100" fmla="*/ 3616 w 3734"/>
                  <a:gd name="T101" fmla="*/ 961 h 1644"/>
                  <a:gd name="T102" fmla="*/ 3694 w 3734"/>
                  <a:gd name="T103" fmla="*/ 1028 h 1644"/>
                  <a:gd name="T104" fmla="*/ 3556 w 3734"/>
                  <a:gd name="T105" fmla="*/ 1108 h 1644"/>
                  <a:gd name="T106" fmla="*/ 3151 w 3734"/>
                  <a:gd name="T107" fmla="*/ 1168 h 1644"/>
                  <a:gd name="T108" fmla="*/ 2853 w 3734"/>
                  <a:gd name="T109" fmla="*/ 1335 h 1644"/>
                  <a:gd name="T110" fmla="*/ 2905 w 3734"/>
                  <a:gd name="T111" fmla="*/ 1337 h 1644"/>
                  <a:gd name="T112" fmla="*/ 3216 w 3734"/>
                  <a:gd name="T113" fmla="*/ 1256 h 1644"/>
                  <a:gd name="T114" fmla="*/ 3066 w 3734"/>
                  <a:gd name="T115" fmla="*/ 1298 h 1644"/>
                  <a:gd name="T116" fmla="*/ 3138 w 3734"/>
                  <a:gd name="T117" fmla="*/ 1391 h 1644"/>
                  <a:gd name="T118" fmla="*/ 3248 w 3734"/>
                  <a:gd name="T119" fmla="*/ 1473 h 1644"/>
                  <a:gd name="T120" fmla="*/ 3018 w 3734"/>
                  <a:gd name="T121" fmla="*/ 1564 h 1644"/>
                  <a:gd name="T122" fmla="*/ 3189 w 3734"/>
                  <a:gd name="T123" fmla="*/ 1466 h 1644"/>
                  <a:gd name="T124" fmla="*/ 3016 w 3734"/>
                  <a:gd name="T125" fmla="*/ 1484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278" name="Freeform 434">
              <a:extLst>
                <a:ext uri="{FF2B5EF4-FFF2-40B4-BE49-F238E27FC236}">
                  <a16:creationId xmlns:a16="http://schemas.microsoft.com/office/drawing/2014/main" id="{AAC79F24-D60C-4FE7-8F17-2B68B56E86D2}"/>
                </a:ext>
              </a:extLst>
            </p:cNvPr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6281738" y="3541713"/>
              <a:ext cx="127000" cy="158750"/>
            </a:xfrm>
            <a:custGeom>
              <a:avLst/>
              <a:gdLst>
                <a:gd name="T0" fmla="*/ 265 w 292"/>
                <a:gd name="T1" fmla="*/ 10 h 308"/>
                <a:gd name="T2" fmla="*/ 276 w 292"/>
                <a:gd name="T3" fmla="*/ 37 h 308"/>
                <a:gd name="T4" fmla="*/ 286 w 292"/>
                <a:gd name="T5" fmla="*/ 91 h 308"/>
                <a:gd name="T6" fmla="*/ 292 w 292"/>
                <a:gd name="T7" fmla="*/ 144 h 308"/>
                <a:gd name="T8" fmla="*/ 291 w 292"/>
                <a:gd name="T9" fmla="*/ 161 h 308"/>
                <a:gd name="T10" fmla="*/ 286 w 292"/>
                <a:gd name="T11" fmla="*/ 179 h 308"/>
                <a:gd name="T12" fmla="*/ 269 w 292"/>
                <a:gd name="T13" fmla="*/ 206 h 308"/>
                <a:gd name="T14" fmla="*/ 231 w 292"/>
                <a:gd name="T15" fmla="*/ 185 h 308"/>
                <a:gd name="T16" fmla="*/ 165 w 292"/>
                <a:gd name="T17" fmla="*/ 258 h 308"/>
                <a:gd name="T18" fmla="*/ 132 w 292"/>
                <a:gd name="T19" fmla="*/ 278 h 308"/>
                <a:gd name="T20" fmla="*/ 59 w 292"/>
                <a:gd name="T21" fmla="*/ 296 h 308"/>
                <a:gd name="T22" fmla="*/ 32 w 292"/>
                <a:gd name="T23" fmla="*/ 308 h 308"/>
                <a:gd name="T24" fmla="*/ 6 w 292"/>
                <a:gd name="T25" fmla="*/ 308 h 308"/>
                <a:gd name="T26" fmla="*/ 9 w 292"/>
                <a:gd name="T27" fmla="*/ 297 h 308"/>
                <a:gd name="T28" fmla="*/ 11 w 292"/>
                <a:gd name="T29" fmla="*/ 286 h 308"/>
                <a:gd name="T30" fmla="*/ 7 w 292"/>
                <a:gd name="T31" fmla="*/ 265 h 308"/>
                <a:gd name="T32" fmla="*/ 2 w 292"/>
                <a:gd name="T33" fmla="*/ 246 h 308"/>
                <a:gd name="T34" fmla="*/ 0 w 292"/>
                <a:gd name="T35" fmla="*/ 228 h 308"/>
                <a:gd name="T36" fmla="*/ 3 w 292"/>
                <a:gd name="T37" fmla="*/ 205 h 308"/>
                <a:gd name="T38" fmla="*/ 12 w 292"/>
                <a:gd name="T39" fmla="*/ 188 h 308"/>
                <a:gd name="T40" fmla="*/ 26 w 292"/>
                <a:gd name="T41" fmla="*/ 174 h 308"/>
                <a:gd name="T42" fmla="*/ 42 w 292"/>
                <a:gd name="T43" fmla="*/ 161 h 308"/>
                <a:gd name="T44" fmla="*/ 77 w 292"/>
                <a:gd name="T45" fmla="*/ 135 h 308"/>
                <a:gd name="T46" fmla="*/ 93 w 292"/>
                <a:gd name="T47" fmla="*/ 119 h 308"/>
                <a:gd name="T48" fmla="*/ 105 w 292"/>
                <a:gd name="T49" fmla="*/ 98 h 308"/>
                <a:gd name="T50" fmla="*/ 98 w 292"/>
                <a:gd name="T51" fmla="*/ 96 h 308"/>
                <a:gd name="T52" fmla="*/ 92 w 292"/>
                <a:gd name="T53" fmla="*/ 91 h 308"/>
                <a:gd name="T54" fmla="*/ 82 w 292"/>
                <a:gd name="T55" fmla="*/ 73 h 308"/>
                <a:gd name="T56" fmla="*/ 74 w 292"/>
                <a:gd name="T57" fmla="*/ 50 h 308"/>
                <a:gd name="T58" fmla="*/ 72 w 292"/>
                <a:gd name="T59" fmla="*/ 24 h 308"/>
                <a:gd name="T60" fmla="*/ 90 w 292"/>
                <a:gd name="T61" fmla="*/ 19 h 308"/>
                <a:gd name="T62" fmla="*/ 105 w 292"/>
                <a:gd name="T63" fmla="*/ 20 h 308"/>
                <a:gd name="T64" fmla="*/ 132 w 292"/>
                <a:gd name="T65" fmla="*/ 24 h 308"/>
                <a:gd name="T66" fmla="*/ 169 w 292"/>
                <a:gd name="T67" fmla="*/ 21 h 308"/>
                <a:gd name="T68" fmla="*/ 210 w 292"/>
                <a:gd name="T69" fmla="*/ 12 h 308"/>
                <a:gd name="T70" fmla="*/ 259 w 292"/>
                <a:gd name="T71" fmla="*/ 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79" name="Freeform 435">
              <a:extLst>
                <a:ext uri="{FF2B5EF4-FFF2-40B4-BE49-F238E27FC236}">
                  <a16:creationId xmlns:a16="http://schemas.microsoft.com/office/drawing/2014/main" id="{FEACF01A-20FC-448D-8471-7808012D8CD3}"/>
                </a:ext>
              </a:extLst>
            </p:cNvPr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6388100" y="3692525"/>
              <a:ext cx="6350" cy="57150"/>
            </a:xfrm>
            <a:custGeom>
              <a:avLst/>
              <a:gdLst>
                <a:gd name="T0" fmla="*/ 11 w 14"/>
                <a:gd name="T1" fmla="*/ 0 h 7"/>
                <a:gd name="T2" fmla="*/ 13 w 14"/>
                <a:gd name="T3" fmla="*/ 3 h 7"/>
                <a:gd name="T4" fmla="*/ 14 w 14"/>
                <a:gd name="T5" fmla="*/ 7 h 7"/>
                <a:gd name="T6" fmla="*/ 0 w 14"/>
                <a:gd name="T7" fmla="*/ 7 h 7"/>
                <a:gd name="T8" fmla="*/ 11 w 14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80" name="Freeform 436">
              <a:extLst>
                <a:ext uri="{FF2B5EF4-FFF2-40B4-BE49-F238E27FC236}">
                  <a16:creationId xmlns:a16="http://schemas.microsoft.com/office/drawing/2014/main" id="{74D4FF87-F40F-479D-87DA-FF4E2B801D8A}"/>
                </a:ext>
              </a:extLst>
            </p:cNvPr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5878514" y="2928938"/>
              <a:ext cx="249237" cy="500062"/>
            </a:xfrm>
            <a:custGeom>
              <a:avLst/>
              <a:gdLst>
                <a:gd name="T0" fmla="*/ 81 w 581"/>
                <a:gd name="T1" fmla="*/ 115 h 955"/>
                <a:gd name="T2" fmla="*/ 104 w 581"/>
                <a:gd name="T3" fmla="*/ 152 h 955"/>
                <a:gd name="T4" fmla="*/ 111 w 581"/>
                <a:gd name="T5" fmla="*/ 180 h 955"/>
                <a:gd name="T6" fmla="*/ 95 w 581"/>
                <a:gd name="T7" fmla="*/ 234 h 955"/>
                <a:gd name="T8" fmla="*/ 96 w 581"/>
                <a:gd name="T9" fmla="*/ 325 h 955"/>
                <a:gd name="T10" fmla="*/ 93 w 581"/>
                <a:gd name="T11" fmla="*/ 363 h 955"/>
                <a:gd name="T12" fmla="*/ 82 w 581"/>
                <a:gd name="T13" fmla="*/ 396 h 955"/>
                <a:gd name="T14" fmla="*/ 59 w 581"/>
                <a:gd name="T15" fmla="*/ 429 h 955"/>
                <a:gd name="T16" fmla="*/ 31 w 581"/>
                <a:gd name="T17" fmla="*/ 461 h 955"/>
                <a:gd name="T18" fmla="*/ 17 w 581"/>
                <a:gd name="T19" fmla="*/ 481 h 955"/>
                <a:gd name="T20" fmla="*/ 2 w 581"/>
                <a:gd name="T21" fmla="*/ 542 h 955"/>
                <a:gd name="T22" fmla="*/ 69 w 581"/>
                <a:gd name="T23" fmla="*/ 616 h 955"/>
                <a:gd name="T24" fmla="*/ 69 w 581"/>
                <a:gd name="T25" fmla="*/ 634 h 955"/>
                <a:gd name="T26" fmla="*/ 74 w 581"/>
                <a:gd name="T27" fmla="*/ 665 h 955"/>
                <a:gd name="T28" fmla="*/ 74 w 581"/>
                <a:gd name="T29" fmla="*/ 696 h 955"/>
                <a:gd name="T30" fmla="*/ 78 w 581"/>
                <a:gd name="T31" fmla="*/ 733 h 955"/>
                <a:gd name="T32" fmla="*/ 94 w 581"/>
                <a:gd name="T33" fmla="*/ 778 h 955"/>
                <a:gd name="T34" fmla="*/ 105 w 581"/>
                <a:gd name="T35" fmla="*/ 792 h 955"/>
                <a:gd name="T36" fmla="*/ 68 w 581"/>
                <a:gd name="T37" fmla="*/ 794 h 955"/>
                <a:gd name="T38" fmla="*/ 42 w 581"/>
                <a:gd name="T39" fmla="*/ 802 h 955"/>
                <a:gd name="T40" fmla="*/ 36 w 581"/>
                <a:gd name="T41" fmla="*/ 812 h 955"/>
                <a:gd name="T42" fmla="*/ 42 w 581"/>
                <a:gd name="T43" fmla="*/ 842 h 955"/>
                <a:gd name="T44" fmla="*/ 69 w 581"/>
                <a:gd name="T45" fmla="*/ 876 h 955"/>
                <a:gd name="T46" fmla="*/ 87 w 581"/>
                <a:gd name="T47" fmla="*/ 899 h 955"/>
                <a:gd name="T48" fmla="*/ 100 w 581"/>
                <a:gd name="T49" fmla="*/ 927 h 955"/>
                <a:gd name="T50" fmla="*/ 156 w 581"/>
                <a:gd name="T51" fmla="*/ 955 h 955"/>
                <a:gd name="T52" fmla="*/ 189 w 581"/>
                <a:gd name="T53" fmla="*/ 942 h 955"/>
                <a:gd name="T54" fmla="*/ 248 w 581"/>
                <a:gd name="T55" fmla="*/ 929 h 955"/>
                <a:gd name="T56" fmla="*/ 279 w 581"/>
                <a:gd name="T57" fmla="*/ 921 h 955"/>
                <a:gd name="T58" fmla="*/ 297 w 581"/>
                <a:gd name="T59" fmla="*/ 904 h 955"/>
                <a:gd name="T60" fmla="*/ 302 w 581"/>
                <a:gd name="T61" fmla="*/ 892 h 955"/>
                <a:gd name="T62" fmla="*/ 302 w 581"/>
                <a:gd name="T63" fmla="*/ 868 h 955"/>
                <a:gd name="T64" fmla="*/ 338 w 581"/>
                <a:gd name="T65" fmla="*/ 871 h 955"/>
                <a:gd name="T66" fmla="*/ 367 w 581"/>
                <a:gd name="T67" fmla="*/ 866 h 955"/>
                <a:gd name="T68" fmla="*/ 389 w 581"/>
                <a:gd name="T69" fmla="*/ 856 h 955"/>
                <a:gd name="T70" fmla="*/ 405 w 581"/>
                <a:gd name="T71" fmla="*/ 842 h 955"/>
                <a:gd name="T72" fmla="*/ 432 w 581"/>
                <a:gd name="T73" fmla="*/ 807 h 955"/>
                <a:gd name="T74" fmla="*/ 460 w 581"/>
                <a:gd name="T75" fmla="*/ 773 h 955"/>
                <a:gd name="T76" fmla="*/ 477 w 581"/>
                <a:gd name="T77" fmla="*/ 760 h 955"/>
                <a:gd name="T78" fmla="*/ 502 w 581"/>
                <a:gd name="T79" fmla="*/ 752 h 955"/>
                <a:gd name="T80" fmla="*/ 521 w 581"/>
                <a:gd name="T81" fmla="*/ 745 h 955"/>
                <a:gd name="T82" fmla="*/ 499 w 581"/>
                <a:gd name="T83" fmla="*/ 697 h 955"/>
                <a:gd name="T84" fmla="*/ 484 w 581"/>
                <a:gd name="T85" fmla="*/ 653 h 955"/>
                <a:gd name="T86" fmla="*/ 472 w 581"/>
                <a:gd name="T87" fmla="*/ 623 h 955"/>
                <a:gd name="T88" fmla="*/ 481 w 581"/>
                <a:gd name="T89" fmla="*/ 610 h 955"/>
                <a:gd name="T90" fmla="*/ 487 w 581"/>
                <a:gd name="T91" fmla="*/ 579 h 955"/>
                <a:gd name="T92" fmla="*/ 494 w 581"/>
                <a:gd name="T93" fmla="*/ 541 h 955"/>
                <a:gd name="T94" fmla="*/ 505 w 581"/>
                <a:gd name="T95" fmla="*/ 519 h 955"/>
                <a:gd name="T96" fmla="*/ 532 w 581"/>
                <a:gd name="T97" fmla="*/ 486 h 955"/>
                <a:gd name="T98" fmla="*/ 570 w 581"/>
                <a:gd name="T99" fmla="*/ 461 h 955"/>
                <a:gd name="T100" fmla="*/ 129 w 581"/>
                <a:gd name="T101" fmla="*/ 0 h 955"/>
                <a:gd name="T102" fmla="*/ 98 w 581"/>
                <a:gd name="T103" fmla="*/ 5 h 955"/>
                <a:gd name="T104" fmla="*/ 69 w 581"/>
                <a:gd name="T105" fmla="*/ 24 h 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81" name="Freeform 437">
              <a:extLst>
                <a:ext uri="{FF2B5EF4-FFF2-40B4-BE49-F238E27FC236}">
                  <a16:creationId xmlns:a16="http://schemas.microsoft.com/office/drawing/2014/main" id="{24546DBD-5D0B-4DBD-9535-189E050B8DE5}"/>
                </a:ext>
              </a:extLst>
            </p:cNvPr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5554664" y="2311400"/>
              <a:ext cx="15875" cy="57150"/>
            </a:xfrm>
            <a:custGeom>
              <a:avLst/>
              <a:gdLst>
                <a:gd name="T0" fmla="*/ 26 w 45"/>
                <a:gd name="T1" fmla="*/ 0 h 36"/>
                <a:gd name="T2" fmla="*/ 0 w 45"/>
                <a:gd name="T3" fmla="*/ 18 h 36"/>
                <a:gd name="T4" fmla="*/ 23 w 45"/>
                <a:gd name="T5" fmla="*/ 36 h 36"/>
                <a:gd name="T6" fmla="*/ 45 w 45"/>
                <a:gd name="T7" fmla="*/ 15 h 36"/>
                <a:gd name="T8" fmla="*/ 26 w 4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grpSp>
          <p:nvGrpSpPr>
            <p:cNvPr id="282" name="Group 438">
              <a:extLst>
                <a:ext uri="{FF2B5EF4-FFF2-40B4-BE49-F238E27FC236}">
                  <a16:creationId xmlns:a16="http://schemas.microsoft.com/office/drawing/2014/main" id="{4F5DA7CF-1C2E-439D-9F08-D3C2E4FA63DA}"/>
                </a:ext>
              </a:extLst>
            </p:cNvPr>
            <p:cNvGrpSpPr>
              <a:grpSpLocks/>
            </p:cNvGrpSpPr>
            <p:nvPr>
              <p:custDataLst>
                <p:tags r:id="rId279"/>
              </p:custDataLst>
            </p:nvPr>
          </p:nvGrpSpPr>
          <p:grpSpPr bwMode="auto">
            <a:xfrm>
              <a:off x="3854451" y="4371976"/>
              <a:ext cx="384175" cy="1031875"/>
              <a:chOff x="1589" y="3126"/>
              <a:chExt cx="290" cy="657"/>
            </a:xfrm>
          </p:grpSpPr>
          <p:sp>
            <p:nvSpPr>
              <p:cNvPr id="392" name="Freeform 439">
                <a:extLst>
                  <a:ext uri="{FF2B5EF4-FFF2-40B4-BE49-F238E27FC236}">
                    <a16:creationId xmlns:a16="http://schemas.microsoft.com/office/drawing/2014/main" id="{2D06C660-5B91-4C37-869C-5F1E60C5D2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46 w 46"/>
                  <a:gd name="T1" fmla="*/ 12 h 51"/>
                  <a:gd name="T2" fmla="*/ 19 w 46"/>
                  <a:gd name="T3" fmla="*/ 0 h 51"/>
                  <a:gd name="T4" fmla="*/ 13 w 46"/>
                  <a:gd name="T5" fmla="*/ 5 h 51"/>
                  <a:gd name="T6" fmla="*/ 7 w 46"/>
                  <a:gd name="T7" fmla="*/ 9 h 51"/>
                  <a:gd name="T8" fmla="*/ 4 w 46"/>
                  <a:gd name="T9" fmla="*/ 12 h 51"/>
                  <a:gd name="T10" fmla="*/ 2 w 46"/>
                  <a:gd name="T11" fmla="*/ 14 h 51"/>
                  <a:gd name="T12" fmla="*/ 0 w 46"/>
                  <a:gd name="T13" fmla="*/ 16 h 51"/>
                  <a:gd name="T14" fmla="*/ 0 w 46"/>
                  <a:gd name="T15" fmla="*/ 19 h 51"/>
                  <a:gd name="T16" fmla="*/ 0 w 46"/>
                  <a:gd name="T17" fmla="*/ 24 h 51"/>
                  <a:gd name="T18" fmla="*/ 2 w 46"/>
                  <a:gd name="T19" fmla="*/ 29 h 51"/>
                  <a:gd name="T20" fmla="*/ 4 w 46"/>
                  <a:gd name="T21" fmla="*/ 36 h 51"/>
                  <a:gd name="T22" fmla="*/ 7 w 46"/>
                  <a:gd name="T23" fmla="*/ 41 h 51"/>
                  <a:gd name="T24" fmla="*/ 10 w 46"/>
                  <a:gd name="T25" fmla="*/ 46 h 51"/>
                  <a:gd name="T26" fmla="*/ 13 w 46"/>
                  <a:gd name="T27" fmla="*/ 49 h 51"/>
                  <a:gd name="T28" fmla="*/ 15 w 46"/>
                  <a:gd name="T29" fmla="*/ 50 h 51"/>
                  <a:gd name="T30" fmla="*/ 16 w 46"/>
                  <a:gd name="T31" fmla="*/ 51 h 51"/>
                  <a:gd name="T32" fmla="*/ 18 w 46"/>
                  <a:gd name="T33" fmla="*/ 51 h 51"/>
                  <a:gd name="T34" fmla="*/ 19 w 46"/>
                  <a:gd name="T35" fmla="*/ 50 h 51"/>
                  <a:gd name="T36" fmla="*/ 35 w 46"/>
                  <a:gd name="T37" fmla="*/ 50 h 51"/>
                  <a:gd name="T38" fmla="*/ 46 w 46"/>
                  <a:gd name="T39" fmla="*/ 50 h 51"/>
                  <a:gd name="T40" fmla="*/ 46 w 46"/>
                  <a:gd name="T41" fmla="*/ 37 h 51"/>
                  <a:gd name="T42" fmla="*/ 46 w 46"/>
                  <a:gd name="T43" fmla="*/ 26 h 51"/>
                  <a:gd name="T44" fmla="*/ 46 w 46"/>
                  <a:gd name="T45" fmla="*/ 18 h 51"/>
                  <a:gd name="T46" fmla="*/ 46 w 46"/>
                  <a:gd name="T47" fmla="*/ 1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93" name="Freeform 440">
                <a:extLst>
                  <a:ext uri="{FF2B5EF4-FFF2-40B4-BE49-F238E27FC236}">
                    <a16:creationId xmlns:a16="http://schemas.microsoft.com/office/drawing/2014/main" id="{D9D48CC4-8BAD-4B34-BABF-F093F8418A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14 h 158"/>
                  <a:gd name="T4" fmla="*/ 2 w 192"/>
                  <a:gd name="T5" fmla="*/ 26 h 158"/>
                  <a:gd name="T6" fmla="*/ 4 w 192"/>
                  <a:gd name="T7" fmla="*/ 38 h 158"/>
                  <a:gd name="T8" fmla="*/ 7 w 192"/>
                  <a:gd name="T9" fmla="*/ 50 h 158"/>
                  <a:gd name="T10" fmla="*/ 11 w 192"/>
                  <a:gd name="T11" fmla="*/ 61 h 158"/>
                  <a:gd name="T12" fmla="*/ 15 w 192"/>
                  <a:gd name="T13" fmla="*/ 71 h 158"/>
                  <a:gd name="T14" fmla="*/ 21 w 192"/>
                  <a:gd name="T15" fmla="*/ 81 h 158"/>
                  <a:gd name="T16" fmla="*/ 25 w 192"/>
                  <a:gd name="T17" fmla="*/ 90 h 158"/>
                  <a:gd name="T18" fmla="*/ 47 w 192"/>
                  <a:gd name="T19" fmla="*/ 122 h 158"/>
                  <a:gd name="T20" fmla="*/ 66 w 192"/>
                  <a:gd name="T21" fmla="*/ 148 h 158"/>
                  <a:gd name="T22" fmla="*/ 72 w 192"/>
                  <a:gd name="T23" fmla="*/ 151 h 158"/>
                  <a:gd name="T24" fmla="*/ 79 w 192"/>
                  <a:gd name="T25" fmla="*/ 153 h 158"/>
                  <a:gd name="T26" fmla="*/ 85 w 192"/>
                  <a:gd name="T27" fmla="*/ 155 h 158"/>
                  <a:gd name="T28" fmla="*/ 92 w 192"/>
                  <a:gd name="T29" fmla="*/ 156 h 158"/>
                  <a:gd name="T30" fmla="*/ 105 w 192"/>
                  <a:gd name="T31" fmla="*/ 158 h 158"/>
                  <a:gd name="T32" fmla="*/ 119 w 192"/>
                  <a:gd name="T33" fmla="*/ 158 h 158"/>
                  <a:gd name="T34" fmla="*/ 152 w 192"/>
                  <a:gd name="T35" fmla="*/ 155 h 158"/>
                  <a:gd name="T36" fmla="*/ 192 w 192"/>
                  <a:gd name="T37" fmla="*/ 154 h 158"/>
                  <a:gd name="T38" fmla="*/ 184 w 192"/>
                  <a:gd name="T39" fmla="*/ 153 h 158"/>
                  <a:gd name="T40" fmla="*/ 176 w 192"/>
                  <a:gd name="T41" fmla="*/ 152 h 158"/>
                  <a:gd name="T42" fmla="*/ 168 w 192"/>
                  <a:gd name="T43" fmla="*/ 151 h 158"/>
                  <a:gd name="T44" fmla="*/ 160 w 192"/>
                  <a:gd name="T45" fmla="*/ 149 h 158"/>
                  <a:gd name="T46" fmla="*/ 145 w 192"/>
                  <a:gd name="T47" fmla="*/ 144 h 158"/>
                  <a:gd name="T48" fmla="*/ 129 w 192"/>
                  <a:gd name="T49" fmla="*/ 138 h 158"/>
                  <a:gd name="T50" fmla="*/ 115 w 192"/>
                  <a:gd name="T51" fmla="*/ 130 h 158"/>
                  <a:gd name="T52" fmla="*/ 101 w 192"/>
                  <a:gd name="T53" fmla="*/ 120 h 158"/>
                  <a:gd name="T54" fmla="*/ 87 w 192"/>
                  <a:gd name="T55" fmla="*/ 110 h 158"/>
                  <a:gd name="T56" fmla="*/ 75 w 192"/>
                  <a:gd name="T57" fmla="*/ 98 h 158"/>
                  <a:gd name="T58" fmla="*/ 63 w 192"/>
                  <a:gd name="T59" fmla="*/ 87 h 158"/>
                  <a:gd name="T60" fmla="*/ 52 w 192"/>
                  <a:gd name="T61" fmla="*/ 75 h 158"/>
                  <a:gd name="T62" fmla="*/ 42 w 192"/>
                  <a:gd name="T63" fmla="*/ 63 h 158"/>
                  <a:gd name="T64" fmla="*/ 35 w 192"/>
                  <a:gd name="T65" fmla="*/ 50 h 158"/>
                  <a:gd name="T66" fmla="*/ 27 w 192"/>
                  <a:gd name="T67" fmla="*/ 38 h 158"/>
                  <a:gd name="T68" fmla="*/ 21 w 192"/>
                  <a:gd name="T69" fmla="*/ 26 h 158"/>
                  <a:gd name="T70" fmla="*/ 16 w 192"/>
                  <a:gd name="T71" fmla="*/ 16 h 158"/>
                  <a:gd name="T72" fmla="*/ 13 w 192"/>
                  <a:gd name="T73" fmla="*/ 6 h 158"/>
                  <a:gd name="T74" fmla="*/ 0 w 192"/>
                  <a:gd name="T75" fmla="*/ 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94" name="Freeform 441">
                <a:extLst>
                  <a:ext uri="{FF2B5EF4-FFF2-40B4-BE49-F238E27FC236}">
                    <a16:creationId xmlns:a16="http://schemas.microsoft.com/office/drawing/2014/main" id="{A7F0677F-4874-4375-A35B-DC60389726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772 w 884"/>
                  <a:gd name="T1" fmla="*/ 415 h 1818"/>
                  <a:gd name="T2" fmla="*/ 873 w 884"/>
                  <a:gd name="T3" fmla="*/ 342 h 1818"/>
                  <a:gd name="T4" fmla="*/ 884 w 884"/>
                  <a:gd name="T5" fmla="*/ 232 h 1818"/>
                  <a:gd name="T6" fmla="*/ 840 w 884"/>
                  <a:gd name="T7" fmla="*/ 192 h 1818"/>
                  <a:gd name="T8" fmla="*/ 841 w 884"/>
                  <a:gd name="T9" fmla="*/ 262 h 1818"/>
                  <a:gd name="T10" fmla="*/ 774 w 884"/>
                  <a:gd name="T11" fmla="*/ 328 h 1818"/>
                  <a:gd name="T12" fmla="*/ 667 w 884"/>
                  <a:gd name="T13" fmla="*/ 331 h 1818"/>
                  <a:gd name="T14" fmla="*/ 625 w 884"/>
                  <a:gd name="T15" fmla="*/ 290 h 1818"/>
                  <a:gd name="T16" fmla="*/ 658 w 884"/>
                  <a:gd name="T17" fmla="*/ 215 h 1818"/>
                  <a:gd name="T18" fmla="*/ 544 w 884"/>
                  <a:gd name="T19" fmla="*/ 148 h 1818"/>
                  <a:gd name="T20" fmla="*/ 425 w 884"/>
                  <a:gd name="T21" fmla="*/ 87 h 1818"/>
                  <a:gd name="T22" fmla="*/ 373 w 884"/>
                  <a:gd name="T23" fmla="*/ 10 h 1818"/>
                  <a:gd name="T24" fmla="*/ 286 w 884"/>
                  <a:gd name="T25" fmla="*/ 22 h 1818"/>
                  <a:gd name="T26" fmla="*/ 234 w 884"/>
                  <a:gd name="T27" fmla="*/ 24 h 1818"/>
                  <a:gd name="T28" fmla="*/ 171 w 884"/>
                  <a:gd name="T29" fmla="*/ 8 h 1818"/>
                  <a:gd name="T30" fmla="*/ 98 w 884"/>
                  <a:gd name="T31" fmla="*/ 54 h 1818"/>
                  <a:gd name="T32" fmla="*/ 67 w 884"/>
                  <a:gd name="T33" fmla="*/ 116 h 1818"/>
                  <a:gd name="T34" fmla="*/ 27 w 884"/>
                  <a:gd name="T35" fmla="*/ 179 h 1818"/>
                  <a:gd name="T36" fmla="*/ 55 w 884"/>
                  <a:gd name="T37" fmla="*/ 251 h 1818"/>
                  <a:gd name="T38" fmla="*/ 51 w 884"/>
                  <a:gd name="T39" fmla="*/ 319 h 1818"/>
                  <a:gd name="T40" fmla="*/ 0 w 884"/>
                  <a:gd name="T41" fmla="*/ 432 h 1818"/>
                  <a:gd name="T42" fmla="*/ 12 w 884"/>
                  <a:gd name="T43" fmla="*/ 609 h 1818"/>
                  <a:gd name="T44" fmla="*/ 76 w 884"/>
                  <a:gd name="T45" fmla="*/ 696 h 1818"/>
                  <a:gd name="T46" fmla="*/ 60 w 884"/>
                  <a:gd name="T47" fmla="*/ 753 h 1818"/>
                  <a:gd name="T48" fmla="*/ 60 w 884"/>
                  <a:gd name="T49" fmla="*/ 808 h 1818"/>
                  <a:gd name="T50" fmla="*/ 81 w 884"/>
                  <a:gd name="T51" fmla="*/ 850 h 1818"/>
                  <a:gd name="T52" fmla="*/ 53 w 884"/>
                  <a:gd name="T53" fmla="*/ 900 h 1818"/>
                  <a:gd name="T54" fmla="*/ 82 w 884"/>
                  <a:gd name="T55" fmla="*/ 983 h 1818"/>
                  <a:gd name="T56" fmla="*/ 81 w 884"/>
                  <a:gd name="T57" fmla="*/ 1055 h 1818"/>
                  <a:gd name="T58" fmla="*/ 78 w 884"/>
                  <a:gd name="T59" fmla="*/ 1152 h 1818"/>
                  <a:gd name="T60" fmla="*/ 137 w 884"/>
                  <a:gd name="T61" fmla="*/ 1265 h 1818"/>
                  <a:gd name="T62" fmla="*/ 198 w 884"/>
                  <a:gd name="T63" fmla="*/ 1394 h 1818"/>
                  <a:gd name="T64" fmla="*/ 217 w 884"/>
                  <a:gd name="T65" fmla="*/ 1463 h 1818"/>
                  <a:gd name="T66" fmla="*/ 230 w 884"/>
                  <a:gd name="T67" fmla="*/ 1526 h 1818"/>
                  <a:gd name="T68" fmla="*/ 213 w 884"/>
                  <a:gd name="T69" fmla="*/ 1590 h 1818"/>
                  <a:gd name="T70" fmla="*/ 201 w 884"/>
                  <a:gd name="T71" fmla="*/ 1644 h 1818"/>
                  <a:gd name="T72" fmla="*/ 228 w 884"/>
                  <a:gd name="T73" fmla="*/ 1718 h 1818"/>
                  <a:gd name="T74" fmla="*/ 311 w 884"/>
                  <a:gd name="T75" fmla="*/ 1772 h 1818"/>
                  <a:gd name="T76" fmla="*/ 392 w 884"/>
                  <a:gd name="T77" fmla="*/ 1798 h 1818"/>
                  <a:gd name="T78" fmla="*/ 451 w 884"/>
                  <a:gd name="T79" fmla="*/ 1786 h 1818"/>
                  <a:gd name="T80" fmla="*/ 454 w 884"/>
                  <a:gd name="T81" fmla="*/ 1703 h 1818"/>
                  <a:gd name="T82" fmla="*/ 470 w 884"/>
                  <a:gd name="T83" fmla="*/ 1612 h 1818"/>
                  <a:gd name="T84" fmla="*/ 495 w 884"/>
                  <a:gd name="T85" fmla="*/ 1509 h 1818"/>
                  <a:gd name="T86" fmla="*/ 420 w 884"/>
                  <a:gd name="T87" fmla="*/ 1486 h 1818"/>
                  <a:gd name="T88" fmla="*/ 401 w 884"/>
                  <a:gd name="T89" fmla="*/ 1430 h 1818"/>
                  <a:gd name="T90" fmla="*/ 453 w 884"/>
                  <a:gd name="T91" fmla="*/ 1395 h 1818"/>
                  <a:gd name="T92" fmla="*/ 484 w 884"/>
                  <a:gd name="T93" fmla="*/ 1332 h 1818"/>
                  <a:gd name="T94" fmla="*/ 455 w 884"/>
                  <a:gd name="T95" fmla="*/ 1224 h 1818"/>
                  <a:gd name="T96" fmla="*/ 425 w 884"/>
                  <a:gd name="T97" fmla="*/ 1141 h 1818"/>
                  <a:gd name="T98" fmla="*/ 518 w 884"/>
                  <a:gd name="T99" fmla="*/ 1166 h 1818"/>
                  <a:gd name="T100" fmla="*/ 568 w 884"/>
                  <a:gd name="T101" fmla="*/ 1151 h 1818"/>
                  <a:gd name="T102" fmla="*/ 558 w 884"/>
                  <a:gd name="T103" fmla="*/ 1078 h 1818"/>
                  <a:gd name="T104" fmla="*/ 565 w 884"/>
                  <a:gd name="T105" fmla="*/ 1030 h 1818"/>
                  <a:gd name="T106" fmla="*/ 676 w 884"/>
                  <a:gd name="T107" fmla="*/ 1023 h 1818"/>
                  <a:gd name="T108" fmla="*/ 795 w 884"/>
                  <a:gd name="T109" fmla="*/ 973 h 1818"/>
                  <a:gd name="T110" fmla="*/ 816 w 884"/>
                  <a:gd name="T111" fmla="*/ 882 h 1818"/>
                  <a:gd name="T112" fmla="*/ 781 w 884"/>
                  <a:gd name="T113" fmla="*/ 852 h 1818"/>
                  <a:gd name="T114" fmla="*/ 758 w 884"/>
                  <a:gd name="T115" fmla="*/ 810 h 1818"/>
                  <a:gd name="T116" fmla="*/ 692 w 884"/>
                  <a:gd name="T117" fmla="*/ 752 h 1818"/>
                  <a:gd name="T118" fmla="*/ 701 w 884"/>
                  <a:gd name="T119" fmla="*/ 532 h 18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283" name="Freeform 442">
              <a:extLst>
                <a:ext uri="{FF2B5EF4-FFF2-40B4-BE49-F238E27FC236}">
                  <a16:creationId xmlns:a16="http://schemas.microsoft.com/office/drawing/2014/main" id="{28EC5317-1790-4E57-896B-F4B663A4D0C7}"/>
                </a:ext>
              </a:extLst>
            </p:cNvPr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6564314" y="2324100"/>
              <a:ext cx="123825" cy="109538"/>
            </a:xfrm>
            <a:custGeom>
              <a:avLst/>
              <a:gdLst>
                <a:gd name="T0" fmla="*/ 33 w 279"/>
                <a:gd name="T1" fmla="*/ 87 h 204"/>
                <a:gd name="T2" fmla="*/ 59 w 279"/>
                <a:gd name="T3" fmla="*/ 142 h 204"/>
                <a:gd name="T4" fmla="*/ 59 w 279"/>
                <a:gd name="T5" fmla="*/ 179 h 204"/>
                <a:gd name="T6" fmla="*/ 102 w 279"/>
                <a:gd name="T7" fmla="*/ 196 h 204"/>
                <a:gd name="T8" fmla="*/ 122 w 279"/>
                <a:gd name="T9" fmla="*/ 202 h 204"/>
                <a:gd name="T10" fmla="*/ 139 w 279"/>
                <a:gd name="T11" fmla="*/ 204 h 204"/>
                <a:gd name="T12" fmla="*/ 146 w 279"/>
                <a:gd name="T13" fmla="*/ 201 h 204"/>
                <a:gd name="T14" fmla="*/ 151 w 279"/>
                <a:gd name="T15" fmla="*/ 194 h 204"/>
                <a:gd name="T16" fmla="*/ 160 w 279"/>
                <a:gd name="T17" fmla="*/ 172 h 204"/>
                <a:gd name="T18" fmla="*/ 172 w 279"/>
                <a:gd name="T19" fmla="*/ 149 h 204"/>
                <a:gd name="T20" fmla="*/ 181 w 279"/>
                <a:gd name="T21" fmla="*/ 141 h 204"/>
                <a:gd name="T22" fmla="*/ 192 w 279"/>
                <a:gd name="T23" fmla="*/ 136 h 204"/>
                <a:gd name="T24" fmla="*/ 209 w 279"/>
                <a:gd name="T25" fmla="*/ 138 h 204"/>
                <a:gd name="T26" fmla="*/ 220 w 279"/>
                <a:gd name="T27" fmla="*/ 142 h 204"/>
                <a:gd name="T28" fmla="*/ 228 w 279"/>
                <a:gd name="T29" fmla="*/ 148 h 204"/>
                <a:gd name="T30" fmla="*/ 231 w 279"/>
                <a:gd name="T31" fmla="*/ 154 h 204"/>
                <a:gd name="T32" fmla="*/ 234 w 279"/>
                <a:gd name="T33" fmla="*/ 164 h 204"/>
                <a:gd name="T34" fmla="*/ 231 w 279"/>
                <a:gd name="T35" fmla="*/ 167 h 204"/>
                <a:gd name="T36" fmla="*/ 234 w 279"/>
                <a:gd name="T37" fmla="*/ 153 h 204"/>
                <a:gd name="T38" fmla="*/ 238 w 279"/>
                <a:gd name="T39" fmla="*/ 140 h 204"/>
                <a:gd name="T40" fmla="*/ 245 w 279"/>
                <a:gd name="T41" fmla="*/ 117 h 204"/>
                <a:gd name="T42" fmla="*/ 254 w 279"/>
                <a:gd name="T43" fmla="*/ 115 h 204"/>
                <a:gd name="T44" fmla="*/ 264 w 279"/>
                <a:gd name="T45" fmla="*/ 110 h 204"/>
                <a:gd name="T46" fmla="*/ 279 w 279"/>
                <a:gd name="T47" fmla="*/ 99 h 204"/>
                <a:gd name="T48" fmla="*/ 252 w 279"/>
                <a:gd name="T49" fmla="*/ 75 h 204"/>
                <a:gd name="T50" fmla="*/ 227 w 279"/>
                <a:gd name="T51" fmla="*/ 58 h 204"/>
                <a:gd name="T52" fmla="*/ 204 w 279"/>
                <a:gd name="T53" fmla="*/ 44 h 204"/>
                <a:gd name="T54" fmla="*/ 185 w 279"/>
                <a:gd name="T55" fmla="*/ 31 h 204"/>
                <a:gd name="T56" fmla="*/ 146 w 279"/>
                <a:gd name="T57" fmla="*/ 68 h 204"/>
                <a:gd name="T58" fmla="*/ 79 w 279"/>
                <a:gd name="T59" fmla="*/ 25 h 204"/>
                <a:gd name="T60" fmla="*/ 52 w 279"/>
                <a:gd name="T61" fmla="*/ 12 h 204"/>
                <a:gd name="T62" fmla="*/ 46 w 279"/>
                <a:gd name="T63" fmla="*/ 62 h 204"/>
                <a:gd name="T64" fmla="*/ 0 w 279"/>
                <a:gd name="T65" fmla="*/ 5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84" name="Freeform 443">
              <a:extLst>
                <a:ext uri="{FF2B5EF4-FFF2-40B4-BE49-F238E27FC236}">
                  <a16:creationId xmlns:a16="http://schemas.microsoft.com/office/drawing/2014/main" id="{1A5EAE51-6919-4A1E-A589-BE03071AFEE1}"/>
                </a:ext>
              </a:extLst>
            </p:cNvPr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6030913" y="1897063"/>
              <a:ext cx="209550" cy="150812"/>
            </a:xfrm>
            <a:custGeom>
              <a:avLst/>
              <a:gdLst>
                <a:gd name="T0" fmla="*/ 252 w 485"/>
                <a:gd name="T1" fmla="*/ 20 h 291"/>
                <a:gd name="T2" fmla="*/ 300 w 485"/>
                <a:gd name="T3" fmla="*/ 44 h 291"/>
                <a:gd name="T4" fmla="*/ 372 w 485"/>
                <a:gd name="T5" fmla="*/ 44 h 291"/>
                <a:gd name="T6" fmla="*/ 425 w 485"/>
                <a:gd name="T7" fmla="*/ 131 h 291"/>
                <a:gd name="T8" fmla="*/ 485 w 485"/>
                <a:gd name="T9" fmla="*/ 167 h 291"/>
                <a:gd name="T10" fmla="*/ 412 w 485"/>
                <a:gd name="T11" fmla="*/ 173 h 291"/>
                <a:gd name="T12" fmla="*/ 433 w 485"/>
                <a:gd name="T13" fmla="*/ 210 h 291"/>
                <a:gd name="T14" fmla="*/ 392 w 485"/>
                <a:gd name="T15" fmla="*/ 241 h 291"/>
                <a:gd name="T16" fmla="*/ 385 w 485"/>
                <a:gd name="T17" fmla="*/ 291 h 291"/>
                <a:gd name="T18" fmla="*/ 285 w 485"/>
                <a:gd name="T19" fmla="*/ 266 h 291"/>
                <a:gd name="T20" fmla="*/ 173 w 485"/>
                <a:gd name="T21" fmla="*/ 254 h 291"/>
                <a:gd name="T22" fmla="*/ 60 w 485"/>
                <a:gd name="T23" fmla="*/ 266 h 291"/>
                <a:gd name="T24" fmla="*/ 15 w 485"/>
                <a:gd name="T25" fmla="*/ 271 h 291"/>
                <a:gd name="T26" fmla="*/ 8 w 485"/>
                <a:gd name="T27" fmla="*/ 257 h 291"/>
                <a:gd name="T28" fmla="*/ 3 w 485"/>
                <a:gd name="T29" fmla="*/ 244 h 291"/>
                <a:gd name="T30" fmla="*/ 0 w 485"/>
                <a:gd name="T31" fmla="*/ 229 h 291"/>
                <a:gd name="T32" fmla="*/ 5 w 485"/>
                <a:gd name="T33" fmla="*/ 219 h 291"/>
                <a:gd name="T34" fmla="*/ 14 w 485"/>
                <a:gd name="T35" fmla="*/ 207 h 291"/>
                <a:gd name="T36" fmla="*/ 23 w 485"/>
                <a:gd name="T37" fmla="*/ 189 h 291"/>
                <a:gd name="T38" fmla="*/ 31 w 485"/>
                <a:gd name="T39" fmla="*/ 166 h 291"/>
                <a:gd name="T40" fmla="*/ 41 w 485"/>
                <a:gd name="T41" fmla="*/ 137 h 291"/>
                <a:gd name="T42" fmla="*/ 48 w 485"/>
                <a:gd name="T43" fmla="*/ 126 h 291"/>
                <a:gd name="T44" fmla="*/ 60 w 485"/>
                <a:gd name="T45" fmla="*/ 119 h 291"/>
                <a:gd name="T46" fmla="*/ 87 w 485"/>
                <a:gd name="T47" fmla="*/ 111 h 291"/>
                <a:gd name="T48" fmla="*/ 89 w 485"/>
                <a:gd name="T49" fmla="*/ 106 h 291"/>
                <a:gd name="T50" fmla="*/ 94 w 485"/>
                <a:gd name="T51" fmla="*/ 100 h 291"/>
                <a:gd name="T52" fmla="*/ 101 w 485"/>
                <a:gd name="T53" fmla="*/ 95 h 291"/>
                <a:gd name="T54" fmla="*/ 106 w 485"/>
                <a:gd name="T55" fmla="*/ 93 h 291"/>
                <a:gd name="T56" fmla="*/ 106 w 485"/>
                <a:gd name="T57" fmla="*/ 76 h 291"/>
                <a:gd name="T58" fmla="*/ 109 w 485"/>
                <a:gd name="T59" fmla="*/ 70 h 291"/>
                <a:gd name="T60" fmla="*/ 113 w 485"/>
                <a:gd name="T61" fmla="*/ 67 h 291"/>
                <a:gd name="T62" fmla="*/ 122 w 485"/>
                <a:gd name="T63" fmla="*/ 69 h 291"/>
                <a:gd name="T64" fmla="*/ 128 w 485"/>
                <a:gd name="T65" fmla="*/ 69 h 291"/>
                <a:gd name="T66" fmla="*/ 132 w 485"/>
                <a:gd name="T67" fmla="*/ 66 h 291"/>
                <a:gd name="T68" fmla="*/ 134 w 485"/>
                <a:gd name="T69" fmla="*/ 56 h 291"/>
                <a:gd name="T70" fmla="*/ 139 w 485"/>
                <a:gd name="T71" fmla="*/ 44 h 291"/>
                <a:gd name="T72" fmla="*/ 144 w 485"/>
                <a:gd name="T73" fmla="*/ 39 h 291"/>
                <a:gd name="T74" fmla="*/ 213 w 485"/>
                <a:gd name="T75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85" name="Freeform 444">
              <a:extLst>
                <a:ext uri="{FF2B5EF4-FFF2-40B4-BE49-F238E27FC236}">
                  <a16:creationId xmlns:a16="http://schemas.microsoft.com/office/drawing/2014/main" id="{E7E8ECF2-1551-4323-87CE-9708141024C7}"/>
                </a:ext>
              </a:extLst>
            </p:cNvPr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5888038" y="2228851"/>
              <a:ext cx="82550" cy="87313"/>
            </a:xfrm>
            <a:custGeom>
              <a:avLst/>
              <a:gdLst>
                <a:gd name="T0" fmla="*/ 86 w 186"/>
                <a:gd name="T1" fmla="*/ 147 h 166"/>
                <a:gd name="T2" fmla="*/ 83 w 186"/>
                <a:gd name="T3" fmla="*/ 136 h 166"/>
                <a:gd name="T4" fmla="*/ 78 w 186"/>
                <a:gd name="T5" fmla="*/ 127 h 166"/>
                <a:gd name="T6" fmla="*/ 74 w 186"/>
                <a:gd name="T7" fmla="*/ 118 h 166"/>
                <a:gd name="T8" fmla="*/ 70 w 186"/>
                <a:gd name="T9" fmla="*/ 110 h 166"/>
                <a:gd name="T10" fmla="*/ 60 w 186"/>
                <a:gd name="T11" fmla="*/ 95 h 166"/>
                <a:gd name="T12" fmla="*/ 49 w 186"/>
                <a:gd name="T13" fmla="*/ 82 h 166"/>
                <a:gd name="T14" fmla="*/ 37 w 186"/>
                <a:gd name="T15" fmla="*/ 70 h 166"/>
                <a:gd name="T16" fmla="*/ 25 w 186"/>
                <a:gd name="T17" fmla="*/ 56 h 166"/>
                <a:gd name="T18" fmla="*/ 13 w 186"/>
                <a:gd name="T19" fmla="*/ 38 h 166"/>
                <a:gd name="T20" fmla="*/ 0 w 186"/>
                <a:gd name="T21" fmla="*/ 18 h 166"/>
                <a:gd name="T22" fmla="*/ 0 w 186"/>
                <a:gd name="T23" fmla="*/ 0 h 166"/>
                <a:gd name="T24" fmla="*/ 7 w 186"/>
                <a:gd name="T25" fmla="*/ 2 h 166"/>
                <a:gd name="T26" fmla="*/ 14 w 186"/>
                <a:gd name="T27" fmla="*/ 3 h 166"/>
                <a:gd name="T28" fmla="*/ 20 w 186"/>
                <a:gd name="T29" fmla="*/ 4 h 166"/>
                <a:gd name="T30" fmla="*/ 27 w 186"/>
                <a:gd name="T31" fmla="*/ 4 h 166"/>
                <a:gd name="T32" fmla="*/ 33 w 186"/>
                <a:gd name="T33" fmla="*/ 4 h 166"/>
                <a:gd name="T34" fmla="*/ 40 w 186"/>
                <a:gd name="T35" fmla="*/ 3 h 166"/>
                <a:gd name="T36" fmla="*/ 47 w 186"/>
                <a:gd name="T37" fmla="*/ 2 h 166"/>
                <a:gd name="T38" fmla="*/ 53 w 186"/>
                <a:gd name="T39" fmla="*/ 0 h 166"/>
                <a:gd name="T40" fmla="*/ 140 w 186"/>
                <a:gd name="T41" fmla="*/ 12 h 166"/>
                <a:gd name="T42" fmla="*/ 186 w 186"/>
                <a:gd name="T43" fmla="*/ 91 h 166"/>
                <a:gd name="T44" fmla="*/ 171 w 186"/>
                <a:gd name="T45" fmla="*/ 112 h 166"/>
                <a:gd name="T46" fmla="*/ 155 w 186"/>
                <a:gd name="T47" fmla="*/ 129 h 166"/>
                <a:gd name="T48" fmla="*/ 149 w 186"/>
                <a:gd name="T49" fmla="*/ 137 h 166"/>
                <a:gd name="T50" fmla="*/ 144 w 186"/>
                <a:gd name="T51" fmla="*/ 145 h 166"/>
                <a:gd name="T52" fmla="*/ 142 w 186"/>
                <a:gd name="T53" fmla="*/ 150 h 166"/>
                <a:gd name="T54" fmla="*/ 141 w 186"/>
                <a:gd name="T55" fmla="*/ 156 h 166"/>
                <a:gd name="T56" fmla="*/ 140 w 186"/>
                <a:gd name="T57" fmla="*/ 161 h 166"/>
                <a:gd name="T58" fmla="*/ 140 w 186"/>
                <a:gd name="T59" fmla="*/ 166 h 166"/>
                <a:gd name="T60" fmla="*/ 86 w 186"/>
                <a:gd name="T61" fmla="*/ 147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86" name="Freeform 445">
              <a:extLst>
                <a:ext uri="{FF2B5EF4-FFF2-40B4-BE49-F238E27FC236}">
                  <a16:creationId xmlns:a16="http://schemas.microsoft.com/office/drawing/2014/main" id="{A4B63D5B-4B6A-4324-B2A0-BFB10D8149D6}"/>
                </a:ext>
              </a:extLst>
            </p:cNvPr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4252913" y="3665538"/>
              <a:ext cx="82550" cy="57150"/>
            </a:xfrm>
            <a:custGeom>
              <a:avLst/>
              <a:gdLst>
                <a:gd name="T0" fmla="*/ 153 w 186"/>
                <a:gd name="T1" fmla="*/ 21 h 104"/>
                <a:gd name="T2" fmla="*/ 146 w 186"/>
                <a:gd name="T3" fmla="*/ 21 h 104"/>
                <a:gd name="T4" fmla="*/ 141 w 186"/>
                <a:gd name="T5" fmla="*/ 20 h 104"/>
                <a:gd name="T6" fmla="*/ 136 w 186"/>
                <a:gd name="T7" fmla="*/ 18 h 104"/>
                <a:gd name="T8" fmla="*/ 133 w 186"/>
                <a:gd name="T9" fmla="*/ 15 h 104"/>
                <a:gd name="T10" fmla="*/ 130 w 186"/>
                <a:gd name="T11" fmla="*/ 13 h 104"/>
                <a:gd name="T12" fmla="*/ 125 w 186"/>
                <a:gd name="T13" fmla="*/ 11 h 104"/>
                <a:gd name="T14" fmla="*/ 120 w 186"/>
                <a:gd name="T15" fmla="*/ 10 h 104"/>
                <a:gd name="T16" fmla="*/ 113 w 186"/>
                <a:gd name="T17" fmla="*/ 9 h 104"/>
                <a:gd name="T18" fmla="*/ 100 w 186"/>
                <a:gd name="T19" fmla="*/ 8 h 104"/>
                <a:gd name="T20" fmla="*/ 88 w 186"/>
                <a:gd name="T21" fmla="*/ 6 h 104"/>
                <a:gd name="T22" fmla="*/ 75 w 186"/>
                <a:gd name="T23" fmla="*/ 3 h 104"/>
                <a:gd name="T24" fmla="*/ 64 w 186"/>
                <a:gd name="T25" fmla="*/ 1 h 104"/>
                <a:gd name="T26" fmla="*/ 60 w 186"/>
                <a:gd name="T27" fmla="*/ 0 h 104"/>
                <a:gd name="T28" fmla="*/ 54 w 186"/>
                <a:gd name="T29" fmla="*/ 0 h 104"/>
                <a:gd name="T30" fmla="*/ 51 w 186"/>
                <a:gd name="T31" fmla="*/ 1 h 104"/>
                <a:gd name="T32" fmla="*/ 46 w 186"/>
                <a:gd name="T33" fmla="*/ 2 h 104"/>
                <a:gd name="T34" fmla="*/ 44 w 186"/>
                <a:gd name="T35" fmla="*/ 4 h 104"/>
                <a:gd name="T36" fmla="*/ 42 w 186"/>
                <a:gd name="T37" fmla="*/ 6 h 104"/>
                <a:gd name="T38" fmla="*/ 41 w 186"/>
                <a:gd name="T39" fmla="*/ 10 h 104"/>
                <a:gd name="T40" fmla="*/ 40 w 186"/>
                <a:gd name="T41" fmla="*/ 15 h 104"/>
                <a:gd name="T42" fmla="*/ 34 w 186"/>
                <a:gd name="T43" fmla="*/ 27 h 104"/>
                <a:gd name="T44" fmla="*/ 20 w 186"/>
                <a:gd name="T45" fmla="*/ 47 h 104"/>
                <a:gd name="T46" fmla="*/ 7 w 186"/>
                <a:gd name="T47" fmla="*/ 66 h 104"/>
                <a:gd name="T48" fmla="*/ 0 w 186"/>
                <a:gd name="T49" fmla="*/ 77 h 104"/>
                <a:gd name="T50" fmla="*/ 8 w 186"/>
                <a:gd name="T51" fmla="*/ 77 h 104"/>
                <a:gd name="T52" fmla="*/ 16 w 186"/>
                <a:gd name="T53" fmla="*/ 78 h 104"/>
                <a:gd name="T54" fmla="*/ 21 w 186"/>
                <a:gd name="T55" fmla="*/ 79 h 104"/>
                <a:gd name="T56" fmla="*/ 25 w 186"/>
                <a:gd name="T57" fmla="*/ 81 h 104"/>
                <a:gd name="T58" fmla="*/ 33 w 186"/>
                <a:gd name="T59" fmla="*/ 85 h 104"/>
                <a:gd name="T60" fmla="*/ 40 w 186"/>
                <a:gd name="T61" fmla="*/ 89 h 104"/>
                <a:gd name="T62" fmla="*/ 45 w 186"/>
                <a:gd name="T63" fmla="*/ 94 h 104"/>
                <a:gd name="T64" fmla="*/ 52 w 186"/>
                <a:gd name="T65" fmla="*/ 98 h 104"/>
                <a:gd name="T66" fmla="*/ 56 w 186"/>
                <a:gd name="T67" fmla="*/ 100 h 104"/>
                <a:gd name="T68" fmla="*/ 61 w 186"/>
                <a:gd name="T69" fmla="*/ 101 h 104"/>
                <a:gd name="T70" fmla="*/ 66 w 186"/>
                <a:gd name="T71" fmla="*/ 102 h 104"/>
                <a:gd name="T72" fmla="*/ 74 w 186"/>
                <a:gd name="T73" fmla="*/ 102 h 104"/>
                <a:gd name="T74" fmla="*/ 107 w 186"/>
                <a:gd name="T75" fmla="*/ 103 h 104"/>
                <a:gd name="T76" fmla="*/ 131 w 186"/>
                <a:gd name="T77" fmla="*/ 104 h 104"/>
                <a:gd name="T78" fmla="*/ 135 w 186"/>
                <a:gd name="T79" fmla="*/ 103 h 104"/>
                <a:gd name="T80" fmla="*/ 139 w 186"/>
                <a:gd name="T81" fmla="*/ 102 h 104"/>
                <a:gd name="T82" fmla="*/ 142 w 186"/>
                <a:gd name="T83" fmla="*/ 100 h 104"/>
                <a:gd name="T84" fmla="*/ 145 w 186"/>
                <a:gd name="T85" fmla="*/ 97 h 104"/>
                <a:gd name="T86" fmla="*/ 147 w 186"/>
                <a:gd name="T87" fmla="*/ 94 h 104"/>
                <a:gd name="T88" fmla="*/ 150 w 186"/>
                <a:gd name="T89" fmla="*/ 88 h 104"/>
                <a:gd name="T90" fmla="*/ 152 w 186"/>
                <a:gd name="T91" fmla="*/ 83 h 104"/>
                <a:gd name="T92" fmla="*/ 153 w 186"/>
                <a:gd name="T93" fmla="*/ 77 h 104"/>
                <a:gd name="T94" fmla="*/ 186 w 186"/>
                <a:gd name="T95" fmla="*/ 27 h 104"/>
                <a:gd name="T96" fmla="*/ 153 w 186"/>
                <a:gd name="T97" fmla="*/ 21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87" name="Freeform 446">
              <a:extLst>
                <a:ext uri="{FF2B5EF4-FFF2-40B4-BE49-F238E27FC236}">
                  <a16:creationId xmlns:a16="http://schemas.microsoft.com/office/drawing/2014/main" id="{C8B487F3-95B4-4AA8-8E1F-5926A1F17020}"/>
                </a:ext>
              </a:extLst>
            </p:cNvPr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6046788" y="2263775"/>
              <a:ext cx="133350" cy="96838"/>
            </a:xfrm>
            <a:custGeom>
              <a:avLst/>
              <a:gdLst>
                <a:gd name="T0" fmla="*/ 79 w 311"/>
                <a:gd name="T1" fmla="*/ 38 h 179"/>
                <a:gd name="T2" fmla="*/ 115 w 311"/>
                <a:gd name="T3" fmla="*/ 26 h 179"/>
                <a:gd name="T4" fmla="*/ 148 w 311"/>
                <a:gd name="T5" fmla="*/ 14 h 179"/>
                <a:gd name="T6" fmla="*/ 178 w 311"/>
                <a:gd name="T7" fmla="*/ 4 h 179"/>
                <a:gd name="T8" fmla="*/ 211 w 311"/>
                <a:gd name="T9" fmla="*/ 0 h 179"/>
                <a:gd name="T10" fmla="*/ 236 w 311"/>
                <a:gd name="T11" fmla="*/ 2 h 179"/>
                <a:gd name="T12" fmla="*/ 256 w 311"/>
                <a:gd name="T13" fmla="*/ 6 h 179"/>
                <a:gd name="T14" fmla="*/ 292 w 311"/>
                <a:gd name="T15" fmla="*/ 12 h 179"/>
                <a:gd name="T16" fmla="*/ 287 w 311"/>
                <a:gd name="T17" fmla="*/ 28 h 179"/>
                <a:gd name="T18" fmla="*/ 278 w 311"/>
                <a:gd name="T19" fmla="*/ 42 h 179"/>
                <a:gd name="T20" fmla="*/ 269 w 311"/>
                <a:gd name="T21" fmla="*/ 53 h 179"/>
                <a:gd name="T22" fmla="*/ 265 w 311"/>
                <a:gd name="T23" fmla="*/ 62 h 179"/>
                <a:gd name="T24" fmla="*/ 266 w 311"/>
                <a:gd name="T25" fmla="*/ 66 h 179"/>
                <a:gd name="T26" fmla="*/ 271 w 311"/>
                <a:gd name="T27" fmla="*/ 71 h 179"/>
                <a:gd name="T28" fmla="*/ 285 w 311"/>
                <a:gd name="T29" fmla="*/ 79 h 179"/>
                <a:gd name="T30" fmla="*/ 311 w 311"/>
                <a:gd name="T31" fmla="*/ 93 h 179"/>
                <a:gd name="T32" fmla="*/ 287 w 311"/>
                <a:gd name="T33" fmla="*/ 107 h 179"/>
                <a:gd name="T34" fmla="*/ 281 w 311"/>
                <a:gd name="T35" fmla="*/ 115 h 179"/>
                <a:gd name="T36" fmla="*/ 278 w 311"/>
                <a:gd name="T37" fmla="*/ 129 h 179"/>
                <a:gd name="T38" fmla="*/ 252 w 311"/>
                <a:gd name="T39" fmla="*/ 136 h 179"/>
                <a:gd name="T40" fmla="*/ 211 w 311"/>
                <a:gd name="T41" fmla="*/ 148 h 179"/>
                <a:gd name="T42" fmla="*/ 191 w 311"/>
                <a:gd name="T43" fmla="*/ 168 h 179"/>
                <a:gd name="T44" fmla="*/ 178 w 311"/>
                <a:gd name="T45" fmla="*/ 176 h 179"/>
                <a:gd name="T46" fmla="*/ 165 w 311"/>
                <a:gd name="T47" fmla="*/ 179 h 179"/>
                <a:gd name="T48" fmla="*/ 151 w 311"/>
                <a:gd name="T49" fmla="*/ 175 h 179"/>
                <a:gd name="T50" fmla="*/ 137 w 311"/>
                <a:gd name="T51" fmla="*/ 167 h 179"/>
                <a:gd name="T52" fmla="*/ 120 w 311"/>
                <a:gd name="T53" fmla="*/ 158 h 179"/>
                <a:gd name="T54" fmla="*/ 98 w 311"/>
                <a:gd name="T55" fmla="*/ 155 h 179"/>
                <a:gd name="T56" fmla="*/ 66 w 311"/>
                <a:gd name="T57" fmla="*/ 155 h 179"/>
                <a:gd name="T58" fmla="*/ 51 w 311"/>
                <a:gd name="T59" fmla="*/ 157 h 179"/>
                <a:gd name="T60" fmla="*/ 39 w 311"/>
                <a:gd name="T61" fmla="*/ 161 h 179"/>
                <a:gd name="T62" fmla="*/ 36 w 311"/>
                <a:gd name="T63" fmla="*/ 142 h 179"/>
                <a:gd name="T64" fmla="*/ 32 w 311"/>
                <a:gd name="T65" fmla="*/ 123 h 179"/>
                <a:gd name="T66" fmla="*/ 21 w 311"/>
                <a:gd name="T67" fmla="*/ 128 h 179"/>
                <a:gd name="T68" fmla="*/ 13 w 311"/>
                <a:gd name="T69" fmla="*/ 129 h 179"/>
                <a:gd name="T70" fmla="*/ 7 w 311"/>
                <a:gd name="T71" fmla="*/ 126 h 179"/>
                <a:gd name="T72" fmla="*/ 3 w 311"/>
                <a:gd name="T73" fmla="*/ 121 h 179"/>
                <a:gd name="T74" fmla="*/ 0 w 311"/>
                <a:gd name="T75" fmla="*/ 105 h 179"/>
                <a:gd name="T76" fmla="*/ 0 w 311"/>
                <a:gd name="T77" fmla="*/ 87 h 179"/>
                <a:gd name="T78" fmla="*/ 3 w 311"/>
                <a:gd name="T79" fmla="*/ 82 h 179"/>
                <a:gd name="T80" fmla="*/ 13 w 311"/>
                <a:gd name="T81" fmla="*/ 78 h 179"/>
                <a:gd name="T82" fmla="*/ 21 w 311"/>
                <a:gd name="T83" fmla="*/ 72 h 179"/>
                <a:gd name="T84" fmla="*/ 25 w 311"/>
                <a:gd name="T85" fmla="*/ 68 h 179"/>
                <a:gd name="T86" fmla="*/ 26 w 311"/>
                <a:gd name="T87" fmla="*/ 62 h 179"/>
                <a:gd name="T88" fmla="*/ 24 w 311"/>
                <a:gd name="T89" fmla="*/ 51 h 179"/>
                <a:gd name="T90" fmla="*/ 19 w 311"/>
                <a:gd name="T91" fmla="*/ 43 h 179"/>
                <a:gd name="T92" fmla="*/ 8 w 311"/>
                <a:gd name="T93" fmla="*/ 29 h 179"/>
                <a:gd name="T94" fmla="*/ 1 w 311"/>
                <a:gd name="T95" fmla="*/ 18 h 179"/>
                <a:gd name="T96" fmla="*/ 1 w 311"/>
                <a:gd name="T97" fmla="*/ 13 h 179"/>
                <a:gd name="T98" fmla="*/ 6 w 311"/>
                <a:gd name="T99" fmla="*/ 6 h 179"/>
                <a:gd name="T100" fmla="*/ 0 w 311"/>
                <a:gd name="T101" fmla="*/ 6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88" name="Freeform 447">
              <a:extLst>
                <a:ext uri="{FF2B5EF4-FFF2-40B4-BE49-F238E27FC236}">
                  <a16:creationId xmlns:a16="http://schemas.microsoft.com/office/drawing/2014/main" id="{E0183732-AD57-4AB1-8EB9-3BD956DD6F37}"/>
                </a:ext>
              </a:extLst>
            </p:cNvPr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5402263" y="3190875"/>
              <a:ext cx="177800" cy="165100"/>
            </a:xfrm>
            <a:custGeom>
              <a:avLst/>
              <a:gdLst>
                <a:gd name="T0" fmla="*/ 6 w 405"/>
                <a:gd name="T1" fmla="*/ 260 h 314"/>
                <a:gd name="T2" fmla="*/ 13 w 405"/>
                <a:gd name="T3" fmla="*/ 237 h 314"/>
                <a:gd name="T4" fmla="*/ 17 w 405"/>
                <a:gd name="T5" fmla="*/ 202 h 314"/>
                <a:gd name="T6" fmla="*/ 23 w 405"/>
                <a:gd name="T7" fmla="*/ 173 h 314"/>
                <a:gd name="T8" fmla="*/ 32 w 405"/>
                <a:gd name="T9" fmla="*/ 162 h 314"/>
                <a:gd name="T10" fmla="*/ 48 w 405"/>
                <a:gd name="T11" fmla="*/ 150 h 314"/>
                <a:gd name="T12" fmla="*/ 72 w 405"/>
                <a:gd name="T13" fmla="*/ 141 h 314"/>
                <a:gd name="T14" fmla="*/ 93 w 405"/>
                <a:gd name="T15" fmla="*/ 134 h 314"/>
                <a:gd name="T16" fmla="*/ 104 w 405"/>
                <a:gd name="T17" fmla="*/ 125 h 314"/>
                <a:gd name="T18" fmla="*/ 113 w 405"/>
                <a:gd name="T19" fmla="*/ 114 h 314"/>
                <a:gd name="T20" fmla="*/ 123 w 405"/>
                <a:gd name="T21" fmla="*/ 93 h 314"/>
                <a:gd name="T22" fmla="*/ 136 w 405"/>
                <a:gd name="T23" fmla="*/ 69 h 314"/>
                <a:gd name="T24" fmla="*/ 147 w 405"/>
                <a:gd name="T25" fmla="*/ 55 h 314"/>
                <a:gd name="T26" fmla="*/ 155 w 405"/>
                <a:gd name="T27" fmla="*/ 51 h 314"/>
                <a:gd name="T28" fmla="*/ 170 w 405"/>
                <a:gd name="T29" fmla="*/ 51 h 314"/>
                <a:gd name="T30" fmla="*/ 189 w 405"/>
                <a:gd name="T31" fmla="*/ 48 h 314"/>
                <a:gd name="T32" fmla="*/ 213 w 405"/>
                <a:gd name="T33" fmla="*/ 35 h 314"/>
                <a:gd name="T34" fmla="*/ 237 w 405"/>
                <a:gd name="T35" fmla="*/ 20 h 314"/>
                <a:gd name="T36" fmla="*/ 257 w 405"/>
                <a:gd name="T37" fmla="*/ 11 h 314"/>
                <a:gd name="T38" fmla="*/ 282 w 405"/>
                <a:gd name="T39" fmla="*/ 4 h 314"/>
                <a:gd name="T40" fmla="*/ 314 w 405"/>
                <a:gd name="T41" fmla="*/ 0 h 314"/>
                <a:gd name="T42" fmla="*/ 332 w 405"/>
                <a:gd name="T43" fmla="*/ 14 h 314"/>
                <a:gd name="T44" fmla="*/ 337 w 405"/>
                <a:gd name="T45" fmla="*/ 34 h 314"/>
                <a:gd name="T46" fmla="*/ 343 w 405"/>
                <a:gd name="T47" fmla="*/ 50 h 314"/>
                <a:gd name="T48" fmla="*/ 352 w 405"/>
                <a:gd name="T49" fmla="*/ 62 h 314"/>
                <a:gd name="T50" fmla="*/ 368 w 405"/>
                <a:gd name="T51" fmla="*/ 74 h 314"/>
                <a:gd name="T52" fmla="*/ 382 w 405"/>
                <a:gd name="T53" fmla="*/ 85 h 314"/>
                <a:gd name="T54" fmla="*/ 390 w 405"/>
                <a:gd name="T55" fmla="*/ 93 h 314"/>
                <a:gd name="T56" fmla="*/ 396 w 405"/>
                <a:gd name="T57" fmla="*/ 115 h 314"/>
                <a:gd name="T58" fmla="*/ 398 w 405"/>
                <a:gd name="T59" fmla="*/ 143 h 314"/>
                <a:gd name="T60" fmla="*/ 398 w 405"/>
                <a:gd name="T61" fmla="*/ 170 h 314"/>
                <a:gd name="T62" fmla="*/ 402 w 405"/>
                <a:gd name="T63" fmla="*/ 196 h 314"/>
                <a:gd name="T64" fmla="*/ 398 w 405"/>
                <a:gd name="T65" fmla="*/ 217 h 314"/>
                <a:gd name="T66" fmla="*/ 382 w 405"/>
                <a:gd name="T67" fmla="*/ 226 h 314"/>
                <a:gd name="T68" fmla="*/ 365 w 405"/>
                <a:gd name="T69" fmla="*/ 241 h 314"/>
                <a:gd name="T70" fmla="*/ 363 w 405"/>
                <a:gd name="T71" fmla="*/ 237 h 314"/>
                <a:gd name="T72" fmla="*/ 358 w 405"/>
                <a:gd name="T73" fmla="*/ 233 h 314"/>
                <a:gd name="T74" fmla="*/ 342 w 405"/>
                <a:gd name="T75" fmla="*/ 227 h 314"/>
                <a:gd name="T76" fmla="*/ 319 w 405"/>
                <a:gd name="T77" fmla="*/ 223 h 314"/>
                <a:gd name="T78" fmla="*/ 152 w 405"/>
                <a:gd name="T79" fmla="*/ 241 h 314"/>
                <a:gd name="T80" fmla="*/ 150 w 405"/>
                <a:gd name="T81" fmla="*/ 257 h 314"/>
                <a:gd name="T82" fmla="*/ 150 w 405"/>
                <a:gd name="T83" fmla="*/ 274 h 314"/>
                <a:gd name="T84" fmla="*/ 152 w 405"/>
                <a:gd name="T85" fmla="*/ 314 h 314"/>
                <a:gd name="T86" fmla="*/ 139 w 405"/>
                <a:gd name="T87" fmla="*/ 312 h 314"/>
                <a:gd name="T88" fmla="*/ 126 w 405"/>
                <a:gd name="T89" fmla="*/ 305 h 314"/>
                <a:gd name="T90" fmla="*/ 100 w 405"/>
                <a:gd name="T91" fmla="*/ 290 h 314"/>
                <a:gd name="T92" fmla="*/ 89 w 405"/>
                <a:gd name="T93" fmla="*/ 307 h 314"/>
                <a:gd name="T94" fmla="*/ 82 w 405"/>
                <a:gd name="T95" fmla="*/ 312 h 314"/>
                <a:gd name="T96" fmla="*/ 73 w 405"/>
                <a:gd name="T97" fmla="*/ 314 h 314"/>
                <a:gd name="T98" fmla="*/ 60 w 405"/>
                <a:gd name="T99" fmla="*/ 311 h 314"/>
                <a:gd name="T100" fmla="*/ 47 w 405"/>
                <a:gd name="T101" fmla="*/ 302 h 314"/>
                <a:gd name="T102" fmla="*/ 28 w 405"/>
                <a:gd name="T103" fmla="*/ 291 h 314"/>
                <a:gd name="T104" fmla="*/ 0 w 405"/>
                <a:gd name="T105" fmla="*/ 28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89" name="Freeform 448">
              <a:extLst>
                <a:ext uri="{FF2B5EF4-FFF2-40B4-BE49-F238E27FC236}">
                  <a16:creationId xmlns:a16="http://schemas.microsoft.com/office/drawing/2014/main" id="{ADFEA185-7E1D-4583-9820-0D878126DC6D}"/>
                </a:ext>
              </a:extLst>
            </p:cNvPr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5749926" y="3259138"/>
              <a:ext cx="193675" cy="349250"/>
            </a:xfrm>
            <a:custGeom>
              <a:avLst/>
              <a:gdLst>
                <a:gd name="T0" fmla="*/ 335 w 453"/>
                <a:gd name="T1" fmla="*/ 36 h 661"/>
                <a:gd name="T2" fmla="*/ 321 w 453"/>
                <a:gd name="T3" fmla="*/ 98 h 661"/>
                <a:gd name="T4" fmla="*/ 277 w 453"/>
                <a:gd name="T5" fmla="*/ 162 h 661"/>
                <a:gd name="T6" fmla="*/ 253 w 453"/>
                <a:gd name="T7" fmla="*/ 219 h 661"/>
                <a:gd name="T8" fmla="*/ 232 w 453"/>
                <a:gd name="T9" fmla="*/ 272 h 661"/>
                <a:gd name="T10" fmla="*/ 209 w 453"/>
                <a:gd name="T11" fmla="*/ 329 h 661"/>
                <a:gd name="T12" fmla="*/ 196 w 453"/>
                <a:gd name="T13" fmla="*/ 362 h 661"/>
                <a:gd name="T14" fmla="*/ 180 w 453"/>
                <a:gd name="T15" fmla="*/ 380 h 661"/>
                <a:gd name="T16" fmla="*/ 167 w 453"/>
                <a:gd name="T17" fmla="*/ 390 h 661"/>
                <a:gd name="T18" fmla="*/ 141 w 453"/>
                <a:gd name="T19" fmla="*/ 382 h 661"/>
                <a:gd name="T20" fmla="*/ 121 w 453"/>
                <a:gd name="T21" fmla="*/ 370 h 661"/>
                <a:gd name="T22" fmla="*/ 94 w 453"/>
                <a:gd name="T23" fmla="*/ 367 h 661"/>
                <a:gd name="T24" fmla="*/ 64 w 453"/>
                <a:gd name="T25" fmla="*/ 380 h 661"/>
                <a:gd name="T26" fmla="*/ 44 w 453"/>
                <a:gd name="T27" fmla="*/ 403 h 661"/>
                <a:gd name="T28" fmla="*/ 21 w 453"/>
                <a:gd name="T29" fmla="*/ 454 h 661"/>
                <a:gd name="T30" fmla="*/ 7 w 453"/>
                <a:gd name="T31" fmla="*/ 482 h 661"/>
                <a:gd name="T32" fmla="*/ 1 w 453"/>
                <a:gd name="T33" fmla="*/ 500 h 661"/>
                <a:gd name="T34" fmla="*/ 8 w 453"/>
                <a:gd name="T35" fmla="*/ 517 h 661"/>
                <a:gd name="T36" fmla="*/ 20 w 453"/>
                <a:gd name="T37" fmla="*/ 526 h 661"/>
                <a:gd name="T38" fmla="*/ 55 w 453"/>
                <a:gd name="T39" fmla="*/ 526 h 661"/>
                <a:gd name="T40" fmla="*/ 71 w 453"/>
                <a:gd name="T41" fmla="*/ 548 h 661"/>
                <a:gd name="T42" fmla="*/ 73 w 453"/>
                <a:gd name="T43" fmla="*/ 590 h 661"/>
                <a:gd name="T44" fmla="*/ 67 w 453"/>
                <a:gd name="T45" fmla="*/ 630 h 661"/>
                <a:gd name="T46" fmla="*/ 433 w 453"/>
                <a:gd name="T47" fmla="*/ 661 h 661"/>
                <a:gd name="T48" fmla="*/ 442 w 453"/>
                <a:gd name="T49" fmla="*/ 582 h 661"/>
                <a:gd name="T50" fmla="*/ 415 w 453"/>
                <a:gd name="T51" fmla="*/ 568 h 661"/>
                <a:gd name="T52" fmla="*/ 373 w 453"/>
                <a:gd name="T53" fmla="*/ 557 h 661"/>
                <a:gd name="T54" fmla="*/ 353 w 453"/>
                <a:gd name="T55" fmla="*/ 549 h 661"/>
                <a:gd name="T56" fmla="*/ 340 w 453"/>
                <a:gd name="T57" fmla="*/ 537 h 661"/>
                <a:gd name="T58" fmla="*/ 333 w 453"/>
                <a:gd name="T59" fmla="*/ 515 h 661"/>
                <a:gd name="T60" fmla="*/ 333 w 453"/>
                <a:gd name="T61" fmla="*/ 464 h 661"/>
                <a:gd name="T62" fmla="*/ 337 w 453"/>
                <a:gd name="T63" fmla="*/ 428 h 661"/>
                <a:gd name="T64" fmla="*/ 351 w 453"/>
                <a:gd name="T65" fmla="*/ 397 h 661"/>
                <a:gd name="T66" fmla="*/ 373 w 453"/>
                <a:gd name="T67" fmla="*/ 364 h 661"/>
                <a:gd name="T68" fmla="*/ 392 w 453"/>
                <a:gd name="T69" fmla="*/ 330 h 661"/>
                <a:gd name="T70" fmla="*/ 399 w 453"/>
                <a:gd name="T71" fmla="*/ 297 h 661"/>
                <a:gd name="T72" fmla="*/ 389 w 453"/>
                <a:gd name="T73" fmla="*/ 267 h 661"/>
                <a:gd name="T74" fmla="*/ 373 w 453"/>
                <a:gd name="T75" fmla="*/ 246 h 661"/>
                <a:gd name="T76" fmla="*/ 343 w 453"/>
                <a:gd name="T77" fmla="*/ 217 h 661"/>
                <a:gd name="T78" fmla="*/ 333 w 453"/>
                <a:gd name="T79" fmla="*/ 192 h 661"/>
                <a:gd name="T80" fmla="*/ 335 w 453"/>
                <a:gd name="T81" fmla="*/ 173 h 661"/>
                <a:gd name="T82" fmla="*/ 353 w 453"/>
                <a:gd name="T83" fmla="*/ 164 h 661"/>
                <a:gd name="T84" fmla="*/ 406 w 453"/>
                <a:gd name="T85" fmla="*/ 162 h 661"/>
                <a:gd name="T86" fmla="*/ 395 w 453"/>
                <a:gd name="T87" fmla="*/ 151 h 661"/>
                <a:gd name="T88" fmla="*/ 379 w 453"/>
                <a:gd name="T89" fmla="*/ 117 h 661"/>
                <a:gd name="T90" fmla="*/ 371 w 453"/>
                <a:gd name="T91" fmla="*/ 73 h 661"/>
                <a:gd name="T92" fmla="*/ 373 w 453"/>
                <a:gd name="T93" fmla="*/ 45 h 661"/>
                <a:gd name="T94" fmla="*/ 367 w 453"/>
                <a:gd name="T95" fmla="*/ 11 h 661"/>
                <a:gd name="T96" fmla="*/ 347 w 453"/>
                <a:gd name="T97" fmla="*/ 0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90" name="Freeform 449">
              <a:extLst>
                <a:ext uri="{FF2B5EF4-FFF2-40B4-BE49-F238E27FC236}">
                  <a16:creationId xmlns:a16="http://schemas.microsoft.com/office/drawing/2014/main" id="{D7805440-B262-4B18-BDA6-CA75DCCA2816}"/>
                </a:ext>
              </a:extLst>
            </p:cNvPr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8201026" y="3017838"/>
              <a:ext cx="55563" cy="57150"/>
            </a:xfrm>
            <a:custGeom>
              <a:avLst/>
              <a:gdLst>
                <a:gd name="T0" fmla="*/ 0 w 126"/>
                <a:gd name="T1" fmla="*/ 56 h 105"/>
                <a:gd name="T2" fmla="*/ 4 w 126"/>
                <a:gd name="T3" fmla="*/ 49 h 105"/>
                <a:gd name="T4" fmla="*/ 10 w 126"/>
                <a:gd name="T5" fmla="*/ 41 h 105"/>
                <a:gd name="T6" fmla="*/ 16 w 126"/>
                <a:gd name="T7" fmla="*/ 33 h 105"/>
                <a:gd name="T8" fmla="*/ 24 w 126"/>
                <a:gd name="T9" fmla="*/ 25 h 105"/>
                <a:gd name="T10" fmla="*/ 37 w 126"/>
                <a:gd name="T11" fmla="*/ 11 h 105"/>
                <a:gd name="T12" fmla="*/ 47 w 126"/>
                <a:gd name="T13" fmla="*/ 0 h 105"/>
                <a:gd name="T14" fmla="*/ 113 w 126"/>
                <a:gd name="T15" fmla="*/ 0 h 105"/>
                <a:gd name="T16" fmla="*/ 114 w 126"/>
                <a:gd name="T17" fmla="*/ 4 h 105"/>
                <a:gd name="T18" fmla="*/ 115 w 126"/>
                <a:gd name="T19" fmla="*/ 8 h 105"/>
                <a:gd name="T20" fmla="*/ 117 w 126"/>
                <a:gd name="T21" fmla="*/ 12 h 105"/>
                <a:gd name="T22" fmla="*/ 119 w 126"/>
                <a:gd name="T23" fmla="*/ 14 h 105"/>
                <a:gd name="T24" fmla="*/ 124 w 126"/>
                <a:gd name="T25" fmla="*/ 20 h 105"/>
                <a:gd name="T26" fmla="*/ 126 w 126"/>
                <a:gd name="T27" fmla="*/ 24 h 105"/>
                <a:gd name="T28" fmla="*/ 126 w 126"/>
                <a:gd name="T29" fmla="*/ 32 h 105"/>
                <a:gd name="T30" fmla="*/ 125 w 126"/>
                <a:gd name="T31" fmla="*/ 41 h 105"/>
                <a:gd name="T32" fmla="*/ 124 w 126"/>
                <a:gd name="T33" fmla="*/ 48 h 105"/>
                <a:gd name="T34" fmla="*/ 122 w 126"/>
                <a:gd name="T35" fmla="*/ 55 h 105"/>
                <a:gd name="T36" fmla="*/ 119 w 126"/>
                <a:gd name="T37" fmla="*/ 62 h 105"/>
                <a:gd name="T38" fmla="*/ 116 w 126"/>
                <a:gd name="T39" fmla="*/ 69 h 105"/>
                <a:gd name="T40" fmla="*/ 112 w 126"/>
                <a:gd name="T41" fmla="*/ 75 h 105"/>
                <a:gd name="T42" fmla="*/ 108 w 126"/>
                <a:gd name="T43" fmla="*/ 81 h 105"/>
                <a:gd name="T44" fmla="*/ 104 w 126"/>
                <a:gd name="T45" fmla="*/ 86 h 105"/>
                <a:gd name="T46" fmla="*/ 99 w 126"/>
                <a:gd name="T47" fmla="*/ 90 h 105"/>
                <a:gd name="T48" fmla="*/ 93 w 126"/>
                <a:gd name="T49" fmla="*/ 94 h 105"/>
                <a:gd name="T50" fmla="*/ 88 w 126"/>
                <a:gd name="T51" fmla="*/ 99 h 105"/>
                <a:gd name="T52" fmla="*/ 81 w 126"/>
                <a:gd name="T53" fmla="*/ 101 h 105"/>
                <a:gd name="T54" fmla="*/ 74 w 126"/>
                <a:gd name="T55" fmla="*/ 103 h 105"/>
                <a:gd name="T56" fmla="*/ 67 w 126"/>
                <a:gd name="T57" fmla="*/ 105 h 105"/>
                <a:gd name="T58" fmla="*/ 60 w 126"/>
                <a:gd name="T59" fmla="*/ 105 h 105"/>
                <a:gd name="T60" fmla="*/ 48 w 126"/>
                <a:gd name="T61" fmla="*/ 104 h 105"/>
                <a:gd name="T62" fmla="*/ 38 w 126"/>
                <a:gd name="T63" fmla="*/ 102 h 105"/>
                <a:gd name="T64" fmla="*/ 31 w 126"/>
                <a:gd name="T65" fmla="*/ 98 h 105"/>
                <a:gd name="T66" fmla="*/ 24 w 126"/>
                <a:gd name="T67" fmla="*/ 92 h 105"/>
                <a:gd name="T68" fmla="*/ 20 w 126"/>
                <a:gd name="T69" fmla="*/ 86 h 105"/>
                <a:gd name="T70" fmla="*/ 16 w 126"/>
                <a:gd name="T71" fmla="*/ 78 h 105"/>
                <a:gd name="T72" fmla="*/ 14 w 126"/>
                <a:gd name="T73" fmla="*/ 70 h 105"/>
                <a:gd name="T74" fmla="*/ 13 w 126"/>
                <a:gd name="T75" fmla="*/ 62 h 105"/>
                <a:gd name="T76" fmla="*/ 0 w 126"/>
                <a:gd name="T77" fmla="*/ 56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91" name="Freeform 450">
              <a:extLst>
                <a:ext uri="{FF2B5EF4-FFF2-40B4-BE49-F238E27FC236}">
                  <a16:creationId xmlns:a16="http://schemas.microsoft.com/office/drawing/2014/main" id="{DCE4FC55-78CB-4A89-8155-3E7A017E832E}"/>
                </a:ext>
              </a:extLst>
            </p:cNvPr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3556000" y="3281364"/>
              <a:ext cx="298450" cy="523875"/>
            </a:xfrm>
            <a:custGeom>
              <a:avLst/>
              <a:gdLst>
                <a:gd name="T0" fmla="*/ 671 w 684"/>
                <a:gd name="T1" fmla="*/ 573 h 998"/>
                <a:gd name="T2" fmla="*/ 680 w 684"/>
                <a:gd name="T3" fmla="*/ 550 h 998"/>
                <a:gd name="T4" fmla="*/ 671 w 684"/>
                <a:gd name="T5" fmla="*/ 491 h 998"/>
                <a:gd name="T6" fmla="*/ 659 w 684"/>
                <a:gd name="T7" fmla="*/ 423 h 998"/>
                <a:gd name="T8" fmla="*/ 678 w 684"/>
                <a:gd name="T9" fmla="*/ 389 h 998"/>
                <a:gd name="T10" fmla="*/ 557 w 684"/>
                <a:gd name="T11" fmla="*/ 361 h 998"/>
                <a:gd name="T12" fmla="*/ 533 w 684"/>
                <a:gd name="T13" fmla="*/ 326 h 998"/>
                <a:gd name="T14" fmla="*/ 462 w 684"/>
                <a:gd name="T15" fmla="*/ 310 h 998"/>
                <a:gd name="T16" fmla="*/ 402 w 684"/>
                <a:gd name="T17" fmla="*/ 270 h 998"/>
                <a:gd name="T18" fmla="*/ 375 w 684"/>
                <a:gd name="T19" fmla="*/ 201 h 998"/>
                <a:gd name="T20" fmla="*/ 375 w 684"/>
                <a:gd name="T21" fmla="*/ 133 h 998"/>
                <a:gd name="T22" fmla="*/ 395 w 684"/>
                <a:gd name="T23" fmla="*/ 84 h 998"/>
                <a:gd name="T24" fmla="*/ 435 w 684"/>
                <a:gd name="T25" fmla="*/ 48 h 998"/>
                <a:gd name="T26" fmla="*/ 463 w 684"/>
                <a:gd name="T27" fmla="*/ 11 h 998"/>
                <a:gd name="T28" fmla="*/ 389 w 684"/>
                <a:gd name="T29" fmla="*/ 39 h 998"/>
                <a:gd name="T30" fmla="*/ 335 w 684"/>
                <a:gd name="T31" fmla="*/ 68 h 998"/>
                <a:gd name="T32" fmla="*/ 304 w 684"/>
                <a:gd name="T33" fmla="*/ 78 h 998"/>
                <a:gd name="T34" fmla="*/ 278 w 684"/>
                <a:gd name="T35" fmla="*/ 84 h 998"/>
                <a:gd name="T36" fmla="*/ 241 w 684"/>
                <a:gd name="T37" fmla="*/ 81 h 998"/>
                <a:gd name="T38" fmla="*/ 217 w 684"/>
                <a:gd name="T39" fmla="*/ 108 h 998"/>
                <a:gd name="T40" fmla="*/ 196 w 684"/>
                <a:gd name="T41" fmla="*/ 175 h 998"/>
                <a:gd name="T42" fmla="*/ 157 w 684"/>
                <a:gd name="T43" fmla="*/ 227 h 998"/>
                <a:gd name="T44" fmla="*/ 107 w 684"/>
                <a:gd name="T45" fmla="*/ 284 h 998"/>
                <a:gd name="T46" fmla="*/ 90 w 684"/>
                <a:gd name="T47" fmla="*/ 317 h 998"/>
                <a:gd name="T48" fmla="*/ 86 w 684"/>
                <a:gd name="T49" fmla="*/ 356 h 998"/>
                <a:gd name="T50" fmla="*/ 97 w 684"/>
                <a:gd name="T51" fmla="*/ 382 h 998"/>
                <a:gd name="T52" fmla="*/ 97 w 684"/>
                <a:gd name="T53" fmla="*/ 451 h 998"/>
                <a:gd name="T54" fmla="*/ 95 w 684"/>
                <a:gd name="T55" fmla="*/ 525 h 998"/>
                <a:gd name="T56" fmla="*/ 72 w 684"/>
                <a:gd name="T57" fmla="*/ 563 h 998"/>
                <a:gd name="T58" fmla="*/ 37 w 684"/>
                <a:gd name="T59" fmla="*/ 592 h 998"/>
                <a:gd name="T60" fmla="*/ 11 w 684"/>
                <a:gd name="T61" fmla="*/ 612 h 998"/>
                <a:gd name="T62" fmla="*/ 30 w 684"/>
                <a:gd name="T63" fmla="*/ 668 h 998"/>
                <a:gd name="T64" fmla="*/ 123 w 684"/>
                <a:gd name="T65" fmla="*/ 725 h 998"/>
                <a:gd name="T66" fmla="*/ 175 w 684"/>
                <a:gd name="T67" fmla="*/ 728 h 998"/>
                <a:gd name="T68" fmla="*/ 234 w 684"/>
                <a:gd name="T69" fmla="*/ 746 h 998"/>
                <a:gd name="T70" fmla="*/ 299 w 684"/>
                <a:gd name="T71" fmla="*/ 795 h 998"/>
                <a:gd name="T72" fmla="*/ 337 w 684"/>
                <a:gd name="T73" fmla="*/ 850 h 998"/>
                <a:gd name="T74" fmla="*/ 367 w 684"/>
                <a:gd name="T75" fmla="*/ 881 h 998"/>
                <a:gd name="T76" fmla="*/ 412 w 684"/>
                <a:gd name="T77" fmla="*/ 886 h 998"/>
                <a:gd name="T78" fmla="*/ 462 w 684"/>
                <a:gd name="T79" fmla="*/ 876 h 998"/>
                <a:gd name="T80" fmla="*/ 492 w 684"/>
                <a:gd name="T81" fmla="*/ 878 h 998"/>
                <a:gd name="T82" fmla="*/ 515 w 684"/>
                <a:gd name="T83" fmla="*/ 904 h 998"/>
                <a:gd name="T84" fmla="*/ 513 w 684"/>
                <a:gd name="T85" fmla="*/ 922 h 998"/>
                <a:gd name="T86" fmla="*/ 488 w 684"/>
                <a:gd name="T87" fmla="*/ 937 h 998"/>
                <a:gd name="T88" fmla="*/ 488 w 684"/>
                <a:gd name="T89" fmla="*/ 963 h 998"/>
                <a:gd name="T90" fmla="*/ 511 w 684"/>
                <a:gd name="T91" fmla="*/ 994 h 998"/>
                <a:gd name="T92" fmla="*/ 542 w 684"/>
                <a:gd name="T93" fmla="*/ 962 h 998"/>
                <a:gd name="T94" fmla="*/ 566 w 684"/>
                <a:gd name="T95" fmla="*/ 861 h 998"/>
                <a:gd name="T96" fmla="*/ 571 w 684"/>
                <a:gd name="T97" fmla="*/ 803 h 998"/>
                <a:gd name="T98" fmla="*/ 555 w 684"/>
                <a:gd name="T99" fmla="*/ 771 h 998"/>
                <a:gd name="T100" fmla="*/ 523 w 684"/>
                <a:gd name="T101" fmla="*/ 749 h 998"/>
                <a:gd name="T102" fmla="*/ 521 w 684"/>
                <a:gd name="T103" fmla="*/ 723 h 998"/>
                <a:gd name="T104" fmla="*/ 566 w 684"/>
                <a:gd name="T105" fmla="*/ 700 h 998"/>
                <a:gd name="T106" fmla="*/ 556 w 684"/>
                <a:gd name="T107" fmla="*/ 665 h 998"/>
                <a:gd name="T108" fmla="*/ 556 w 684"/>
                <a:gd name="T109" fmla="*/ 649 h 998"/>
                <a:gd name="T110" fmla="*/ 655 w 684"/>
                <a:gd name="T111" fmla="*/ 628 h 9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92" name="Freeform 451">
              <a:extLst>
                <a:ext uri="{FF2B5EF4-FFF2-40B4-BE49-F238E27FC236}">
                  <a16:creationId xmlns:a16="http://schemas.microsoft.com/office/drawing/2014/main" id="{A83F93BC-715E-422B-9EF7-43CA36A5E6CA}"/>
                </a:ext>
              </a:extLst>
            </p:cNvPr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5808664" y="3549650"/>
              <a:ext cx="187325" cy="274638"/>
            </a:xfrm>
            <a:custGeom>
              <a:avLst/>
              <a:gdLst>
                <a:gd name="T0" fmla="*/ 429 w 429"/>
                <a:gd name="T1" fmla="*/ 22 h 524"/>
                <a:gd name="T2" fmla="*/ 428 w 429"/>
                <a:gd name="T3" fmla="*/ 43 h 524"/>
                <a:gd name="T4" fmla="*/ 424 w 429"/>
                <a:gd name="T5" fmla="*/ 54 h 524"/>
                <a:gd name="T6" fmla="*/ 415 w 429"/>
                <a:gd name="T7" fmla="*/ 67 h 524"/>
                <a:gd name="T8" fmla="*/ 413 w 429"/>
                <a:gd name="T9" fmla="*/ 81 h 524"/>
                <a:gd name="T10" fmla="*/ 414 w 429"/>
                <a:gd name="T11" fmla="*/ 160 h 524"/>
                <a:gd name="T12" fmla="*/ 408 w 429"/>
                <a:gd name="T13" fmla="*/ 207 h 524"/>
                <a:gd name="T14" fmla="*/ 396 w 429"/>
                <a:gd name="T15" fmla="*/ 241 h 524"/>
                <a:gd name="T16" fmla="*/ 372 w 429"/>
                <a:gd name="T17" fmla="*/ 278 h 524"/>
                <a:gd name="T18" fmla="*/ 338 w 429"/>
                <a:gd name="T19" fmla="*/ 309 h 524"/>
                <a:gd name="T20" fmla="*/ 319 w 429"/>
                <a:gd name="T21" fmla="*/ 333 h 524"/>
                <a:gd name="T22" fmla="*/ 312 w 429"/>
                <a:gd name="T23" fmla="*/ 412 h 524"/>
                <a:gd name="T24" fmla="*/ 304 w 429"/>
                <a:gd name="T25" fmla="*/ 439 h 524"/>
                <a:gd name="T26" fmla="*/ 290 w 429"/>
                <a:gd name="T27" fmla="*/ 448 h 524"/>
                <a:gd name="T28" fmla="*/ 269 w 429"/>
                <a:gd name="T29" fmla="*/ 455 h 524"/>
                <a:gd name="T30" fmla="*/ 253 w 429"/>
                <a:gd name="T31" fmla="*/ 472 h 524"/>
                <a:gd name="T32" fmla="*/ 234 w 429"/>
                <a:gd name="T33" fmla="*/ 500 h 524"/>
                <a:gd name="T34" fmla="*/ 223 w 429"/>
                <a:gd name="T35" fmla="*/ 505 h 524"/>
                <a:gd name="T36" fmla="*/ 201 w 429"/>
                <a:gd name="T37" fmla="*/ 504 h 524"/>
                <a:gd name="T38" fmla="*/ 189 w 429"/>
                <a:gd name="T39" fmla="*/ 498 h 524"/>
                <a:gd name="T40" fmla="*/ 145 w 429"/>
                <a:gd name="T41" fmla="*/ 500 h 524"/>
                <a:gd name="T42" fmla="*/ 123 w 429"/>
                <a:gd name="T43" fmla="*/ 500 h 524"/>
                <a:gd name="T44" fmla="*/ 113 w 429"/>
                <a:gd name="T45" fmla="*/ 494 h 524"/>
                <a:gd name="T46" fmla="*/ 95 w 429"/>
                <a:gd name="T47" fmla="*/ 493 h 524"/>
                <a:gd name="T48" fmla="*/ 78 w 429"/>
                <a:gd name="T49" fmla="*/ 502 h 524"/>
                <a:gd name="T50" fmla="*/ 62 w 429"/>
                <a:gd name="T51" fmla="*/ 519 h 524"/>
                <a:gd name="T52" fmla="*/ 27 w 429"/>
                <a:gd name="T53" fmla="*/ 491 h 524"/>
                <a:gd name="T54" fmla="*/ 6 w 429"/>
                <a:gd name="T55" fmla="*/ 447 h 524"/>
                <a:gd name="T56" fmla="*/ 25 w 429"/>
                <a:gd name="T57" fmla="*/ 430 h 524"/>
                <a:gd name="T58" fmla="*/ 42 w 429"/>
                <a:gd name="T59" fmla="*/ 424 h 524"/>
                <a:gd name="T60" fmla="*/ 61 w 429"/>
                <a:gd name="T61" fmla="*/ 428 h 524"/>
                <a:gd name="T62" fmla="*/ 58 w 429"/>
                <a:gd name="T63" fmla="*/ 418 h 524"/>
                <a:gd name="T64" fmla="*/ 45 w 429"/>
                <a:gd name="T65" fmla="*/ 386 h 524"/>
                <a:gd name="T66" fmla="*/ 47 w 429"/>
                <a:gd name="T67" fmla="*/ 366 h 524"/>
                <a:gd name="T68" fmla="*/ 57 w 429"/>
                <a:gd name="T69" fmla="*/ 356 h 524"/>
                <a:gd name="T70" fmla="*/ 71 w 429"/>
                <a:gd name="T71" fmla="*/ 352 h 524"/>
                <a:gd name="T72" fmla="*/ 89 w 429"/>
                <a:gd name="T73" fmla="*/ 337 h 524"/>
                <a:gd name="T74" fmla="*/ 104 w 429"/>
                <a:gd name="T75" fmla="*/ 333 h 524"/>
                <a:gd name="T76" fmla="*/ 115 w 429"/>
                <a:gd name="T77" fmla="*/ 342 h 524"/>
                <a:gd name="T78" fmla="*/ 135 w 429"/>
                <a:gd name="T79" fmla="*/ 359 h 524"/>
                <a:gd name="T80" fmla="*/ 154 w 429"/>
                <a:gd name="T81" fmla="*/ 351 h 524"/>
                <a:gd name="T82" fmla="*/ 181 w 429"/>
                <a:gd name="T83" fmla="*/ 353 h 524"/>
                <a:gd name="T84" fmla="*/ 199 w 429"/>
                <a:gd name="T85" fmla="*/ 340 h 524"/>
                <a:gd name="T86" fmla="*/ 210 w 429"/>
                <a:gd name="T87" fmla="*/ 315 h 524"/>
                <a:gd name="T88" fmla="*/ 213 w 429"/>
                <a:gd name="T89" fmla="*/ 290 h 524"/>
                <a:gd name="T90" fmla="*/ 215 w 429"/>
                <a:gd name="T91" fmla="*/ 269 h 524"/>
                <a:gd name="T92" fmla="*/ 201 w 429"/>
                <a:gd name="T93" fmla="*/ 236 h 524"/>
                <a:gd name="T94" fmla="*/ 188 w 429"/>
                <a:gd name="T95" fmla="*/ 203 h 524"/>
                <a:gd name="T96" fmla="*/ 207 w 429"/>
                <a:gd name="T97" fmla="*/ 177 h 524"/>
                <a:gd name="T98" fmla="*/ 210 w 429"/>
                <a:gd name="T99" fmla="*/ 164 h 524"/>
                <a:gd name="T100" fmla="*/ 200 w 429"/>
                <a:gd name="T101" fmla="*/ 155 h 524"/>
                <a:gd name="T102" fmla="*/ 197 w 429"/>
                <a:gd name="T103" fmla="*/ 137 h 524"/>
                <a:gd name="T104" fmla="*/ 188 w 429"/>
                <a:gd name="T105" fmla="*/ 129 h 524"/>
                <a:gd name="T106" fmla="*/ 161 w 429"/>
                <a:gd name="T107" fmla="*/ 132 h 524"/>
                <a:gd name="T108" fmla="*/ 137 w 429"/>
                <a:gd name="T109" fmla="*/ 131 h 524"/>
                <a:gd name="T110" fmla="*/ 125 w 429"/>
                <a:gd name="T111" fmla="*/ 119 h 524"/>
                <a:gd name="T112" fmla="*/ 123 w 429"/>
                <a:gd name="T113" fmla="*/ 103 h 524"/>
                <a:gd name="T114" fmla="*/ 132 w 429"/>
                <a:gd name="T115" fmla="*/ 76 h 524"/>
                <a:gd name="T116" fmla="*/ 306 w 429"/>
                <a:gd name="T117" fmla="*/ 38 h 524"/>
                <a:gd name="T118" fmla="*/ 323 w 429"/>
                <a:gd name="T119" fmla="*/ 17 h 524"/>
                <a:gd name="T120" fmla="*/ 343 w 429"/>
                <a:gd name="T121" fmla="*/ 7 h 524"/>
                <a:gd name="T122" fmla="*/ 374 w 429"/>
                <a:gd name="T123" fmla="*/ 5 h 524"/>
                <a:gd name="T124" fmla="*/ 408 w 429"/>
                <a:gd name="T125" fmla="*/ 4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93" name="Freeform 452">
              <a:extLst>
                <a:ext uri="{FF2B5EF4-FFF2-40B4-BE49-F238E27FC236}">
                  <a16:creationId xmlns:a16="http://schemas.microsoft.com/office/drawing/2014/main" id="{879F6761-7385-4C42-BC88-39A9F22814C0}"/>
                </a:ext>
              </a:extLst>
            </p:cNvPr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5840413" y="2192338"/>
              <a:ext cx="127000" cy="114300"/>
            </a:xfrm>
            <a:custGeom>
              <a:avLst/>
              <a:gdLst>
                <a:gd name="T0" fmla="*/ 259 w 292"/>
                <a:gd name="T1" fmla="*/ 93 h 223"/>
                <a:gd name="T2" fmla="*/ 166 w 292"/>
                <a:gd name="T3" fmla="*/ 77 h 223"/>
                <a:gd name="T4" fmla="*/ 152 w 292"/>
                <a:gd name="T5" fmla="*/ 79 h 223"/>
                <a:gd name="T6" fmla="*/ 139 w 292"/>
                <a:gd name="T7" fmla="*/ 79 h 223"/>
                <a:gd name="T8" fmla="*/ 126 w 292"/>
                <a:gd name="T9" fmla="*/ 77 h 223"/>
                <a:gd name="T10" fmla="*/ 119 w 292"/>
                <a:gd name="T11" fmla="*/ 93 h 223"/>
                <a:gd name="T12" fmla="*/ 144 w 292"/>
                <a:gd name="T13" fmla="*/ 131 h 223"/>
                <a:gd name="T14" fmla="*/ 168 w 292"/>
                <a:gd name="T15" fmla="*/ 157 h 223"/>
                <a:gd name="T16" fmla="*/ 189 w 292"/>
                <a:gd name="T17" fmla="*/ 185 h 223"/>
                <a:gd name="T18" fmla="*/ 197 w 292"/>
                <a:gd name="T19" fmla="*/ 202 h 223"/>
                <a:gd name="T20" fmla="*/ 205 w 292"/>
                <a:gd name="T21" fmla="*/ 222 h 223"/>
                <a:gd name="T22" fmla="*/ 175 w 292"/>
                <a:gd name="T23" fmla="*/ 223 h 223"/>
                <a:gd name="T24" fmla="*/ 161 w 292"/>
                <a:gd name="T25" fmla="*/ 222 h 223"/>
                <a:gd name="T26" fmla="*/ 146 w 292"/>
                <a:gd name="T27" fmla="*/ 216 h 223"/>
                <a:gd name="T28" fmla="*/ 134 w 292"/>
                <a:gd name="T29" fmla="*/ 209 h 223"/>
                <a:gd name="T30" fmla="*/ 127 w 292"/>
                <a:gd name="T31" fmla="*/ 198 h 223"/>
                <a:gd name="T32" fmla="*/ 121 w 292"/>
                <a:gd name="T33" fmla="*/ 187 h 223"/>
                <a:gd name="T34" fmla="*/ 113 w 292"/>
                <a:gd name="T35" fmla="*/ 180 h 223"/>
                <a:gd name="T36" fmla="*/ 91 w 292"/>
                <a:gd name="T37" fmla="*/ 145 h 223"/>
                <a:gd name="T38" fmla="*/ 68 w 292"/>
                <a:gd name="T39" fmla="*/ 113 h 223"/>
                <a:gd name="T40" fmla="*/ 55 w 292"/>
                <a:gd name="T41" fmla="*/ 99 h 223"/>
                <a:gd name="T42" fmla="*/ 42 w 292"/>
                <a:gd name="T43" fmla="*/ 87 h 223"/>
                <a:gd name="T44" fmla="*/ 27 w 292"/>
                <a:gd name="T45" fmla="*/ 79 h 223"/>
                <a:gd name="T46" fmla="*/ 13 w 292"/>
                <a:gd name="T47" fmla="*/ 75 h 223"/>
                <a:gd name="T48" fmla="*/ 4 w 292"/>
                <a:gd name="T49" fmla="*/ 65 h 223"/>
                <a:gd name="T50" fmla="*/ 1 w 292"/>
                <a:gd name="T51" fmla="*/ 58 h 223"/>
                <a:gd name="T52" fmla="*/ 0 w 292"/>
                <a:gd name="T53" fmla="*/ 49 h 223"/>
                <a:gd name="T54" fmla="*/ 40 w 292"/>
                <a:gd name="T55" fmla="*/ 55 h 223"/>
                <a:gd name="T56" fmla="*/ 70 w 292"/>
                <a:gd name="T57" fmla="*/ 55 h 223"/>
                <a:gd name="T58" fmla="*/ 91 w 292"/>
                <a:gd name="T59" fmla="*/ 50 h 223"/>
                <a:gd name="T60" fmla="*/ 106 w 292"/>
                <a:gd name="T61" fmla="*/ 41 h 223"/>
                <a:gd name="T62" fmla="*/ 127 w 292"/>
                <a:gd name="T63" fmla="*/ 20 h 223"/>
                <a:gd name="T64" fmla="*/ 138 w 292"/>
                <a:gd name="T65" fmla="*/ 9 h 223"/>
                <a:gd name="T66" fmla="*/ 152 w 292"/>
                <a:gd name="T67" fmla="*/ 0 h 223"/>
                <a:gd name="T68" fmla="*/ 172 w 292"/>
                <a:gd name="T69" fmla="*/ 14 h 223"/>
                <a:gd name="T70" fmla="*/ 194 w 292"/>
                <a:gd name="T71" fmla="*/ 26 h 223"/>
                <a:gd name="T72" fmla="*/ 218 w 292"/>
                <a:gd name="T73" fmla="*/ 34 h 223"/>
                <a:gd name="T74" fmla="*/ 246 w 292"/>
                <a:gd name="T75" fmla="*/ 37 h 223"/>
                <a:gd name="T76" fmla="*/ 262 w 292"/>
                <a:gd name="T77" fmla="*/ 34 h 223"/>
                <a:gd name="T78" fmla="*/ 279 w 292"/>
                <a:gd name="T79" fmla="*/ 31 h 223"/>
                <a:gd name="T80" fmla="*/ 285 w 292"/>
                <a:gd name="T81" fmla="*/ 47 h 223"/>
                <a:gd name="T82" fmla="*/ 287 w 292"/>
                <a:gd name="T83" fmla="*/ 49 h 223"/>
                <a:gd name="T84" fmla="*/ 292 w 292"/>
                <a:gd name="T85" fmla="*/ 69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94" name="Freeform 453">
              <a:extLst>
                <a:ext uri="{FF2B5EF4-FFF2-40B4-BE49-F238E27FC236}">
                  <a16:creationId xmlns:a16="http://schemas.microsoft.com/office/drawing/2014/main" id="{104CF40E-99E5-4BE7-AC13-D38CD75C900D}"/>
                </a:ext>
              </a:extLst>
            </p:cNvPr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5791201" y="2051050"/>
              <a:ext cx="168275" cy="77788"/>
            </a:xfrm>
            <a:custGeom>
              <a:avLst/>
              <a:gdLst>
                <a:gd name="T0" fmla="*/ 375 w 379"/>
                <a:gd name="T1" fmla="*/ 94 h 147"/>
                <a:gd name="T2" fmla="*/ 360 w 379"/>
                <a:gd name="T3" fmla="*/ 101 h 147"/>
                <a:gd name="T4" fmla="*/ 354 w 379"/>
                <a:gd name="T5" fmla="*/ 108 h 147"/>
                <a:gd name="T6" fmla="*/ 347 w 379"/>
                <a:gd name="T7" fmla="*/ 117 h 147"/>
                <a:gd name="T8" fmla="*/ 333 w 379"/>
                <a:gd name="T9" fmla="*/ 127 h 147"/>
                <a:gd name="T10" fmla="*/ 320 w 379"/>
                <a:gd name="T11" fmla="*/ 131 h 147"/>
                <a:gd name="T12" fmla="*/ 311 w 379"/>
                <a:gd name="T13" fmla="*/ 132 h 147"/>
                <a:gd name="T14" fmla="*/ 301 w 379"/>
                <a:gd name="T15" fmla="*/ 130 h 147"/>
                <a:gd name="T16" fmla="*/ 291 w 379"/>
                <a:gd name="T17" fmla="*/ 126 h 147"/>
                <a:gd name="T18" fmla="*/ 281 w 379"/>
                <a:gd name="T19" fmla="*/ 119 h 147"/>
                <a:gd name="T20" fmla="*/ 275 w 379"/>
                <a:gd name="T21" fmla="*/ 116 h 147"/>
                <a:gd name="T22" fmla="*/ 269 w 379"/>
                <a:gd name="T23" fmla="*/ 118 h 147"/>
                <a:gd name="T24" fmla="*/ 267 w 379"/>
                <a:gd name="T25" fmla="*/ 123 h 147"/>
                <a:gd name="T26" fmla="*/ 266 w 379"/>
                <a:gd name="T27" fmla="*/ 140 h 147"/>
                <a:gd name="T28" fmla="*/ 257 w 379"/>
                <a:gd name="T29" fmla="*/ 145 h 147"/>
                <a:gd name="T30" fmla="*/ 244 w 379"/>
                <a:gd name="T31" fmla="*/ 140 h 147"/>
                <a:gd name="T32" fmla="*/ 229 w 379"/>
                <a:gd name="T33" fmla="*/ 131 h 147"/>
                <a:gd name="T34" fmla="*/ 113 w 379"/>
                <a:gd name="T35" fmla="*/ 141 h 147"/>
                <a:gd name="T36" fmla="*/ 80 w 379"/>
                <a:gd name="T37" fmla="*/ 124 h 147"/>
                <a:gd name="T38" fmla="*/ 58 w 379"/>
                <a:gd name="T39" fmla="*/ 109 h 147"/>
                <a:gd name="T40" fmla="*/ 45 w 379"/>
                <a:gd name="T41" fmla="*/ 94 h 147"/>
                <a:gd name="T42" fmla="*/ 37 w 379"/>
                <a:gd name="T43" fmla="*/ 82 h 147"/>
                <a:gd name="T44" fmla="*/ 26 w 379"/>
                <a:gd name="T45" fmla="*/ 59 h 147"/>
                <a:gd name="T46" fmla="*/ 16 w 379"/>
                <a:gd name="T47" fmla="*/ 48 h 147"/>
                <a:gd name="T48" fmla="*/ 0 w 379"/>
                <a:gd name="T49" fmla="*/ 36 h 147"/>
                <a:gd name="T50" fmla="*/ 29 w 379"/>
                <a:gd name="T51" fmla="*/ 40 h 147"/>
                <a:gd name="T52" fmla="*/ 52 w 379"/>
                <a:gd name="T53" fmla="*/ 38 h 147"/>
                <a:gd name="T54" fmla="*/ 72 w 379"/>
                <a:gd name="T55" fmla="*/ 33 h 147"/>
                <a:gd name="T56" fmla="*/ 87 w 379"/>
                <a:gd name="T57" fmla="*/ 25 h 147"/>
                <a:gd name="T58" fmla="*/ 119 w 379"/>
                <a:gd name="T59" fmla="*/ 8 h 147"/>
                <a:gd name="T60" fmla="*/ 138 w 379"/>
                <a:gd name="T61" fmla="*/ 2 h 147"/>
                <a:gd name="T62" fmla="*/ 159 w 379"/>
                <a:gd name="T63" fmla="*/ 0 h 147"/>
                <a:gd name="T64" fmla="*/ 200 w 379"/>
                <a:gd name="T65" fmla="*/ 23 h 147"/>
                <a:gd name="T66" fmla="*/ 244 w 379"/>
                <a:gd name="T67" fmla="*/ 45 h 147"/>
                <a:gd name="T68" fmla="*/ 292 w 379"/>
                <a:gd name="T69" fmla="*/ 67 h 147"/>
                <a:gd name="T70" fmla="*/ 333 w 379"/>
                <a:gd name="T71" fmla="*/ 80 h 147"/>
                <a:gd name="T72" fmla="*/ 354 w 379"/>
                <a:gd name="T73" fmla="*/ 86 h 147"/>
                <a:gd name="T74" fmla="*/ 379 w 379"/>
                <a:gd name="T75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95" name="Freeform 454">
              <a:extLst>
                <a:ext uri="{FF2B5EF4-FFF2-40B4-BE49-F238E27FC236}">
                  <a16:creationId xmlns:a16="http://schemas.microsoft.com/office/drawing/2014/main" id="{3DB98338-6AF9-4DDD-BFB3-0090FA58ECF6}"/>
                </a:ext>
              </a:extLst>
            </p:cNvPr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5754688" y="1906589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9 h 67"/>
                <a:gd name="T4" fmla="*/ 0 w 61"/>
                <a:gd name="T5" fmla="*/ 18 h 67"/>
                <a:gd name="T6" fmla="*/ 1 w 61"/>
                <a:gd name="T7" fmla="*/ 24 h 67"/>
                <a:gd name="T8" fmla="*/ 2 w 61"/>
                <a:gd name="T9" fmla="*/ 30 h 67"/>
                <a:gd name="T10" fmla="*/ 3 w 61"/>
                <a:gd name="T11" fmla="*/ 36 h 67"/>
                <a:gd name="T12" fmla="*/ 6 w 61"/>
                <a:gd name="T13" fmla="*/ 42 h 67"/>
                <a:gd name="T14" fmla="*/ 12 w 61"/>
                <a:gd name="T15" fmla="*/ 55 h 67"/>
                <a:gd name="T16" fmla="*/ 21 w 61"/>
                <a:gd name="T17" fmla="*/ 67 h 67"/>
                <a:gd name="T18" fmla="*/ 28 w 61"/>
                <a:gd name="T19" fmla="*/ 65 h 67"/>
                <a:gd name="T20" fmla="*/ 35 w 61"/>
                <a:gd name="T21" fmla="*/ 61 h 67"/>
                <a:gd name="T22" fmla="*/ 42 w 61"/>
                <a:gd name="T23" fmla="*/ 58 h 67"/>
                <a:gd name="T24" fmla="*/ 48 w 61"/>
                <a:gd name="T25" fmla="*/ 53 h 67"/>
                <a:gd name="T26" fmla="*/ 53 w 61"/>
                <a:gd name="T27" fmla="*/ 47 h 67"/>
                <a:gd name="T28" fmla="*/ 57 w 61"/>
                <a:gd name="T29" fmla="*/ 40 h 67"/>
                <a:gd name="T30" fmla="*/ 59 w 61"/>
                <a:gd name="T31" fmla="*/ 32 h 67"/>
                <a:gd name="T32" fmla="*/ 61 w 61"/>
                <a:gd name="T33" fmla="*/ 24 h 67"/>
                <a:gd name="T34" fmla="*/ 53 w 61"/>
                <a:gd name="T35" fmla="*/ 14 h 67"/>
                <a:gd name="T36" fmla="*/ 41 w 61"/>
                <a:gd name="T37" fmla="*/ 0 h 67"/>
                <a:gd name="T38" fmla="*/ 28 w 61"/>
                <a:gd name="T39" fmla="*/ 3 h 67"/>
                <a:gd name="T40" fmla="*/ 18 w 61"/>
                <a:gd name="T41" fmla="*/ 4 h 67"/>
                <a:gd name="T42" fmla="*/ 13 w 61"/>
                <a:gd name="T43" fmla="*/ 4 h 67"/>
                <a:gd name="T44" fmla="*/ 10 w 61"/>
                <a:gd name="T45" fmla="*/ 3 h 67"/>
                <a:gd name="T46" fmla="*/ 6 w 61"/>
                <a:gd name="T47" fmla="*/ 2 h 67"/>
                <a:gd name="T48" fmla="*/ 0 w 61"/>
                <a:gd name="T4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96" name="Freeform 455">
              <a:extLst>
                <a:ext uri="{FF2B5EF4-FFF2-40B4-BE49-F238E27FC236}">
                  <a16:creationId xmlns:a16="http://schemas.microsoft.com/office/drawing/2014/main" id="{AD390034-08F9-4D74-85B7-E779252BB44B}"/>
                </a:ext>
              </a:extLst>
            </p:cNvPr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5726113" y="1911350"/>
              <a:ext cx="25400" cy="58738"/>
            </a:xfrm>
            <a:custGeom>
              <a:avLst/>
              <a:gdLst>
                <a:gd name="T0" fmla="*/ 0 w 60"/>
                <a:gd name="T1" fmla="*/ 6 h 55"/>
                <a:gd name="T2" fmla="*/ 0 w 60"/>
                <a:gd name="T3" fmla="*/ 24 h 55"/>
                <a:gd name="T4" fmla="*/ 5 w 60"/>
                <a:gd name="T5" fmla="*/ 32 h 55"/>
                <a:gd name="T6" fmla="*/ 10 w 60"/>
                <a:gd name="T7" fmla="*/ 40 h 55"/>
                <a:gd name="T8" fmla="*/ 16 w 60"/>
                <a:gd name="T9" fmla="*/ 45 h 55"/>
                <a:gd name="T10" fmla="*/ 21 w 60"/>
                <a:gd name="T11" fmla="*/ 49 h 55"/>
                <a:gd name="T12" fmla="*/ 27 w 60"/>
                <a:gd name="T13" fmla="*/ 52 h 55"/>
                <a:gd name="T14" fmla="*/ 33 w 60"/>
                <a:gd name="T15" fmla="*/ 54 h 55"/>
                <a:gd name="T16" fmla="*/ 40 w 60"/>
                <a:gd name="T17" fmla="*/ 55 h 55"/>
                <a:gd name="T18" fmla="*/ 46 w 60"/>
                <a:gd name="T19" fmla="*/ 55 h 55"/>
                <a:gd name="T20" fmla="*/ 53 w 60"/>
                <a:gd name="T21" fmla="*/ 52 h 55"/>
                <a:gd name="T22" fmla="*/ 60 w 60"/>
                <a:gd name="T23" fmla="*/ 49 h 55"/>
                <a:gd name="T24" fmla="*/ 50 w 60"/>
                <a:gd name="T25" fmla="*/ 34 h 55"/>
                <a:gd name="T26" fmla="*/ 42 w 60"/>
                <a:gd name="T27" fmla="*/ 22 h 55"/>
                <a:gd name="T28" fmla="*/ 39 w 60"/>
                <a:gd name="T29" fmla="*/ 17 h 55"/>
                <a:gd name="T30" fmla="*/ 35 w 60"/>
                <a:gd name="T31" fmla="*/ 12 h 55"/>
                <a:gd name="T32" fmla="*/ 34 w 60"/>
                <a:gd name="T33" fmla="*/ 6 h 55"/>
                <a:gd name="T34" fmla="*/ 33 w 60"/>
                <a:gd name="T35" fmla="*/ 0 h 55"/>
                <a:gd name="T36" fmla="*/ 23 w 60"/>
                <a:gd name="T37" fmla="*/ 1 h 55"/>
                <a:gd name="T38" fmla="*/ 15 w 60"/>
                <a:gd name="T39" fmla="*/ 3 h 55"/>
                <a:gd name="T40" fmla="*/ 7 w 60"/>
                <a:gd name="T41" fmla="*/ 5 h 55"/>
                <a:gd name="T42" fmla="*/ 0 w 60"/>
                <a:gd name="T43" fmla="*/ 6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297" name="Freeform 456">
              <a:extLst>
                <a:ext uri="{FF2B5EF4-FFF2-40B4-BE49-F238E27FC236}">
                  <a16:creationId xmlns:a16="http://schemas.microsoft.com/office/drawing/2014/main" id="{9C162211-DFE4-47C4-9002-87C1619BAA7E}"/>
                </a:ext>
              </a:extLst>
            </p:cNvPr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5695950" y="1857375"/>
              <a:ext cx="52388" cy="77788"/>
            </a:xfrm>
            <a:custGeom>
              <a:avLst/>
              <a:gdLst>
                <a:gd name="T0" fmla="*/ 74 w 120"/>
                <a:gd name="T1" fmla="*/ 129 h 148"/>
                <a:gd name="T2" fmla="*/ 70 w 120"/>
                <a:gd name="T3" fmla="*/ 131 h 148"/>
                <a:gd name="T4" fmla="*/ 67 w 120"/>
                <a:gd name="T5" fmla="*/ 132 h 148"/>
                <a:gd name="T6" fmla="*/ 64 w 120"/>
                <a:gd name="T7" fmla="*/ 133 h 148"/>
                <a:gd name="T8" fmla="*/ 60 w 120"/>
                <a:gd name="T9" fmla="*/ 133 h 148"/>
                <a:gd name="T10" fmla="*/ 56 w 120"/>
                <a:gd name="T11" fmla="*/ 133 h 148"/>
                <a:gd name="T12" fmla="*/ 53 w 120"/>
                <a:gd name="T13" fmla="*/ 132 h 148"/>
                <a:gd name="T14" fmla="*/ 50 w 120"/>
                <a:gd name="T15" fmla="*/ 131 h 148"/>
                <a:gd name="T16" fmla="*/ 47 w 120"/>
                <a:gd name="T17" fmla="*/ 129 h 148"/>
                <a:gd name="T18" fmla="*/ 41 w 120"/>
                <a:gd name="T19" fmla="*/ 128 h 148"/>
                <a:gd name="T20" fmla="*/ 34 w 120"/>
                <a:gd name="T21" fmla="*/ 125 h 148"/>
                <a:gd name="T22" fmla="*/ 26 w 120"/>
                <a:gd name="T23" fmla="*/ 120 h 148"/>
                <a:gd name="T24" fmla="*/ 19 w 120"/>
                <a:gd name="T25" fmla="*/ 115 h 148"/>
                <a:gd name="T26" fmla="*/ 11 w 120"/>
                <a:gd name="T27" fmla="*/ 108 h 148"/>
                <a:gd name="T28" fmla="*/ 6 w 120"/>
                <a:gd name="T29" fmla="*/ 101 h 148"/>
                <a:gd name="T30" fmla="*/ 3 w 120"/>
                <a:gd name="T31" fmla="*/ 97 h 148"/>
                <a:gd name="T32" fmla="*/ 2 w 120"/>
                <a:gd name="T33" fmla="*/ 94 h 148"/>
                <a:gd name="T34" fmla="*/ 1 w 120"/>
                <a:gd name="T35" fmla="*/ 90 h 148"/>
                <a:gd name="T36" fmla="*/ 0 w 120"/>
                <a:gd name="T37" fmla="*/ 87 h 148"/>
                <a:gd name="T38" fmla="*/ 2 w 120"/>
                <a:gd name="T39" fmla="*/ 73 h 148"/>
                <a:gd name="T40" fmla="*/ 8 w 120"/>
                <a:gd name="T41" fmla="*/ 55 h 148"/>
                <a:gd name="T42" fmla="*/ 14 w 120"/>
                <a:gd name="T43" fmla="*/ 35 h 148"/>
                <a:gd name="T44" fmla="*/ 20 w 120"/>
                <a:gd name="T45" fmla="*/ 18 h 148"/>
                <a:gd name="T46" fmla="*/ 32 w 120"/>
                <a:gd name="T47" fmla="*/ 17 h 148"/>
                <a:gd name="T48" fmla="*/ 42 w 120"/>
                <a:gd name="T49" fmla="*/ 16 h 148"/>
                <a:gd name="T50" fmla="*/ 51 w 120"/>
                <a:gd name="T51" fmla="*/ 14 h 148"/>
                <a:gd name="T52" fmla="*/ 58 w 120"/>
                <a:gd name="T53" fmla="*/ 11 h 148"/>
                <a:gd name="T54" fmla="*/ 70 w 120"/>
                <a:gd name="T55" fmla="*/ 5 h 148"/>
                <a:gd name="T56" fmla="*/ 80 w 120"/>
                <a:gd name="T57" fmla="*/ 0 h 148"/>
                <a:gd name="T58" fmla="*/ 85 w 120"/>
                <a:gd name="T59" fmla="*/ 2 h 148"/>
                <a:gd name="T60" fmla="*/ 93 w 120"/>
                <a:gd name="T61" fmla="*/ 7 h 148"/>
                <a:gd name="T62" fmla="*/ 98 w 120"/>
                <a:gd name="T63" fmla="*/ 10 h 148"/>
                <a:gd name="T64" fmla="*/ 102 w 120"/>
                <a:gd name="T65" fmla="*/ 13 h 148"/>
                <a:gd name="T66" fmla="*/ 106 w 120"/>
                <a:gd name="T67" fmla="*/ 16 h 148"/>
                <a:gd name="T68" fmla="*/ 107 w 120"/>
                <a:gd name="T69" fmla="*/ 18 h 148"/>
                <a:gd name="T70" fmla="*/ 100 w 120"/>
                <a:gd name="T71" fmla="*/ 28 h 148"/>
                <a:gd name="T72" fmla="*/ 93 w 120"/>
                <a:gd name="T73" fmla="*/ 37 h 148"/>
                <a:gd name="T74" fmla="*/ 95 w 120"/>
                <a:gd name="T75" fmla="*/ 42 h 148"/>
                <a:gd name="T76" fmla="*/ 98 w 120"/>
                <a:gd name="T77" fmla="*/ 49 h 148"/>
                <a:gd name="T78" fmla="*/ 102 w 120"/>
                <a:gd name="T79" fmla="*/ 56 h 148"/>
                <a:gd name="T80" fmla="*/ 107 w 120"/>
                <a:gd name="T81" fmla="*/ 63 h 148"/>
                <a:gd name="T82" fmla="*/ 115 w 120"/>
                <a:gd name="T83" fmla="*/ 75 h 148"/>
                <a:gd name="T84" fmla="*/ 120 w 120"/>
                <a:gd name="T85" fmla="*/ 79 h 148"/>
                <a:gd name="T86" fmla="*/ 113 w 120"/>
                <a:gd name="T87" fmla="*/ 81 h 148"/>
                <a:gd name="T88" fmla="*/ 107 w 120"/>
                <a:gd name="T89" fmla="*/ 84 h 148"/>
                <a:gd name="T90" fmla="*/ 100 w 120"/>
                <a:gd name="T91" fmla="*/ 87 h 148"/>
                <a:gd name="T92" fmla="*/ 96 w 120"/>
                <a:gd name="T93" fmla="*/ 91 h 148"/>
                <a:gd name="T94" fmla="*/ 90 w 120"/>
                <a:gd name="T95" fmla="*/ 95 h 148"/>
                <a:gd name="T96" fmla="*/ 87 w 120"/>
                <a:gd name="T97" fmla="*/ 99 h 148"/>
                <a:gd name="T98" fmla="*/ 82 w 120"/>
                <a:gd name="T99" fmla="*/ 104 h 148"/>
                <a:gd name="T100" fmla="*/ 80 w 120"/>
                <a:gd name="T101" fmla="*/ 109 h 148"/>
                <a:gd name="T102" fmla="*/ 78 w 120"/>
                <a:gd name="T103" fmla="*/ 114 h 148"/>
                <a:gd name="T104" fmla="*/ 77 w 120"/>
                <a:gd name="T105" fmla="*/ 120 h 148"/>
                <a:gd name="T106" fmla="*/ 76 w 120"/>
                <a:gd name="T107" fmla="*/ 125 h 148"/>
                <a:gd name="T108" fmla="*/ 75 w 120"/>
                <a:gd name="T109" fmla="*/ 130 h 148"/>
                <a:gd name="T110" fmla="*/ 76 w 120"/>
                <a:gd name="T111" fmla="*/ 135 h 148"/>
                <a:gd name="T112" fmla="*/ 77 w 120"/>
                <a:gd name="T113" fmla="*/ 140 h 148"/>
                <a:gd name="T114" fmla="*/ 78 w 120"/>
                <a:gd name="T115" fmla="*/ 144 h 148"/>
                <a:gd name="T116" fmla="*/ 80 w 120"/>
                <a:gd name="T117" fmla="*/ 148 h 148"/>
                <a:gd name="T118" fmla="*/ 74 w 120"/>
                <a:gd name="T119" fmla="*/ 12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98" name="Freeform 457">
              <a:extLst>
                <a:ext uri="{FF2B5EF4-FFF2-40B4-BE49-F238E27FC236}">
                  <a16:creationId xmlns:a16="http://schemas.microsoft.com/office/drawing/2014/main" id="{EA05A30B-65D2-47E4-B38F-06A982EEC734}"/>
                </a:ext>
              </a:extLst>
            </p:cNvPr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6127750" y="2662239"/>
              <a:ext cx="273050" cy="307975"/>
            </a:xfrm>
            <a:custGeom>
              <a:avLst/>
              <a:gdLst>
                <a:gd name="T0" fmla="*/ 21 w 631"/>
                <a:gd name="T1" fmla="*/ 2 h 592"/>
                <a:gd name="T2" fmla="*/ 32 w 631"/>
                <a:gd name="T3" fmla="*/ 4 h 592"/>
                <a:gd name="T4" fmla="*/ 54 w 631"/>
                <a:gd name="T5" fmla="*/ 8 h 592"/>
                <a:gd name="T6" fmla="*/ 78 w 631"/>
                <a:gd name="T7" fmla="*/ 11 h 592"/>
                <a:gd name="T8" fmla="*/ 104 w 631"/>
                <a:gd name="T9" fmla="*/ 19 h 592"/>
                <a:gd name="T10" fmla="*/ 130 w 631"/>
                <a:gd name="T11" fmla="*/ 32 h 592"/>
                <a:gd name="T12" fmla="*/ 146 w 631"/>
                <a:gd name="T13" fmla="*/ 40 h 592"/>
                <a:gd name="T14" fmla="*/ 159 w 631"/>
                <a:gd name="T15" fmla="*/ 43 h 592"/>
                <a:gd name="T16" fmla="*/ 189 w 631"/>
                <a:gd name="T17" fmla="*/ 43 h 592"/>
                <a:gd name="T18" fmla="*/ 227 w 631"/>
                <a:gd name="T19" fmla="*/ 37 h 592"/>
                <a:gd name="T20" fmla="*/ 277 w 631"/>
                <a:gd name="T21" fmla="*/ 23 h 592"/>
                <a:gd name="T22" fmla="*/ 399 w 631"/>
                <a:gd name="T23" fmla="*/ 38 h 592"/>
                <a:gd name="T24" fmla="*/ 403 w 631"/>
                <a:gd name="T25" fmla="*/ 69 h 592"/>
                <a:gd name="T26" fmla="*/ 410 w 631"/>
                <a:gd name="T27" fmla="*/ 95 h 592"/>
                <a:gd name="T28" fmla="*/ 417 w 631"/>
                <a:gd name="T29" fmla="*/ 119 h 592"/>
                <a:gd name="T30" fmla="*/ 427 w 631"/>
                <a:gd name="T31" fmla="*/ 140 h 592"/>
                <a:gd name="T32" fmla="*/ 450 w 631"/>
                <a:gd name="T33" fmla="*/ 175 h 592"/>
                <a:gd name="T34" fmla="*/ 472 w 631"/>
                <a:gd name="T35" fmla="*/ 204 h 592"/>
                <a:gd name="T36" fmla="*/ 482 w 631"/>
                <a:gd name="T37" fmla="*/ 222 h 592"/>
                <a:gd name="T38" fmla="*/ 485 w 631"/>
                <a:gd name="T39" fmla="*/ 240 h 592"/>
                <a:gd name="T40" fmla="*/ 491 w 631"/>
                <a:gd name="T41" fmla="*/ 255 h 592"/>
                <a:gd name="T42" fmla="*/ 496 w 631"/>
                <a:gd name="T43" fmla="*/ 261 h 592"/>
                <a:gd name="T44" fmla="*/ 505 w 631"/>
                <a:gd name="T45" fmla="*/ 266 h 592"/>
                <a:gd name="T46" fmla="*/ 513 w 631"/>
                <a:gd name="T47" fmla="*/ 270 h 592"/>
                <a:gd name="T48" fmla="*/ 519 w 631"/>
                <a:gd name="T49" fmla="*/ 278 h 592"/>
                <a:gd name="T50" fmla="*/ 533 w 631"/>
                <a:gd name="T51" fmla="*/ 303 h 592"/>
                <a:gd name="T52" fmla="*/ 541 w 631"/>
                <a:gd name="T53" fmla="*/ 331 h 592"/>
                <a:gd name="T54" fmla="*/ 545 w 631"/>
                <a:gd name="T55" fmla="*/ 358 h 592"/>
                <a:gd name="T56" fmla="*/ 548 w 631"/>
                <a:gd name="T57" fmla="*/ 368 h 592"/>
                <a:gd name="T58" fmla="*/ 557 w 631"/>
                <a:gd name="T59" fmla="*/ 381 h 592"/>
                <a:gd name="T60" fmla="*/ 583 w 631"/>
                <a:gd name="T61" fmla="*/ 415 h 592"/>
                <a:gd name="T62" fmla="*/ 612 w 631"/>
                <a:gd name="T63" fmla="*/ 447 h 592"/>
                <a:gd name="T64" fmla="*/ 631 w 631"/>
                <a:gd name="T65" fmla="*/ 463 h 592"/>
                <a:gd name="T66" fmla="*/ 612 w 631"/>
                <a:gd name="T67" fmla="*/ 481 h 592"/>
                <a:gd name="T68" fmla="*/ 624 w 631"/>
                <a:gd name="T69" fmla="*/ 496 h 592"/>
                <a:gd name="T70" fmla="*/ 626 w 631"/>
                <a:gd name="T71" fmla="*/ 507 h 592"/>
                <a:gd name="T72" fmla="*/ 626 w 631"/>
                <a:gd name="T73" fmla="*/ 516 h 592"/>
                <a:gd name="T74" fmla="*/ 631 w 631"/>
                <a:gd name="T75" fmla="*/ 531 h 592"/>
                <a:gd name="T76" fmla="*/ 626 w 631"/>
                <a:gd name="T77" fmla="*/ 539 h 592"/>
                <a:gd name="T78" fmla="*/ 617 w 631"/>
                <a:gd name="T79" fmla="*/ 548 h 592"/>
                <a:gd name="T80" fmla="*/ 592 w 631"/>
                <a:gd name="T81" fmla="*/ 569 h 592"/>
                <a:gd name="T82" fmla="*/ 558 w 631"/>
                <a:gd name="T83" fmla="*/ 592 h 592"/>
                <a:gd name="T84" fmla="*/ 46 w 631"/>
                <a:gd name="T85" fmla="*/ 174 h 592"/>
                <a:gd name="T86" fmla="*/ 25 w 631"/>
                <a:gd name="T87" fmla="*/ 157 h 592"/>
                <a:gd name="T88" fmla="*/ 11 w 631"/>
                <a:gd name="T89" fmla="*/ 138 h 592"/>
                <a:gd name="T90" fmla="*/ 2 w 631"/>
                <a:gd name="T91" fmla="*/ 117 h 592"/>
                <a:gd name="T92" fmla="*/ 0 w 631"/>
                <a:gd name="T93" fmla="*/ 93 h 592"/>
                <a:gd name="T94" fmla="*/ 3 w 631"/>
                <a:gd name="T95" fmla="*/ 89 h 592"/>
                <a:gd name="T96" fmla="*/ 10 w 631"/>
                <a:gd name="T97" fmla="*/ 83 h 592"/>
                <a:gd name="T98" fmla="*/ 17 w 631"/>
                <a:gd name="T99" fmla="*/ 77 h 592"/>
                <a:gd name="T100" fmla="*/ 20 w 631"/>
                <a:gd name="T101" fmla="*/ 69 h 592"/>
                <a:gd name="T102" fmla="*/ 18 w 631"/>
                <a:gd name="T103" fmla="*/ 53 h 592"/>
                <a:gd name="T104" fmla="*/ 13 w 631"/>
                <a:gd name="T105" fmla="*/ 42 h 592"/>
                <a:gd name="T106" fmla="*/ 9 w 631"/>
                <a:gd name="T107" fmla="*/ 34 h 592"/>
                <a:gd name="T108" fmla="*/ 7 w 631"/>
                <a:gd name="T109" fmla="*/ 26 h 592"/>
                <a:gd name="T110" fmla="*/ 13 w 631"/>
                <a:gd name="T111" fmla="*/ 0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299" name="Freeform 458">
              <a:extLst>
                <a:ext uri="{FF2B5EF4-FFF2-40B4-BE49-F238E27FC236}">
                  <a16:creationId xmlns:a16="http://schemas.microsoft.com/office/drawing/2014/main" id="{70D89A46-7AA7-4D16-A32D-4749C083CCFD}"/>
                </a:ext>
              </a:extLst>
            </p:cNvPr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5722938" y="2297113"/>
              <a:ext cx="17462" cy="57150"/>
            </a:xfrm>
            <a:custGeom>
              <a:avLst/>
              <a:gdLst>
                <a:gd name="T0" fmla="*/ 7 w 40"/>
                <a:gd name="T1" fmla="*/ 31 h 93"/>
                <a:gd name="T2" fmla="*/ 10 w 40"/>
                <a:gd name="T3" fmla="*/ 30 h 93"/>
                <a:gd name="T4" fmla="*/ 14 w 40"/>
                <a:gd name="T5" fmla="*/ 26 h 93"/>
                <a:gd name="T6" fmla="*/ 20 w 40"/>
                <a:gd name="T7" fmla="*/ 20 h 93"/>
                <a:gd name="T8" fmla="*/ 25 w 40"/>
                <a:gd name="T9" fmla="*/ 15 h 93"/>
                <a:gd name="T10" fmla="*/ 35 w 40"/>
                <a:gd name="T11" fmla="*/ 4 h 93"/>
                <a:gd name="T12" fmla="*/ 40 w 40"/>
                <a:gd name="T13" fmla="*/ 0 h 93"/>
                <a:gd name="T14" fmla="*/ 37 w 40"/>
                <a:gd name="T15" fmla="*/ 26 h 93"/>
                <a:gd name="T16" fmla="*/ 35 w 40"/>
                <a:gd name="T17" fmla="*/ 53 h 93"/>
                <a:gd name="T18" fmla="*/ 34 w 40"/>
                <a:gd name="T19" fmla="*/ 65 h 93"/>
                <a:gd name="T20" fmla="*/ 34 w 40"/>
                <a:gd name="T21" fmla="*/ 77 h 93"/>
                <a:gd name="T22" fmla="*/ 35 w 40"/>
                <a:gd name="T23" fmla="*/ 82 h 93"/>
                <a:gd name="T24" fmla="*/ 36 w 40"/>
                <a:gd name="T25" fmla="*/ 86 h 93"/>
                <a:gd name="T26" fmla="*/ 37 w 40"/>
                <a:gd name="T27" fmla="*/ 90 h 93"/>
                <a:gd name="T28" fmla="*/ 40 w 40"/>
                <a:gd name="T29" fmla="*/ 93 h 93"/>
                <a:gd name="T30" fmla="*/ 26 w 40"/>
                <a:gd name="T31" fmla="*/ 93 h 93"/>
                <a:gd name="T32" fmla="*/ 13 w 40"/>
                <a:gd name="T33" fmla="*/ 93 h 93"/>
                <a:gd name="T34" fmla="*/ 11 w 40"/>
                <a:gd name="T35" fmla="*/ 92 h 93"/>
                <a:gd name="T36" fmla="*/ 8 w 40"/>
                <a:gd name="T37" fmla="*/ 91 h 93"/>
                <a:gd name="T38" fmla="*/ 6 w 40"/>
                <a:gd name="T39" fmla="*/ 88 h 93"/>
                <a:gd name="T40" fmla="*/ 4 w 40"/>
                <a:gd name="T41" fmla="*/ 86 h 93"/>
                <a:gd name="T42" fmla="*/ 1 w 40"/>
                <a:gd name="T43" fmla="*/ 80 h 93"/>
                <a:gd name="T44" fmla="*/ 0 w 40"/>
                <a:gd name="T45" fmla="*/ 73 h 93"/>
                <a:gd name="T46" fmla="*/ 1 w 40"/>
                <a:gd name="T47" fmla="*/ 64 h 93"/>
                <a:gd name="T48" fmla="*/ 3 w 40"/>
                <a:gd name="T49" fmla="*/ 50 h 93"/>
                <a:gd name="T50" fmla="*/ 6 w 40"/>
                <a:gd name="T51" fmla="*/ 37 h 93"/>
                <a:gd name="T52" fmla="*/ 7 w 40"/>
                <a:gd name="T53" fmla="*/ 3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00" name="Freeform 459">
              <a:extLst>
                <a:ext uri="{FF2B5EF4-FFF2-40B4-BE49-F238E27FC236}">
                  <a16:creationId xmlns:a16="http://schemas.microsoft.com/office/drawing/2014/main" id="{703CA23A-9985-48BD-BCA3-36E725242EB7}"/>
                </a:ext>
              </a:extLst>
            </p:cNvPr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5362576" y="2047875"/>
              <a:ext cx="295275" cy="273050"/>
            </a:xfrm>
            <a:custGeom>
              <a:avLst/>
              <a:gdLst>
                <a:gd name="T0" fmla="*/ 149 w 664"/>
                <a:gd name="T1" fmla="*/ 445 h 518"/>
                <a:gd name="T2" fmla="*/ 151 w 664"/>
                <a:gd name="T3" fmla="*/ 431 h 518"/>
                <a:gd name="T4" fmla="*/ 146 w 664"/>
                <a:gd name="T5" fmla="*/ 400 h 518"/>
                <a:gd name="T6" fmla="*/ 151 w 664"/>
                <a:gd name="T7" fmla="*/ 353 h 518"/>
                <a:gd name="T8" fmla="*/ 146 w 664"/>
                <a:gd name="T9" fmla="*/ 298 h 518"/>
                <a:gd name="T10" fmla="*/ 134 w 664"/>
                <a:gd name="T11" fmla="*/ 251 h 518"/>
                <a:gd name="T12" fmla="*/ 109 w 664"/>
                <a:gd name="T13" fmla="*/ 241 h 518"/>
                <a:gd name="T14" fmla="*/ 20 w 664"/>
                <a:gd name="T15" fmla="*/ 192 h 518"/>
                <a:gd name="T16" fmla="*/ 24 w 664"/>
                <a:gd name="T17" fmla="*/ 171 h 518"/>
                <a:gd name="T18" fmla="*/ 36 w 664"/>
                <a:gd name="T19" fmla="*/ 159 h 518"/>
                <a:gd name="T20" fmla="*/ 48 w 664"/>
                <a:gd name="T21" fmla="*/ 148 h 518"/>
                <a:gd name="T22" fmla="*/ 100 w 664"/>
                <a:gd name="T23" fmla="*/ 155 h 518"/>
                <a:gd name="T24" fmla="*/ 125 w 664"/>
                <a:gd name="T25" fmla="*/ 152 h 518"/>
                <a:gd name="T26" fmla="*/ 147 w 664"/>
                <a:gd name="T27" fmla="*/ 157 h 518"/>
                <a:gd name="T28" fmla="*/ 165 w 664"/>
                <a:gd name="T29" fmla="*/ 94 h 518"/>
                <a:gd name="T30" fmla="*/ 185 w 664"/>
                <a:gd name="T31" fmla="*/ 109 h 518"/>
                <a:gd name="T32" fmla="*/ 207 w 664"/>
                <a:gd name="T33" fmla="*/ 110 h 518"/>
                <a:gd name="T34" fmla="*/ 236 w 664"/>
                <a:gd name="T35" fmla="*/ 99 h 518"/>
                <a:gd name="T36" fmla="*/ 264 w 664"/>
                <a:gd name="T37" fmla="*/ 80 h 518"/>
                <a:gd name="T38" fmla="*/ 289 w 664"/>
                <a:gd name="T39" fmla="*/ 57 h 518"/>
                <a:gd name="T40" fmla="*/ 308 w 664"/>
                <a:gd name="T41" fmla="*/ 32 h 518"/>
                <a:gd name="T42" fmla="*/ 318 w 664"/>
                <a:gd name="T43" fmla="*/ 12 h 518"/>
                <a:gd name="T44" fmla="*/ 370 w 664"/>
                <a:gd name="T45" fmla="*/ 4 h 518"/>
                <a:gd name="T46" fmla="*/ 404 w 664"/>
                <a:gd name="T47" fmla="*/ 32 h 518"/>
                <a:gd name="T48" fmla="*/ 457 w 664"/>
                <a:gd name="T49" fmla="*/ 61 h 518"/>
                <a:gd name="T50" fmla="*/ 511 w 664"/>
                <a:gd name="T51" fmla="*/ 90 h 518"/>
                <a:gd name="T52" fmla="*/ 552 w 664"/>
                <a:gd name="T53" fmla="*/ 107 h 518"/>
                <a:gd name="T54" fmla="*/ 578 w 664"/>
                <a:gd name="T55" fmla="*/ 116 h 518"/>
                <a:gd name="T56" fmla="*/ 623 w 664"/>
                <a:gd name="T57" fmla="*/ 121 h 518"/>
                <a:gd name="T58" fmla="*/ 658 w 664"/>
                <a:gd name="T59" fmla="*/ 136 h 518"/>
                <a:gd name="T60" fmla="*/ 645 w 664"/>
                <a:gd name="T61" fmla="*/ 166 h 518"/>
                <a:gd name="T62" fmla="*/ 620 w 664"/>
                <a:gd name="T63" fmla="*/ 236 h 518"/>
                <a:gd name="T64" fmla="*/ 598 w 664"/>
                <a:gd name="T65" fmla="*/ 272 h 518"/>
                <a:gd name="T66" fmla="*/ 585 w 664"/>
                <a:gd name="T67" fmla="*/ 286 h 518"/>
                <a:gd name="T68" fmla="*/ 599 w 664"/>
                <a:gd name="T69" fmla="*/ 298 h 518"/>
                <a:gd name="T70" fmla="*/ 618 w 664"/>
                <a:gd name="T71" fmla="*/ 307 h 518"/>
                <a:gd name="T72" fmla="*/ 623 w 664"/>
                <a:gd name="T73" fmla="*/ 334 h 518"/>
                <a:gd name="T74" fmla="*/ 620 w 664"/>
                <a:gd name="T75" fmla="*/ 347 h 518"/>
                <a:gd name="T76" fmla="*/ 618 w 664"/>
                <a:gd name="T77" fmla="*/ 372 h 518"/>
                <a:gd name="T78" fmla="*/ 622 w 664"/>
                <a:gd name="T79" fmla="*/ 399 h 518"/>
                <a:gd name="T80" fmla="*/ 632 w 664"/>
                <a:gd name="T81" fmla="*/ 423 h 518"/>
                <a:gd name="T82" fmla="*/ 608 w 664"/>
                <a:gd name="T83" fmla="*/ 457 h 518"/>
                <a:gd name="T84" fmla="*/ 569 w 664"/>
                <a:gd name="T85" fmla="*/ 484 h 518"/>
                <a:gd name="T86" fmla="*/ 542 w 664"/>
                <a:gd name="T87" fmla="*/ 489 h 518"/>
                <a:gd name="T88" fmla="*/ 509 w 664"/>
                <a:gd name="T89" fmla="*/ 481 h 518"/>
                <a:gd name="T90" fmla="*/ 477 w 664"/>
                <a:gd name="T91" fmla="*/ 460 h 518"/>
                <a:gd name="T92" fmla="*/ 463 w 664"/>
                <a:gd name="T93" fmla="*/ 456 h 518"/>
                <a:gd name="T94" fmla="*/ 443 w 664"/>
                <a:gd name="T95" fmla="*/ 457 h 518"/>
                <a:gd name="T96" fmla="*/ 423 w 664"/>
                <a:gd name="T97" fmla="*/ 465 h 518"/>
                <a:gd name="T98" fmla="*/ 406 w 664"/>
                <a:gd name="T99" fmla="*/ 477 h 518"/>
                <a:gd name="T100" fmla="*/ 388 w 664"/>
                <a:gd name="T101" fmla="*/ 503 h 518"/>
                <a:gd name="T102" fmla="*/ 385 w 664"/>
                <a:gd name="T103" fmla="*/ 517 h 518"/>
                <a:gd name="T104" fmla="*/ 333 w 664"/>
                <a:gd name="T105" fmla="*/ 515 h 518"/>
                <a:gd name="T106" fmla="*/ 317 w 664"/>
                <a:gd name="T107" fmla="*/ 507 h 518"/>
                <a:gd name="T108" fmla="*/ 307 w 664"/>
                <a:gd name="T109" fmla="*/ 500 h 518"/>
                <a:gd name="T110" fmla="*/ 296 w 664"/>
                <a:gd name="T111" fmla="*/ 508 h 518"/>
                <a:gd name="T112" fmla="*/ 287 w 664"/>
                <a:gd name="T113" fmla="*/ 516 h 518"/>
                <a:gd name="T114" fmla="*/ 268 w 664"/>
                <a:gd name="T115" fmla="*/ 516 h 518"/>
                <a:gd name="T116" fmla="*/ 227 w 664"/>
                <a:gd name="T117" fmla="*/ 506 h 518"/>
                <a:gd name="T118" fmla="*/ 185 w 664"/>
                <a:gd name="T119" fmla="*/ 487 h 518"/>
                <a:gd name="T120" fmla="*/ 160 w 664"/>
                <a:gd name="T121" fmla="*/ 469 h 518"/>
                <a:gd name="T122" fmla="*/ 146 w 664"/>
                <a:gd name="T123" fmla="*/ 45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01" name="Freeform 460">
              <a:extLst>
                <a:ext uri="{FF2B5EF4-FFF2-40B4-BE49-F238E27FC236}">
                  <a16:creationId xmlns:a16="http://schemas.microsoft.com/office/drawing/2014/main" id="{A6D078FC-2F9D-40D3-8CD3-4D622070EF5E}"/>
                </a:ext>
              </a:extLst>
            </p:cNvPr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6443663" y="2282825"/>
              <a:ext cx="150812" cy="82550"/>
            </a:xfrm>
            <a:custGeom>
              <a:avLst/>
              <a:gdLst>
                <a:gd name="T0" fmla="*/ 332 w 352"/>
                <a:gd name="T1" fmla="*/ 91 h 153"/>
                <a:gd name="T2" fmla="*/ 352 w 352"/>
                <a:gd name="T3" fmla="*/ 153 h 153"/>
                <a:gd name="T4" fmla="*/ 326 w 352"/>
                <a:gd name="T5" fmla="*/ 141 h 153"/>
                <a:gd name="T6" fmla="*/ 299 w 352"/>
                <a:gd name="T7" fmla="*/ 129 h 153"/>
                <a:gd name="T8" fmla="*/ 266 w 352"/>
                <a:gd name="T9" fmla="*/ 141 h 153"/>
                <a:gd name="T10" fmla="*/ 232 w 352"/>
                <a:gd name="T11" fmla="*/ 141 h 153"/>
                <a:gd name="T12" fmla="*/ 227 w 352"/>
                <a:gd name="T13" fmla="*/ 135 h 153"/>
                <a:gd name="T14" fmla="*/ 226 w 352"/>
                <a:gd name="T15" fmla="*/ 135 h 153"/>
                <a:gd name="T16" fmla="*/ 219 w 352"/>
                <a:gd name="T17" fmla="*/ 129 h 153"/>
                <a:gd name="T18" fmla="*/ 213 w 352"/>
                <a:gd name="T19" fmla="*/ 125 h 153"/>
                <a:gd name="T20" fmla="*/ 205 w 352"/>
                <a:gd name="T21" fmla="*/ 121 h 153"/>
                <a:gd name="T22" fmla="*/ 197 w 352"/>
                <a:gd name="T23" fmla="*/ 118 h 153"/>
                <a:gd name="T24" fmla="*/ 181 w 352"/>
                <a:gd name="T25" fmla="*/ 113 h 153"/>
                <a:gd name="T26" fmla="*/ 163 w 352"/>
                <a:gd name="T27" fmla="*/ 110 h 153"/>
                <a:gd name="T28" fmla="*/ 126 w 352"/>
                <a:gd name="T29" fmla="*/ 107 h 153"/>
                <a:gd name="T30" fmla="*/ 86 w 352"/>
                <a:gd name="T31" fmla="*/ 104 h 153"/>
                <a:gd name="T32" fmla="*/ 85 w 352"/>
                <a:gd name="T33" fmla="*/ 94 h 153"/>
                <a:gd name="T34" fmla="*/ 82 w 352"/>
                <a:gd name="T35" fmla="*/ 84 h 153"/>
                <a:gd name="T36" fmla="*/ 80 w 352"/>
                <a:gd name="T37" fmla="*/ 75 h 153"/>
                <a:gd name="T38" fmla="*/ 75 w 352"/>
                <a:gd name="T39" fmla="*/ 67 h 153"/>
                <a:gd name="T40" fmla="*/ 71 w 352"/>
                <a:gd name="T41" fmla="*/ 59 h 153"/>
                <a:gd name="T42" fmla="*/ 67 w 352"/>
                <a:gd name="T43" fmla="*/ 52 h 153"/>
                <a:gd name="T44" fmla="*/ 61 w 352"/>
                <a:gd name="T45" fmla="*/ 44 h 153"/>
                <a:gd name="T46" fmla="*/ 56 w 352"/>
                <a:gd name="T47" fmla="*/ 37 h 153"/>
                <a:gd name="T48" fmla="*/ 44 w 352"/>
                <a:gd name="T49" fmla="*/ 26 h 153"/>
                <a:gd name="T50" fmla="*/ 29 w 352"/>
                <a:gd name="T51" fmla="*/ 16 h 153"/>
                <a:gd name="T52" fmla="*/ 15 w 352"/>
                <a:gd name="T53" fmla="*/ 7 h 153"/>
                <a:gd name="T54" fmla="*/ 0 w 352"/>
                <a:gd name="T55" fmla="*/ 0 h 153"/>
                <a:gd name="T56" fmla="*/ 7 w 352"/>
                <a:gd name="T57" fmla="*/ 0 h 153"/>
                <a:gd name="T58" fmla="*/ 60 w 352"/>
                <a:gd name="T59" fmla="*/ 18 h 153"/>
                <a:gd name="T60" fmla="*/ 106 w 352"/>
                <a:gd name="T61" fmla="*/ 30 h 153"/>
                <a:gd name="T62" fmla="*/ 134 w 352"/>
                <a:gd name="T63" fmla="*/ 18 h 153"/>
                <a:gd name="T64" fmla="*/ 180 w 352"/>
                <a:gd name="T65" fmla="*/ 36 h 153"/>
                <a:gd name="T66" fmla="*/ 206 w 352"/>
                <a:gd name="T67" fmla="*/ 55 h 153"/>
                <a:gd name="T68" fmla="*/ 246 w 352"/>
                <a:gd name="T69" fmla="*/ 49 h 153"/>
                <a:gd name="T70" fmla="*/ 286 w 352"/>
                <a:gd name="T71" fmla="*/ 61 h 153"/>
                <a:gd name="T72" fmla="*/ 313 w 352"/>
                <a:gd name="T73" fmla="*/ 79 h 153"/>
                <a:gd name="T74" fmla="*/ 332 w 352"/>
                <a:gd name="T75" fmla="*/ 9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2" name="Freeform 461">
              <a:extLst>
                <a:ext uri="{FF2B5EF4-FFF2-40B4-BE49-F238E27FC236}">
                  <a16:creationId xmlns:a16="http://schemas.microsoft.com/office/drawing/2014/main" id="{30D29622-341B-48F0-B7FD-7F5562B2AE40}"/>
                </a:ext>
              </a:extLst>
            </p:cNvPr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5992814" y="2343150"/>
              <a:ext cx="147637" cy="173038"/>
            </a:xfrm>
            <a:custGeom>
              <a:avLst/>
              <a:gdLst>
                <a:gd name="T0" fmla="*/ 230 w 331"/>
                <a:gd name="T1" fmla="*/ 40 h 327"/>
                <a:gd name="T2" fmla="*/ 193 w 331"/>
                <a:gd name="T3" fmla="*/ 56 h 327"/>
                <a:gd name="T4" fmla="*/ 182 w 331"/>
                <a:gd name="T5" fmla="*/ 67 h 327"/>
                <a:gd name="T6" fmla="*/ 181 w 331"/>
                <a:gd name="T7" fmla="*/ 81 h 327"/>
                <a:gd name="T8" fmla="*/ 184 w 331"/>
                <a:gd name="T9" fmla="*/ 94 h 327"/>
                <a:gd name="T10" fmla="*/ 177 w 331"/>
                <a:gd name="T11" fmla="*/ 102 h 327"/>
                <a:gd name="T12" fmla="*/ 168 w 331"/>
                <a:gd name="T13" fmla="*/ 105 h 327"/>
                <a:gd name="T14" fmla="*/ 160 w 331"/>
                <a:gd name="T15" fmla="*/ 98 h 327"/>
                <a:gd name="T16" fmla="*/ 149 w 331"/>
                <a:gd name="T17" fmla="*/ 85 h 327"/>
                <a:gd name="T18" fmla="*/ 126 w 331"/>
                <a:gd name="T19" fmla="*/ 74 h 327"/>
                <a:gd name="T20" fmla="*/ 127 w 331"/>
                <a:gd name="T21" fmla="*/ 96 h 327"/>
                <a:gd name="T22" fmla="*/ 139 w 331"/>
                <a:gd name="T23" fmla="*/ 116 h 327"/>
                <a:gd name="T24" fmla="*/ 154 w 331"/>
                <a:gd name="T25" fmla="*/ 129 h 327"/>
                <a:gd name="T26" fmla="*/ 159 w 331"/>
                <a:gd name="T27" fmla="*/ 130 h 327"/>
                <a:gd name="T28" fmla="*/ 159 w 331"/>
                <a:gd name="T29" fmla="*/ 177 h 327"/>
                <a:gd name="T30" fmla="*/ 159 w 331"/>
                <a:gd name="T31" fmla="*/ 237 h 327"/>
                <a:gd name="T32" fmla="*/ 156 w 331"/>
                <a:gd name="T33" fmla="*/ 251 h 327"/>
                <a:gd name="T34" fmla="*/ 147 w 331"/>
                <a:gd name="T35" fmla="*/ 259 h 327"/>
                <a:gd name="T36" fmla="*/ 145 w 331"/>
                <a:gd name="T37" fmla="*/ 264 h 327"/>
                <a:gd name="T38" fmla="*/ 162 w 331"/>
                <a:gd name="T39" fmla="*/ 276 h 327"/>
                <a:gd name="T40" fmla="*/ 167 w 331"/>
                <a:gd name="T41" fmla="*/ 286 h 327"/>
                <a:gd name="T42" fmla="*/ 155 w 331"/>
                <a:gd name="T43" fmla="*/ 295 h 327"/>
                <a:gd name="T44" fmla="*/ 140 w 331"/>
                <a:gd name="T45" fmla="*/ 297 h 327"/>
                <a:gd name="T46" fmla="*/ 130 w 331"/>
                <a:gd name="T47" fmla="*/ 307 h 327"/>
                <a:gd name="T48" fmla="*/ 126 w 331"/>
                <a:gd name="T49" fmla="*/ 321 h 327"/>
                <a:gd name="T50" fmla="*/ 121 w 331"/>
                <a:gd name="T51" fmla="*/ 300 h 327"/>
                <a:gd name="T52" fmla="*/ 124 w 331"/>
                <a:gd name="T53" fmla="*/ 288 h 327"/>
                <a:gd name="T54" fmla="*/ 109 w 331"/>
                <a:gd name="T55" fmla="*/ 286 h 327"/>
                <a:gd name="T56" fmla="*/ 93 w 331"/>
                <a:gd name="T57" fmla="*/ 292 h 327"/>
                <a:gd name="T58" fmla="*/ 79 w 331"/>
                <a:gd name="T59" fmla="*/ 296 h 327"/>
                <a:gd name="T60" fmla="*/ 73 w 331"/>
                <a:gd name="T61" fmla="*/ 242 h 327"/>
                <a:gd name="T62" fmla="*/ 79 w 331"/>
                <a:gd name="T63" fmla="*/ 216 h 327"/>
                <a:gd name="T64" fmla="*/ 48 w 331"/>
                <a:gd name="T65" fmla="*/ 211 h 327"/>
                <a:gd name="T66" fmla="*/ 28 w 331"/>
                <a:gd name="T67" fmla="*/ 198 h 327"/>
                <a:gd name="T68" fmla="*/ 13 w 331"/>
                <a:gd name="T69" fmla="*/ 173 h 327"/>
                <a:gd name="T70" fmla="*/ 0 w 331"/>
                <a:gd name="T71" fmla="*/ 130 h 327"/>
                <a:gd name="T72" fmla="*/ 28 w 331"/>
                <a:gd name="T73" fmla="*/ 111 h 327"/>
                <a:gd name="T74" fmla="*/ 50 w 331"/>
                <a:gd name="T75" fmla="*/ 81 h 327"/>
                <a:gd name="T76" fmla="*/ 73 w 331"/>
                <a:gd name="T77" fmla="*/ 55 h 327"/>
                <a:gd name="T78" fmla="*/ 115 w 331"/>
                <a:gd name="T79" fmla="*/ 41 h 327"/>
                <a:gd name="T80" fmla="*/ 180 w 331"/>
                <a:gd name="T81" fmla="*/ 14 h 327"/>
                <a:gd name="T82" fmla="*/ 218 w 331"/>
                <a:gd name="T83" fmla="*/ 7 h 327"/>
                <a:gd name="T84" fmla="*/ 249 w 331"/>
                <a:gd name="T85" fmla="*/ 14 h 327"/>
                <a:gd name="T86" fmla="*/ 271 w 331"/>
                <a:gd name="T87" fmla="*/ 27 h 327"/>
                <a:gd name="T88" fmla="*/ 292 w 331"/>
                <a:gd name="T89" fmla="*/ 30 h 327"/>
                <a:gd name="T90" fmla="*/ 307 w 331"/>
                <a:gd name="T91" fmla="*/ 20 h 327"/>
                <a:gd name="T92" fmla="*/ 327 w 331"/>
                <a:gd name="T93" fmla="*/ 6 h 327"/>
                <a:gd name="T94" fmla="*/ 330 w 331"/>
                <a:gd name="T95" fmla="*/ 32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3" name="Freeform 462">
              <a:extLst>
                <a:ext uri="{FF2B5EF4-FFF2-40B4-BE49-F238E27FC236}">
                  <a16:creationId xmlns:a16="http://schemas.microsoft.com/office/drawing/2014/main" id="{835CB6B9-BAA4-4FE7-A143-7ECA35687650}"/>
                </a:ext>
              </a:extLst>
            </p:cNvPr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6076950" y="2535238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44 w 153"/>
                <a:gd name="T3" fmla="*/ 2 h 49"/>
                <a:gd name="T4" fmla="*/ 83 w 153"/>
                <a:gd name="T5" fmla="*/ 6 h 49"/>
                <a:gd name="T6" fmla="*/ 103 w 153"/>
                <a:gd name="T7" fmla="*/ 8 h 49"/>
                <a:gd name="T8" fmla="*/ 121 w 153"/>
                <a:gd name="T9" fmla="*/ 7 h 49"/>
                <a:gd name="T10" fmla="*/ 130 w 153"/>
                <a:gd name="T11" fmla="*/ 6 h 49"/>
                <a:gd name="T12" fmla="*/ 137 w 153"/>
                <a:gd name="T13" fmla="*/ 5 h 49"/>
                <a:gd name="T14" fmla="*/ 145 w 153"/>
                <a:gd name="T15" fmla="*/ 3 h 49"/>
                <a:gd name="T16" fmla="*/ 153 w 153"/>
                <a:gd name="T17" fmla="*/ 0 h 49"/>
                <a:gd name="T18" fmla="*/ 153 w 153"/>
                <a:gd name="T19" fmla="*/ 9 h 49"/>
                <a:gd name="T20" fmla="*/ 153 w 153"/>
                <a:gd name="T21" fmla="*/ 25 h 49"/>
                <a:gd name="T22" fmla="*/ 143 w 153"/>
                <a:gd name="T23" fmla="*/ 31 h 49"/>
                <a:gd name="T24" fmla="*/ 133 w 153"/>
                <a:gd name="T25" fmla="*/ 36 h 49"/>
                <a:gd name="T26" fmla="*/ 124 w 153"/>
                <a:gd name="T27" fmla="*/ 40 h 49"/>
                <a:gd name="T28" fmla="*/ 114 w 153"/>
                <a:gd name="T29" fmla="*/ 44 h 49"/>
                <a:gd name="T30" fmla="*/ 106 w 153"/>
                <a:gd name="T31" fmla="*/ 46 h 49"/>
                <a:gd name="T32" fmla="*/ 99 w 153"/>
                <a:gd name="T33" fmla="*/ 48 h 49"/>
                <a:gd name="T34" fmla="*/ 92 w 153"/>
                <a:gd name="T35" fmla="*/ 49 h 49"/>
                <a:gd name="T36" fmla="*/ 87 w 153"/>
                <a:gd name="T37" fmla="*/ 49 h 49"/>
                <a:gd name="T38" fmla="*/ 72 w 153"/>
                <a:gd name="T39" fmla="*/ 48 h 49"/>
                <a:gd name="T40" fmla="*/ 60 w 153"/>
                <a:gd name="T41" fmla="*/ 46 h 49"/>
                <a:gd name="T42" fmla="*/ 50 w 153"/>
                <a:gd name="T43" fmla="*/ 43 h 49"/>
                <a:gd name="T44" fmla="*/ 41 w 153"/>
                <a:gd name="T45" fmla="*/ 38 h 49"/>
                <a:gd name="T46" fmla="*/ 22 w 153"/>
                <a:gd name="T47" fmla="*/ 29 h 49"/>
                <a:gd name="T48" fmla="*/ 0 w 153"/>
                <a:gd name="T49" fmla="*/ 19 h 49"/>
                <a:gd name="T50" fmla="*/ 0 w 153"/>
                <a:gd name="T51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04" name="Freeform 463">
              <a:extLst>
                <a:ext uri="{FF2B5EF4-FFF2-40B4-BE49-F238E27FC236}">
                  <a16:creationId xmlns:a16="http://schemas.microsoft.com/office/drawing/2014/main" id="{B6909686-F2BD-4EDF-B208-838D8B50CE05}"/>
                </a:ext>
              </a:extLst>
            </p:cNvPr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5156201" y="3267075"/>
              <a:ext cx="187325" cy="158750"/>
            </a:xfrm>
            <a:custGeom>
              <a:avLst/>
              <a:gdLst>
                <a:gd name="T0" fmla="*/ 194 w 426"/>
                <a:gd name="T1" fmla="*/ 16 h 299"/>
                <a:gd name="T2" fmla="*/ 216 w 426"/>
                <a:gd name="T3" fmla="*/ 22 h 299"/>
                <a:gd name="T4" fmla="*/ 230 w 426"/>
                <a:gd name="T5" fmla="*/ 29 h 299"/>
                <a:gd name="T6" fmla="*/ 253 w 426"/>
                <a:gd name="T7" fmla="*/ 35 h 299"/>
                <a:gd name="T8" fmla="*/ 279 w 426"/>
                <a:gd name="T9" fmla="*/ 37 h 299"/>
                <a:gd name="T10" fmla="*/ 300 w 426"/>
                <a:gd name="T11" fmla="*/ 37 h 299"/>
                <a:gd name="T12" fmla="*/ 319 w 426"/>
                <a:gd name="T13" fmla="*/ 34 h 299"/>
                <a:gd name="T14" fmla="*/ 329 w 426"/>
                <a:gd name="T15" fmla="*/ 29 h 299"/>
                <a:gd name="T16" fmla="*/ 365 w 426"/>
                <a:gd name="T17" fmla="*/ 25 h 299"/>
                <a:gd name="T18" fmla="*/ 372 w 426"/>
                <a:gd name="T19" fmla="*/ 49 h 299"/>
                <a:gd name="T20" fmla="*/ 383 w 426"/>
                <a:gd name="T21" fmla="*/ 74 h 299"/>
                <a:gd name="T22" fmla="*/ 391 w 426"/>
                <a:gd name="T23" fmla="*/ 84 h 299"/>
                <a:gd name="T24" fmla="*/ 400 w 426"/>
                <a:gd name="T25" fmla="*/ 92 h 299"/>
                <a:gd name="T26" fmla="*/ 412 w 426"/>
                <a:gd name="T27" fmla="*/ 97 h 299"/>
                <a:gd name="T28" fmla="*/ 425 w 426"/>
                <a:gd name="T29" fmla="*/ 99 h 299"/>
                <a:gd name="T30" fmla="*/ 425 w 426"/>
                <a:gd name="T31" fmla="*/ 120 h 299"/>
                <a:gd name="T32" fmla="*/ 425 w 426"/>
                <a:gd name="T33" fmla="*/ 142 h 299"/>
                <a:gd name="T34" fmla="*/ 416 w 426"/>
                <a:gd name="T35" fmla="*/ 158 h 299"/>
                <a:gd name="T36" fmla="*/ 412 w 426"/>
                <a:gd name="T37" fmla="*/ 170 h 299"/>
                <a:gd name="T38" fmla="*/ 412 w 426"/>
                <a:gd name="T39" fmla="*/ 181 h 299"/>
                <a:gd name="T40" fmla="*/ 415 w 426"/>
                <a:gd name="T41" fmla="*/ 190 h 299"/>
                <a:gd name="T42" fmla="*/ 423 w 426"/>
                <a:gd name="T43" fmla="*/ 211 h 299"/>
                <a:gd name="T44" fmla="*/ 426 w 426"/>
                <a:gd name="T45" fmla="*/ 226 h 299"/>
                <a:gd name="T46" fmla="*/ 425 w 426"/>
                <a:gd name="T47" fmla="*/ 247 h 299"/>
                <a:gd name="T48" fmla="*/ 426 w 426"/>
                <a:gd name="T49" fmla="*/ 274 h 299"/>
                <a:gd name="T50" fmla="*/ 423 w 426"/>
                <a:gd name="T51" fmla="*/ 285 h 299"/>
                <a:gd name="T52" fmla="*/ 412 w 426"/>
                <a:gd name="T53" fmla="*/ 296 h 299"/>
                <a:gd name="T54" fmla="*/ 380 w 426"/>
                <a:gd name="T55" fmla="*/ 298 h 299"/>
                <a:gd name="T56" fmla="*/ 370 w 426"/>
                <a:gd name="T57" fmla="*/ 299 h 299"/>
                <a:gd name="T58" fmla="*/ 360 w 426"/>
                <a:gd name="T59" fmla="*/ 296 h 299"/>
                <a:gd name="T60" fmla="*/ 351 w 426"/>
                <a:gd name="T61" fmla="*/ 290 h 299"/>
                <a:gd name="T62" fmla="*/ 338 w 426"/>
                <a:gd name="T63" fmla="*/ 278 h 299"/>
                <a:gd name="T64" fmla="*/ 324 w 426"/>
                <a:gd name="T65" fmla="*/ 261 h 299"/>
                <a:gd name="T66" fmla="*/ 311 w 426"/>
                <a:gd name="T67" fmla="*/ 253 h 299"/>
                <a:gd name="T68" fmla="*/ 294 w 426"/>
                <a:gd name="T69" fmla="*/ 251 h 299"/>
                <a:gd name="T70" fmla="*/ 278 w 426"/>
                <a:gd name="T71" fmla="*/ 232 h 299"/>
                <a:gd name="T72" fmla="*/ 274 w 426"/>
                <a:gd name="T73" fmla="*/ 210 h 299"/>
                <a:gd name="T74" fmla="*/ 269 w 426"/>
                <a:gd name="T75" fmla="*/ 197 h 299"/>
                <a:gd name="T76" fmla="*/ 261 w 426"/>
                <a:gd name="T77" fmla="*/ 184 h 299"/>
                <a:gd name="T78" fmla="*/ 251 w 426"/>
                <a:gd name="T79" fmla="*/ 173 h 299"/>
                <a:gd name="T80" fmla="*/ 238 w 426"/>
                <a:gd name="T81" fmla="*/ 165 h 299"/>
                <a:gd name="T82" fmla="*/ 222 w 426"/>
                <a:gd name="T83" fmla="*/ 161 h 299"/>
                <a:gd name="T84" fmla="*/ 204 w 426"/>
                <a:gd name="T85" fmla="*/ 161 h 299"/>
                <a:gd name="T86" fmla="*/ 188 w 426"/>
                <a:gd name="T87" fmla="*/ 163 h 299"/>
                <a:gd name="T88" fmla="*/ 173 w 426"/>
                <a:gd name="T89" fmla="*/ 168 h 299"/>
                <a:gd name="T90" fmla="*/ 160 w 426"/>
                <a:gd name="T91" fmla="*/ 176 h 299"/>
                <a:gd name="T92" fmla="*/ 141 w 426"/>
                <a:gd name="T93" fmla="*/ 191 h 299"/>
                <a:gd name="T94" fmla="*/ 118 w 426"/>
                <a:gd name="T95" fmla="*/ 215 h 299"/>
                <a:gd name="T96" fmla="*/ 105 w 426"/>
                <a:gd name="T97" fmla="*/ 218 h 299"/>
                <a:gd name="T98" fmla="*/ 100 w 426"/>
                <a:gd name="T99" fmla="*/ 201 h 299"/>
                <a:gd name="T100" fmla="*/ 90 w 426"/>
                <a:gd name="T101" fmla="*/ 186 h 299"/>
                <a:gd name="T102" fmla="*/ 76 w 426"/>
                <a:gd name="T103" fmla="*/ 171 h 299"/>
                <a:gd name="T104" fmla="*/ 50 w 426"/>
                <a:gd name="T105" fmla="*/ 153 h 299"/>
                <a:gd name="T106" fmla="*/ 24 w 426"/>
                <a:gd name="T107" fmla="*/ 134 h 299"/>
                <a:gd name="T108" fmla="*/ 8 w 426"/>
                <a:gd name="T109" fmla="*/ 119 h 299"/>
                <a:gd name="T110" fmla="*/ 15 w 426"/>
                <a:gd name="T111" fmla="*/ 101 h 299"/>
                <a:gd name="T112" fmla="*/ 46 w 426"/>
                <a:gd name="T113" fmla="*/ 77 h 299"/>
                <a:gd name="T114" fmla="*/ 75 w 426"/>
                <a:gd name="T115" fmla="*/ 48 h 299"/>
                <a:gd name="T116" fmla="*/ 98 w 426"/>
                <a:gd name="T117" fmla="*/ 17 h 299"/>
                <a:gd name="T118" fmla="*/ 179 w 426"/>
                <a:gd name="T119" fmla="*/ 1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5" name="Freeform 464">
              <a:extLst>
                <a:ext uri="{FF2B5EF4-FFF2-40B4-BE49-F238E27FC236}">
                  <a16:creationId xmlns:a16="http://schemas.microsoft.com/office/drawing/2014/main" id="{DDE0C63D-A993-45F1-8B33-3F2309A94B71}"/>
                </a:ext>
              </a:extLst>
            </p:cNvPr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7200900" y="2530476"/>
              <a:ext cx="692150" cy="874713"/>
            </a:xfrm>
            <a:custGeom>
              <a:avLst/>
              <a:gdLst>
                <a:gd name="T0" fmla="*/ 477 w 1594"/>
                <a:gd name="T1" fmla="*/ 107 h 1670"/>
                <a:gd name="T2" fmla="*/ 485 w 1594"/>
                <a:gd name="T3" fmla="*/ 185 h 1670"/>
                <a:gd name="T4" fmla="*/ 578 w 1594"/>
                <a:gd name="T5" fmla="*/ 287 h 1670"/>
                <a:gd name="T6" fmla="*/ 701 w 1594"/>
                <a:gd name="T7" fmla="*/ 459 h 1670"/>
                <a:gd name="T8" fmla="*/ 795 w 1594"/>
                <a:gd name="T9" fmla="*/ 499 h 1670"/>
                <a:gd name="T10" fmla="*/ 877 w 1594"/>
                <a:gd name="T11" fmla="*/ 493 h 1670"/>
                <a:gd name="T12" fmla="*/ 930 w 1594"/>
                <a:gd name="T13" fmla="*/ 537 h 1670"/>
                <a:gd name="T14" fmla="*/ 1102 w 1594"/>
                <a:gd name="T15" fmla="*/ 567 h 1670"/>
                <a:gd name="T16" fmla="*/ 1121 w 1594"/>
                <a:gd name="T17" fmla="*/ 461 h 1670"/>
                <a:gd name="T18" fmla="*/ 1179 w 1594"/>
                <a:gd name="T19" fmla="*/ 539 h 1670"/>
                <a:gd name="T20" fmla="*/ 1243 w 1594"/>
                <a:gd name="T21" fmla="*/ 561 h 1670"/>
                <a:gd name="T22" fmla="*/ 1299 w 1594"/>
                <a:gd name="T23" fmla="*/ 498 h 1670"/>
                <a:gd name="T24" fmla="*/ 1404 w 1594"/>
                <a:gd name="T25" fmla="*/ 409 h 1670"/>
                <a:gd name="T26" fmla="*/ 1549 w 1594"/>
                <a:gd name="T27" fmla="*/ 428 h 1670"/>
                <a:gd name="T28" fmla="*/ 1579 w 1594"/>
                <a:gd name="T29" fmla="*/ 498 h 1670"/>
                <a:gd name="T30" fmla="*/ 1504 w 1594"/>
                <a:gd name="T31" fmla="*/ 542 h 1670"/>
                <a:gd name="T32" fmla="*/ 1485 w 1594"/>
                <a:gd name="T33" fmla="*/ 679 h 1670"/>
                <a:gd name="T34" fmla="*/ 1429 w 1594"/>
                <a:gd name="T35" fmla="*/ 704 h 1670"/>
                <a:gd name="T36" fmla="*/ 1408 w 1594"/>
                <a:gd name="T37" fmla="*/ 814 h 1670"/>
                <a:gd name="T38" fmla="*/ 1321 w 1594"/>
                <a:gd name="T39" fmla="*/ 754 h 1670"/>
                <a:gd name="T40" fmla="*/ 1323 w 1594"/>
                <a:gd name="T41" fmla="*/ 698 h 1670"/>
                <a:gd name="T42" fmla="*/ 1225 w 1594"/>
                <a:gd name="T43" fmla="*/ 638 h 1670"/>
                <a:gd name="T44" fmla="*/ 1187 w 1594"/>
                <a:gd name="T45" fmla="*/ 588 h 1670"/>
                <a:gd name="T46" fmla="*/ 1131 w 1594"/>
                <a:gd name="T47" fmla="*/ 575 h 1670"/>
                <a:gd name="T48" fmla="*/ 1127 w 1594"/>
                <a:gd name="T49" fmla="*/ 625 h 1670"/>
                <a:gd name="T50" fmla="*/ 1117 w 1594"/>
                <a:gd name="T51" fmla="*/ 683 h 1670"/>
                <a:gd name="T52" fmla="*/ 1160 w 1594"/>
                <a:gd name="T53" fmla="*/ 735 h 1670"/>
                <a:gd name="T54" fmla="*/ 1149 w 1594"/>
                <a:gd name="T55" fmla="*/ 843 h 1670"/>
                <a:gd name="T56" fmla="*/ 1075 w 1594"/>
                <a:gd name="T57" fmla="*/ 864 h 1670"/>
                <a:gd name="T58" fmla="*/ 1049 w 1594"/>
                <a:gd name="T59" fmla="*/ 937 h 1670"/>
                <a:gd name="T60" fmla="*/ 954 w 1594"/>
                <a:gd name="T61" fmla="*/ 1001 h 1670"/>
                <a:gd name="T62" fmla="*/ 912 w 1594"/>
                <a:gd name="T63" fmla="*/ 1050 h 1670"/>
                <a:gd name="T64" fmla="*/ 780 w 1594"/>
                <a:gd name="T65" fmla="*/ 1188 h 1670"/>
                <a:gd name="T66" fmla="*/ 723 w 1594"/>
                <a:gd name="T67" fmla="*/ 1233 h 1670"/>
                <a:gd name="T68" fmla="*/ 744 w 1594"/>
                <a:gd name="T69" fmla="*/ 1344 h 1670"/>
                <a:gd name="T70" fmla="*/ 712 w 1594"/>
                <a:gd name="T71" fmla="*/ 1445 h 1670"/>
                <a:gd name="T72" fmla="*/ 722 w 1594"/>
                <a:gd name="T73" fmla="*/ 1524 h 1670"/>
                <a:gd name="T74" fmla="*/ 693 w 1594"/>
                <a:gd name="T75" fmla="*/ 1576 h 1670"/>
                <a:gd name="T76" fmla="*/ 595 w 1594"/>
                <a:gd name="T77" fmla="*/ 1663 h 1670"/>
                <a:gd name="T78" fmla="*/ 516 w 1594"/>
                <a:gd name="T79" fmla="*/ 1529 h 1670"/>
                <a:gd name="T80" fmla="*/ 419 w 1594"/>
                <a:gd name="T81" fmla="*/ 1334 h 1670"/>
                <a:gd name="T82" fmla="*/ 301 w 1594"/>
                <a:gd name="T83" fmla="*/ 1114 h 1670"/>
                <a:gd name="T84" fmla="*/ 259 w 1594"/>
                <a:gd name="T85" fmla="*/ 861 h 1670"/>
                <a:gd name="T86" fmla="*/ 230 w 1594"/>
                <a:gd name="T87" fmla="*/ 814 h 1670"/>
                <a:gd name="T88" fmla="*/ 164 w 1594"/>
                <a:gd name="T89" fmla="*/ 900 h 1670"/>
                <a:gd name="T90" fmla="*/ 90 w 1594"/>
                <a:gd name="T91" fmla="*/ 876 h 1670"/>
                <a:gd name="T92" fmla="*/ 51 w 1594"/>
                <a:gd name="T93" fmla="*/ 798 h 1670"/>
                <a:gd name="T94" fmla="*/ 30 w 1594"/>
                <a:gd name="T95" fmla="*/ 771 h 1670"/>
                <a:gd name="T96" fmla="*/ 32 w 1594"/>
                <a:gd name="T97" fmla="*/ 708 h 1670"/>
                <a:gd name="T98" fmla="*/ 159 w 1594"/>
                <a:gd name="T99" fmla="*/ 659 h 1670"/>
                <a:gd name="T100" fmla="*/ 92 w 1594"/>
                <a:gd name="T101" fmla="*/ 569 h 1670"/>
                <a:gd name="T102" fmla="*/ 59 w 1594"/>
                <a:gd name="T103" fmla="*/ 500 h 1670"/>
                <a:gd name="T104" fmla="*/ 162 w 1594"/>
                <a:gd name="T105" fmla="*/ 459 h 1670"/>
                <a:gd name="T106" fmla="*/ 270 w 1594"/>
                <a:gd name="T107" fmla="*/ 294 h 1670"/>
                <a:gd name="T108" fmla="*/ 274 w 1594"/>
                <a:gd name="T109" fmla="*/ 230 h 1670"/>
                <a:gd name="T110" fmla="*/ 227 w 1594"/>
                <a:gd name="T111" fmla="*/ 142 h 1670"/>
                <a:gd name="T112" fmla="*/ 322 w 1594"/>
                <a:gd name="T113" fmla="*/ 54 h 1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6" name="Freeform 465">
              <a:extLst>
                <a:ext uri="{FF2B5EF4-FFF2-40B4-BE49-F238E27FC236}">
                  <a16:creationId xmlns:a16="http://schemas.microsoft.com/office/drawing/2014/main" id="{2A0D6945-B0FE-4803-B5F5-D5D97E4CE2B0}"/>
                </a:ext>
              </a:extLst>
            </p:cNvPr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5322888" y="3325814"/>
              <a:ext cx="158750" cy="206375"/>
            </a:xfrm>
            <a:custGeom>
              <a:avLst/>
              <a:gdLst>
                <a:gd name="T0" fmla="*/ 53 w 359"/>
                <a:gd name="T1" fmla="*/ 382 h 394"/>
                <a:gd name="T2" fmla="*/ 53 w 359"/>
                <a:gd name="T3" fmla="*/ 358 h 394"/>
                <a:gd name="T4" fmla="*/ 53 w 359"/>
                <a:gd name="T5" fmla="*/ 333 h 394"/>
                <a:gd name="T6" fmla="*/ 50 w 359"/>
                <a:gd name="T7" fmla="*/ 312 h 394"/>
                <a:gd name="T8" fmla="*/ 43 w 359"/>
                <a:gd name="T9" fmla="*/ 293 h 394"/>
                <a:gd name="T10" fmla="*/ 35 w 359"/>
                <a:gd name="T11" fmla="*/ 277 h 394"/>
                <a:gd name="T12" fmla="*/ 13 w 359"/>
                <a:gd name="T13" fmla="*/ 245 h 394"/>
                <a:gd name="T14" fmla="*/ 0 w 359"/>
                <a:gd name="T15" fmla="*/ 185 h 394"/>
                <a:gd name="T16" fmla="*/ 33 w 359"/>
                <a:gd name="T17" fmla="*/ 181 h 394"/>
                <a:gd name="T18" fmla="*/ 40 w 359"/>
                <a:gd name="T19" fmla="*/ 169 h 394"/>
                <a:gd name="T20" fmla="*/ 41 w 359"/>
                <a:gd name="T21" fmla="*/ 150 h 394"/>
                <a:gd name="T22" fmla="*/ 38 w 359"/>
                <a:gd name="T23" fmla="*/ 107 h 394"/>
                <a:gd name="T24" fmla="*/ 31 w 359"/>
                <a:gd name="T25" fmla="*/ 65 h 394"/>
                <a:gd name="T26" fmla="*/ 32 w 359"/>
                <a:gd name="T27" fmla="*/ 47 h 394"/>
                <a:gd name="T28" fmla="*/ 36 w 359"/>
                <a:gd name="T29" fmla="*/ 36 h 394"/>
                <a:gd name="T30" fmla="*/ 120 w 359"/>
                <a:gd name="T31" fmla="*/ 31 h 394"/>
                <a:gd name="T32" fmla="*/ 122 w 359"/>
                <a:gd name="T33" fmla="*/ 22 h 394"/>
                <a:gd name="T34" fmla="*/ 128 w 359"/>
                <a:gd name="T35" fmla="*/ 14 h 394"/>
                <a:gd name="T36" fmla="*/ 140 w 359"/>
                <a:gd name="T37" fmla="*/ 0 h 394"/>
                <a:gd name="T38" fmla="*/ 142 w 359"/>
                <a:gd name="T39" fmla="*/ 18 h 394"/>
                <a:gd name="T40" fmla="*/ 142 w 359"/>
                <a:gd name="T41" fmla="*/ 26 h 394"/>
                <a:gd name="T42" fmla="*/ 140 w 359"/>
                <a:gd name="T43" fmla="*/ 31 h 394"/>
                <a:gd name="T44" fmla="*/ 168 w 359"/>
                <a:gd name="T45" fmla="*/ 31 h 394"/>
                <a:gd name="T46" fmla="*/ 186 w 359"/>
                <a:gd name="T47" fmla="*/ 31 h 394"/>
                <a:gd name="T48" fmla="*/ 214 w 359"/>
                <a:gd name="T49" fmla="*/ 38 h 394"/>
                <a:gd name="T50" fmla="*/ 233 w 359"/>
                <a:gd name="T51" fmla="*/ 49 h 394"/>
                <a:gd name="T52" fmla="*/ 246 w 359"/>
                <a:gd name="T53" fmla="*/ 58 h 394"/>
                <a:gd name="T54" fmla="*/ 259 w 359"/>
                <a:gd name="T55" fmla="*/ 61 h 394"/>
                <a:gd name="T56" fmla="*/ 268 w 359"/>
                <a:gd name="T57" fmla="*/ 59 h 394"/>
                <a:gd name="T58" fmla="*/ 275 w 359"/>
                <a:gd name="T59" fmla="*/ 54 h 394"/>
                <a:gd name="T60" fmla="*/ 286 w 359"/>
                <a:gd name="T61" fmla="*/ 37 h 394"/>
                <a:gd name="T62" fmla="*/ 312 w 359"/>
                <a:gd name="T63" fmla="*/ 52 h 394"/>
                <a:gd name="T64" fmla="*/ 325 w 359"/>
                <a:gd name="T65" fmla="*/ 59 h 394"/>
                <a:gd name="T66" fmla="*/ 338 w 359"/>
                <a:gd name="T67" fmla="*/ 61 h 394"/>
                <a:gd name="T68" fmla="*/ 353 w 359"/>
                <a:gd name="T69" fmla="*/ 161 h 394"/>
                <a:gd name="T70" fmla="*/ 338 w 359"/>
                <a:gd name="T71" fmla="*/ 185 h 394"/>
                <a:gd name="T72" fmla="*/ 323 w 359"/>
                <a:gd name="T73" fmla="*/ 206 h 394"/>
                <a:gd name="T74" fmla="*/ 315 w 359"/>
                <a:gd name="T75" fmla="*/ 224 h 394"/>
                <a:gd name="T76" fmla="*/ 313 w 359"/>
                <a:gd name="T77" fmla="*/ 239 h 394"/>
                <a:gd name="T78" fmla="*/ 313 w 359"/>
                <a:gd name="T79" fmla="*/ 255 h 394"/>
                <a:gd name="T80" fmla="*/ 321 w 359"/>
                <a:gd name="T81" fmla="*/ 273 h 394"/>
                <a:gd name="T82" fmla="*/ 331 w 359"/>
                <a:gd name="T83" fmla="*/ 293 h 394"/>
                <a:gd name="T84" fmla="*/ 337 w 359"/>
                <a:gd name="T85" fmla="*/ 309 h 394"/>
                <a:gd name="T86" fmla="*/ 337 w 359"/>
                <a:gd name="T87" fmla="*/ 321 h 394"/>
                <a:gd name="T88" fmla="*/ 330 w 359"/>
                <a:gd name="T89" fmla="*/ 337 h 394"/>
                <a:gd name="T90" fmla="*/ 326 w 359"/>
                <a:gd name="T91" fmla="*/ 351 h 394"/>
                <a:gd name="T92" fmla="*/ 319 w 359"/>
                <a:gd name="T93" fmla="*/ 358 h 394"/>
                <a:gd name="T94" fmla="*/ 308 w 359"/>
                <a:gd name="T95" fmla="*/ 356 h 394"/>
                <a:gd name="T96" fmla="*/ 298 w 359"/>
                <a:gd name="T97" fmla="*/ 350 h 394"/>
                <a:gd name="T98" fmla="*/ 287 w 359"/>
                <a:gd name="T99" fmla="*/ 340 h 394"/>
                <a:gd name="T100" fmla="*/ 277 w 359"/>
                <a:gd name="T101" fmla="*/ 335 h 394"/>
                <a:gd name="T102" fmla="*/ 266 w 359"/>
                <a:gd name="T103" fmla="*/ 333 h 394"/>
                <a:gd name="T104" fmla="*/ 246 w 359"/>
                <a:gd name="T105" fmla="*/ 333 h 394"/>
                <a:gd name="T106" fmla="*/ 221 w 359"/>
                <a:gd name="T107" fmla="*/ 336 h 394"/>
                <a:gd name="T108" fmla="*/ 181 w 359"/>
                <a:gd name="T109" fmla="*/ 343 h 394"/>
                <a:gd name="T110" fmla="*/ 131 w 359"/>
                <a:gd name="T111" fmla="*/ 359 h 394"/>
                <a:gd name="T112" fmla="*/ 86 w 359"/>
                <a:gd name="T113" fmla="*/ 375 h 394"/>
                <a:gd name="T114" fmla="*/ 53 w 359"/>
                <a:gd name="T115" fmla="*/ 39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7" name="Freeform 466">
              <a:extLst>
                <a:ext uri="{FF2B5EF4-FFF2-40B4-BE49-F238E27FC236}">
                  <a16:creationId xmlns:a16="http://schemas.microsoft.com/office/drawing/2014/main" id="{FC78AE07-0C70-4901-BBC0-91A1FA601B24}"/>
                </a:ext>
              </a:extLst>
            </p:cNvPr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6391275" y="3521076"/>
              <a:ext cx="192088" cy="271463"/>
            </a:xfrm>
            <a:custGeom>
              <a:avLst/>
              <a:gdLst>
                <a:gd name="T0" fmla="*/ 410 w 449"/>
                <a:gd name="T1" fmla="*/ 105 h 523"/>
                <a:gd name="T2" fmla="*/ 405 w 449"/>
                <a:gd name="T3" fmla="*/ 98 h 523"/>
                <a:gd name="T4" fmla="*/ 408 w 449"/>
                <a:gd name="T5" fmla="*/ 92 h 523"/>
                <a:gd name="T6" fmla="*/ 422 w 449"/>
                <a:gd name="T7" fmla="*/ 77 h 523"/>
                <a:gd name="T8" fmla="*/ 441 w 449"/>
                <a:gd name="T9" fmla="*/ 60 h 523"/>
                <a:gd name="T10" fmla="*/ 447 w 449"/>
                <a:gd name="T11" fmla="*/ 50 h 523"/>
                <a:gd name="T12" fmla="*/ 449 w 449"/>
                <a:gd name="T13" fmla="*/ 37 h 523"/>
                <a:gd name="T14" fmla="*/ 432 w 449"/>
                <a:gd name="T15" fmla="*/ 34 h 523"/>
                <a:gd name="T16" fmla="*/ 422 w 449"/>
                <a:gd name="T17" fmla="*/ 27 h 523"/>
                <a:gd name="T18" fmla="*/ 411 w 449"/>
                <a:gd name="T19" fmla="*/ 21 h 523"/>
                <a:gd name="T20" fmla="*/ 390 w 449"/>
                <a:gd name="T21" fmla="*/ 18 h 523"/>
                <a:gd name="T22" fmla="*/ 377 w 449"/>
                <a:gd name="T23" fmla="*/ 20 h 523"/>
                <a:gd name="T24" fmla="*/ 368 w 449"/>
                <a:gd name="T25" fmla="*/ 24 h 523"/>
                <a:gd name="T26" fmla="*/ 355 w 449"/>
                <a:gd name="T27" fmla="*/ 37 h 523"/>
                <a:gd name="T28" fmla="*/ 340 w 449"/>
                <a:gd name="T29" fmla="*/ 50 h 523"/>
                <a:gd name="T30" fmla="*/ 326 w 449"/>
                <a:gd name="T31" fmla="*/ 54 h 523"/>
                <a:gd name="T32" fmla="*/ 310 w 449"/>
                <a:gd name="T33" fmla="*/ 55 h 523"/>
                <a:gd name="T34" fmla="*/ 287 w 449"/>
                <a:gd name="T35" fmla="*/ 54 h 523"/>
                <a:gd name="T36" fmla="*/ 267 w 449"/>
                <a:gd name="T37" fmla="*/ 50 h 523"/>
                <a:gd name="T38" fmla="*/ 235 w 449"/>
                <a:gd name="T39" fmla="*/ 36 h 523"/>
                <a:gd name="T40" fmla="*/ 206 w 449"/>
                <a:gd name="T41" fmla="*/ 19 h 523"/>
                <a:gd name="T42" fmla="*/ 189 w 449"/>
                <a:gd name="T43" fmla="*/ 12 h 523"/>
                <a:gd name="T44" fmla="*/ 170 w 449"/>
                <a:gd name="T45" fmla="*/ 6 h 523"/>
                <a:gd name="T46" fmla="*/ 134 w 449"/>
                <a:gd name="T47" fmla="*/ 8 h 523"/>
                <a:gd name="T48" fmla="*/ 119 w 449"/>
                <a:gd name="T49" fmla="*/ 6 h 523"/>
                <a:gd name="T50" fmla="*/ 103 w 449"/>
                <a:gd name="T51" fmla="*/ 0 h 523"/>
                <a:gd name="T52" fmla="*/ 52 w 449"/>
                <a:gd name="T53" fmla="*/ 0 h 523"/>
                <a:gd name="T54" fmla="*/ 5 w 449"/>
                <a:gd name="T55" fmla="*/ 0 h 523"/>
                <a:gd name="T56" fmla="*/ 5 w 449"/>
                <a:gd name="T57" fmla="*/ 18 h 523"/>
                <a:gd name="T58" fmla="*/ 5 w 449"/>
                <a:gd name="T59" fmla="*/ 37 h 523"/>
                <a:gd name="T60" fmla="*/ 15 w 449"/>
                <a:gd name="T61" fmla="*/ 60 h 523"/>
                <a:gd name="T62" fmla="*/ 23 w 449"/>
                <a:gd name="T63" fmla="*/ 91 h 523"/>
                <a:gd name="T64" fmla="*/ 31 w 449"/>
                <a:gd name="T65" fmla="*/ 128 h 523"/>
                <a:gd name="T66" fmla="*/ 38 w 449"/>
                <a:gd name="T67" fmla="*/ 172 h 523"/>
                <a:gd name="T68" fmla="*/ 37 w 449"/>
                <a:gd name="T69" fmla="*/ 206 h 523"/>
                <a:gd name="T70" fmla="*/ 29 w 449"/>
                <a:gd name="T71" fmla="*/ 230 h 523"/>
                <a:gd name="T72" fmla="*/ 7 w 449"/>
                <a:gd name="T73" fmla="*/ 269 h 523"/>
                <a:gd name="T74" fmla="*/ 10 w 449"/>
                <a:gd name="T75" fmla="*/ 321 h 523"/>
                <a:gd name="T76" fmla="*/ 28 w 449"/>
                <a:gd name="T77" fmla="*/ 339 h 523"/>
                <a:gd name="T78" fmla="*/ 84 w 449"/>
                <a:gd name="T79" fmla="*/ 367 h 523"/>
                <a:gd name="T80" fmla="*/ 136 w 449"/>
                <a:gd name="T81" fmla="*/ 396 h 523"/>
                <a:gd name="T82" fmla="*/ 170 w 449"/>
                <a:gd name="T83" fmla="*/ 420 h 523"/>
                <a:gd name="T84" fmla="*/ 189 w 449"/>
                <a:gd name="T85" fmla="*/ 436 h 523"/>
                <a:gd name="T86" fmla="*/ 198 w 449"/>
                <a:gd name="T87" fmla="*/ 451 h 523"/>
                <a:gd name="T88" fmla="*/ 201 w 449"/>
                <a:gd name="T89" fmla="*/ 464 h 523"/>
                <a:gd name="T90" fmla="*/ 209 w 449"/>
                <a:gd name="T91" fmla="*/ 479 h 523"/>
                <a:gd name="T92" fmla="*/ 220 w 449"/>
                <a:gd name="T93" fmla="*/ 492 h 523"/>
                <a:gd name="T94" fmla="*/ 233 w 449"/>
                <a:gd name="T95" fmla="*/ 503 h 523"/>
                <a:gd name="T96" fmla="*/ 247 w 449"/>
                <a:gd name="T97" fmla="*/ 512 h 523"/>
                <a:gd name="T98" fmla="*/ 264 w 449"/>
                <a:gd name="T99" fmla="*/ 519 h 523"/>
                <a:gd name="T100" fmla="*/ 281 w 449"/>
                <a:gd name="T101" fmla="*/ 523 h 523"/>
                <a:gd name="T102" fmla="*/ 304 w 449"/>
                <a:gd name="T103" fmla="*/ 502 h 523"/>
                <a:gd name="T104" fmla="*/ 335 w 449"/>
                <a:gd name="T105" fmla="*/ 462 h 523"/>
                <a:gd name="T106" fmla="*/ 365 w 449"/>
                <a:gd name="T107" fmla="*/ 427 h 523"/>
                <a:gd name="T108" fmla="*/ 394 w 449"/>
                <a:gd name="T109" fmla="*/ 390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8" name="Freeform 467">
              <a:extLst>
                <a:ext uri="{FF2B5EF4-FFF2-40B4-BE49-F238E27FC236}">
                  <a16:creationId xmlns:a16="http://schemas.microsoft.com/office/drawing/2014/main" id="{B94D4DF3-F289-4CD8-8708-A0B7174F2CEF}"/>
                </a:ext>
              </a:extLst>
            </p:cNvPr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6373813" y="2606676"/>
              <a:ext cx="101600" cy="130175"/>
            </a:xfrm>
            <a:custGeom>
              <a:avLst/>
              <a:gdLst>
                <a:gd name="T0" fmla="*/ 12 w 226"/>
                <a:gd name="T1" fmla="*/ 228 h 246"/>
                <a:gd name="T2" fmla="*/ 36 w 226"/>
                <a:gd name="T3" fmla="*/ 240 h 246"/>
                <a:gd name="T4" fmla="*/ 53 w 226"/>
                <a:gd name="T5" fmla="*/ 245 h 246"/>
                <a:gd name="T6" fmla="*/ 68 w 226"/>
                <a:gd name="T7" fmla="*/ 245 h 246"/>
                <a:gd name="T8" fmla="*/ 85 w 226"/>
                <a:gd name="T9" fmla="*/ 241 h 246"/>
                <a:gd name="T10" fmla="*/ 110 w 226"/>
                <a:gd name="T11" fmla="*/ 228 h 246"/>
                <a:gd name="T12" fmla="*/ 141 w 226"/>
                <a:gd name="T13" fmla="*/ 205 h 246"/>
                <a:gd name="T14" fmla="*/ 161 w 226"/>
                <a:gd name="T15" fmla="*/ 184 h 246"/>
                <a:gd name="T16" fmla="*/ 159 w 226"/>
                <a:gd name="T17" fmla="*/ 173 h 246"/>
                <a:gd name="T18" fmla="*/ 149 w 226"/>
                <a:gd name="T19" fmla="*/ 160 h 246"/>
                <a:gd name="T20" fmla="*/ 143 w 226"/>
                <a:gd name="T21" fmla="*/ 145 h 246"/>
                <a:gd name="T22" fmla="*/ 141 w 226"/>
                <a:gd name="T23" fmla="*/ 130 h 246"/>
                <a:gd name="T24" fmla="*/ 141 w 226"/>
                <a:gd name="T25" fmla="*/ 116 h 246"/>
                <a:gd name="T26" fmla="*/ 146 w 226"/>
                <a:gd name="T27" fmla="*/ 105 h 246"/>
                <a:gd name="T28" fmla="*/ 156 w 226"/>
                <a:gd name="T29" fmla="*/ 94 h 246"/>
                <a:gd name="T30" fmla="*/ 168 w 226"/>
                <a:gd name="T31" fmla="*/ 86 h 246"/>
                <a:gd name="T32" fmla="*/ 204 w 226"/>
                <a:gd name="T33" fmla="*/ 71 h 246"/>
                <a:gd name="T34" fmla="*/ 225 w 226"/>
                <a:gd name="T35" fmla="*/ 49 h 246"/>
                <a:gd name="T36" fmla="*/ 221 w 226"/>
                <a:gd name="T37" fmla="*/ 30 h 246"/>
                <a:gd name="T38" fmla="*/ 214 w 226"/>
                <a:gd name="T39" fmla="*/ 17 h 246"/>
                <a:gd name="T40" fmla="*/ 212 w 226"/>
                <a:gd name="T41" fmla="*/ 6 h 246"/>
                <a:gd name="T42" fmla="*/ 202 w 226"/>
                <a:gd name="T43" fmla="*/ 1 h 246"/>
                <a:gd name="T44" fmla="*/ 181 w 226"/>
                <a:gd name="T45" fmla="*/ 7 h 246"/>
                <a:gd name="T46" fmla="*/ 154 w 226"/>
                <a:gd name="T47" fmla="*/ 20 h 246"/>
                <a:gd name="T48" fmla="*/ 121 w 226"/>
                <a:gd name="T49" fmla="*/ 38 h 246"/>
                <a:gd name="T50" fmla="*/ 100 w 226"/>
                <a:gd name="T51" fmla="*/ 51 h 246"/>
                <a:gd name="T52" fmla="*/ 87 w 226"/>
                <a:gd name="T53" fmla="*/ 55 h 246"/>
                <a:gd name="T54" fmla="*/ 75 w 226"/>
                <a:gd name="T55" fmla="*/ 54 h 246"/>
                <a:gd name="T56" fmla="*/ 59 w 226"/>
                <a:gd name="T57" fmla="*/ 47 h 246"/>
                <a:gd name="T58" fmla="*/ 36 w 226"/>
                <a:gd name="T59" fmla="*/ 31 h 246"/>
                <a:gd name="T60" fmla="*/ 24 w 226"/>
                <a:gd name="T61" fmla="*/ 39 h 246"/>
                <a:gd name="T62" fmla="*/ 18 w 226"/>
                <a:gd name="T63" fmla="*/ 95 h 246"/>
                <a:gd name="T64" fmla="*/ 10 w 226"/>
                <a:gd name="T65" fmla="*/ 163 h 246"/>
                <a:gd name="T66" fmla="*/ 3 w 226"/>
                <a:gd name="T67" fmla="*/ 2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09" name="Freeform 468">
              <a:extLst>
                <a:ext uri="{FF2B5EF4-FFF2-40B4-BE49-F238E27FC236}">
                  <a16:creationId xmlns:a16="http://schemas.microsoft.com/office/drawing/2014/main" id="{9263E971-A243-4C05-B4F8-60F74EA59B4D}"/>
                </a:ext>
              </a:extLst>
            </p:cNvPr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6672264" y="2709863"/>
              <a:ext cx="22225" cy="55562"/>
            </a:xfrm>
            <a:custGeom>
              <a:avLst/>
              <a:gdLst>
                <a:gd name="T0" fmla="*/ 27 w 60"/>
                <a:gd name="T1" fmla="*/ 0 h 81"/>
                <a:gd name="T2" fmla="*/ 29 w 60"/>
                <a:gd name="T3" fmla="*/ 2 h 81"/>
                <a:gd name="T4" fmla="*/ 32 w 60"/>
                <a:gd name="T5" fmla="*/ 3 h 81"/>
                <a:gd name="T6" fmla="*/ 36 w 60"/>
                <a:gd name="T7" fmla="*/ 3 h 81"/>
                <a:gd name="T8" fmla="*/ 40 w 60"/>
                <a:gd name="T9" fmla="*/ 2 h 81"/>
                <a:gd name="T10" fmla="*/ 47 w 60"/>
                <a:gd name="T11" fmla="*/ 1 h 81"/>
                <a:gd name="T12" fmla="*/ 53 w 60"/>
                <a:gd name="T13" fmla="*/ 0 h 81"/>
                <a:gd name="T14" fmla="*/ 53 w 60"/>
                <a:gd name="T15" fmla="*/ 26 h 81"/>
                <a:gd name="T16" fmla="*/ 54 w 60"/>
                <a:gd name="T17" fmla="*/ 47 h 81"/>
                <a:gd name="T18" fmla="*/ 54 w 60"/>
                <a:gd name="T19" fmla="*/ 57 h 81"/>
                <a:gd name="T20" fmla="*/ 56 w 60"/>
                <a:gd name="T21" fmla="*/ 65 h 81"/>
                <a:gd name="T22" fmla="*/ 58 w 60"/>
                <a:gd name="T23" fmla="*/ 73 h 81"/>
                <a:gd name="T24" fmla="*/ 60 w 60"/>
                <a:gd name="T25" fmla="*/ 81 h 81"/>
                <a:gd name="T26" fmla="*/ 20 w 60"/>
                <a:gd name="T27" fmla="*/ 81 h 81"/>
                <a:gd name="T28" fmla="*/ 14 w 60"/>
                <a:gd name="T29" fmla="*/ 80 h 81"/>
                <a:gd name="T30" fmla="*/ 7 w 60"/>
                <a:gd name="T31" fmla="*/ 77 h 81"/>
                <a:gd name="T32" fmla="*/ 5 w 60"/>
                <a:gd name="T33" fmla="*/ 74 h 81"/>
                <a:gd name="T34" fmla="*/ 2 w 60"/>
                <a:gd name="T35" fmla="*/ 72 h 81"/>
                <a:gd name="T36" fmla="*/ 1 w 60"/>
                <a:gd name="T37" fmla="*/ 70 h 81"/>
                <a:gd name="T38" fmla="*/ 0 w 60"/>
                <a:gd name="T39" fmla="*/ 68 h 81"/>
                <a:gd name="T40" fmla="*/ 7 w 60"/>
                <a:gd name="T41" fmla="*/ 12 h 81"/>
                <a:gd name="T42" fmla="*/ 20 w 60"/>
                <a:gd name="T43" fmla="*/ 6 h 81"/>
                <a:gd name="T44" fmla="*/ 34 w 60"/>
                <a:gd name="T45" fmla="*/ 0 h 81"/>
                <a:gd name="T46" fmla="*/ 27 w 60"/>
                <a:gd name="T4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0" name="Freeform 469">
              <a:extLst>
                <a:ext uri="{FF2B5EF4-FFF2-40B4-BE49-F238E27FC236}">
                  <a16:creationId xmlns:a16="http://schemas.microsoft.com/office/drawing/2014/main" id="{641ECF01-53E0-4CBD-93AD-F5FCA1B74071}"/>
                </a:ext>
              </a:extLst>
            </p:cNvPr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5959476" y="1844676"/>
              <a:ext cx="161925" cy="66675"/>
            </a:xfrm>
            <a:custGeom>
              <a:avLst/>
              <a:gdLst>
                <a:gd name="T0" fmla="*/ 250 w 370"/>
                <a:gd name="T1" fmla="*/ 117 h 129"/>
                <a:gd name="T2" fmla="*/ 258 w 370"/>
                <a:gd name="T3" fmla="*/ 119 h 129"/>
                <a:gd name="T4" fmla="*/ 277 w 370"/>
                <a:gd name="T5" fmla="*/ 123 h 129"/>
                <a:gd name="T6" fmla="*/ 295 w 370"/>
                <a:gd name="T7" fmla="*/ 127 h 129"/>
                <a:gd name="T8" fmla="*/ 303 w 370"/>
                <a:gd name="T9" fmla="*/ 129 h 129"/>
                <a:gd name="T10" fmla="*/ 370 w 370"/>
                <a:gd name="T11" fmla="*/ 97 h 129"/>
                <a:gd name="T12" fmla="*/ 358 w 370"/>
                <a:gd name="T13" fmla="*/ 75 h 129"/>
                <a:gd name="T14" fmla="*/ 345 w 370"/>
                <a:gd name="T15" fmla="*/ 48 h 129"/>
                <a:gd name="T16" fmla="*/ 335 w 370"/>
                <a:gd name="T17" fmla="*/ 27 h 129"/>
                <a:gd name="T18" fmla="*/ 330 w 370"/>
                <a:gd name="T19" fmla="*/ 18 h 129"/>
                <a:gd name="T20" fmla="*/ 300 w 370"/>
                <a:gd name="T21" fmla="*/ 15 h 129"/>
                <a:gd name="T22" fmla="*/ 257 w 370"/>
                <a:gd name="T23" fmla="*/ 9 h 129"/>
                <a:gd name="T24" fmla="*/ 214 w 370"/>
                <a:gd name="T25" fmla="*/ 2 h 129"/>
                <a:gd name="T26" fmla="*/ 183 w 370"/>
                <a:gd name="T27" fmla="*/ 0 h 129"/>
                <a:gd name="T28" fmla="*/ 179 w 370"/>
                <a:gd name="T29" fmla="*/ 0 h 129"/>
                <a:gd name="T30" fmla="*/ 176 w 370"/>
                <a:gd name="T31" fmla="*/ 1 h 129"/>
                <a:gd name="T32" fmla="*/ 172 w 370"/>
                <a:gd name="T33" fmla="*/ 2 h 129"/>
                <a:gd name="T34" fmla="*/ 170 w 370"/>
                <a:gd name="T35" fmla="*/ 3 h 129"/>
                <a:gd name="T36" fmla="*/ 162 w 370"/>
                <a:gd name="T37" fmla="*/ 7 h 129"/>
                <a:gd name="T38" fmla="*/ 150 w 370"/>
                <a:gd name="T39" fmla="*/ 12 h 129"/>
                <a:gd name="T40" fmla="*/ 147 w 370"/>
                <a:gd name="T41" fmla="*/ 21 h 129"/>
                <a:gd name="T42" fmla="*/ 140 w 370"/>
                <a:gd name="T43" fmla="*/ 35 h 129"/>
                <a:gd name="T44" fmla="*/ 134 w 370"/>
                <a:gd name="T45" fmla="*/ 48 h 129"/>
                <a:gd name="T46" fmla="*/ 131 w 370"/>
                <a:gd name="T47" fmla="*/ 55 h 129"/>
                <a:gd name="T48" fmla="*/ 122 w 370"/>
                <a:gd name="T49" fmla="*/ 54 h 129"/>
                <a:gd name="T50" fmla="*/ 111 w 370"/>
                <a:gd name="T51" fmla="*/ 49 h 129"/>
                <a:gd name="T52" fmla="*/ 98 w 370"/>
                <a:gd name="T53" fmla="*/ 44 h 129"/>
                <a:gd name="T54" fmla="*/ 84 w 370"/>
                <a:gd name="T55" fmla="*/ 38 h 129"/>
                <a:gd name="T56" fmla="*/ 60 w 370"/>
                <a:gd name="T57" fmla="*/ 26 h 129"/>
                <a:gd name="T58" fmla="*/ 44 w 370"/>
                <a:gd name="T59" fmla="*/ 18 h 129"/>
                <a:gd name="T60" fmla="*/ 32 w 370"/>
                <a:gd name="T61" fmla="*/ 25 h 129"/>
                <a:gd name="T62" fmla="*/ 21 w 370"/>
                <a:gd name="T63" fmla="*/ 33 h 129"/>
                <a:gd name="T64" fmla="*/ 16 w 370"/>
                <a:gd name="T65" fmla="*/ 37 h 129"/>
                <a:gd name="T66" fmla="*/ 12 w 370"/>
                <a:gd name="T67" fmla="*/ 41 h 129"/>
                <a:gd name="T68" fmla="*/ 9 w 370"/>
                <a:gd name="T69" fmla="*/ 46 h 129"/>
                <a:gd name="T70" fmla="*/ 5 w 370"/>
                <a:gd name="T71" fmla="*/ 52 h 129"/>
                <a:gd name="T72" fmla="*/ 3 w 370"/>
                <a:gd name="T73" fmla="*/ 57 h 129"/>
                <a:gd name="T74" fmla="*/ 1 w 370"/>
                <a:gd name="T75" fmla="*/ 63 h 129"/>
                <a:gd name="T76" fmla="*/ 0 w 370"/>
                <a:gd name="T77" fmla="*/ 69 h 129"/>
                <a:gd name="T78" fmla="*/ 0 w 370"/>
                <a:gd name="T79" fmla="*/ 75 h 129"/>
                <a:gd name="T80" fmla="*/ 1 w 370"/>
                <a:gd name="T81" fmla="*/ 82 h 129"/>
                <a:gd name="T82" fmla="*/ 3 w 370"/>
                <a:gd name="T83" fmla="*/ 88 h 129"/>
                <a:gd name="T84" fmla="*/ 6 w 370"/>
                <a:gd name="T85" fmla="*/ 96 h 129"/>
                <a:gd name="T86" fmla="*/ 11 w 370"/>
                <a:gd name="T87" fmla="*/ 103 h 129"/>
                <a:gd name="T88" fmla="*/ 20 w 370"/>
                <a:gd name="T89" fmla="*/ 101 h 129"/>
                <a:gd name="T90" fmla="*/ 33 w 370"/>
                <a:gd name="T91" fmla="*/ 99 h 129"/>
                <a:gd name="T92" fmla="*/ 50 w 370"/>
                <a:gd name="T93" fmla="*/ 97 h 129"/>
                <a:gd name="T94" fmla="*/ 69 w 370"/>
                <a:gd name="T95" fmla="*/ 95 h 129"/>
                <a:gd name="T96" fmla="*/ 102 w 370"/>
                <a:gd name="T97" fmla="*/ 92 h 129"/>
                <a:gd name="T98" fmla="*/ 117 w 370"/>
                <a:gd name="T99" fmla="*/ 91 h 129"/>
                <a:gd name="T100" fmla="*/ 137 w 370"/>
                <a:gd name="T101" fmla="*/ 92 h 129"/>
                <a:gd name="T102" fmla="*/ 152 w 370"/>
                <a:gd name="T103" fmla="*/ 94 h 129"/>
                <a:gd name="T104" fmla="*/ 166 w 370"/>
                <a:gd name="T105" fmla="*/ 97 h 129"/>
                <a:gd name="T106" fmla="*/ 177 w 370"/>
                <a:gd name="T107" fmla="*/ 100 h 129"/>
                <a:gd name="T108" fmla="*/ 189 w 370"/>
                <a:gd name="T109" fmla="*/ 104 h 129"/>
                <a:gd name="T110" fmla="*/ 201 w 370"/>
                <a:gd name="T111" fmla="*/ 108 h 129"/>
                <a:gd name="T112" fmla="*/ 217 w 370"/>
                <a:gd name="T113" fmla="*/ 110 h 129"/>
                <a:gd name="T114" fmla="*/ 237 w 370"/>
                <a:gd name="T115" fmla="*/ 111 h 129"/>
                <a:gd name="T116" fmla="*/ 237 w 370"/>
                <a:gd name="T117" fmla="*/ 117 h 129"/>
                <a:gd name="T118" fmla="*/ 250 w 370"/>
                <a:gd name="T119" fmla="*/ 11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11" name="Freeform 470">
              <a:extLst>
                <a:ext uri="{FF2B5EF4-FFF2-40B4-BE49-F238E27FC236}">
                  <a16:creationId xmlns:a16="http://schemas.microsoft.com/office/drawing/2014/main" id="{DCC95158-1927-4378-9B4A-9EA047AC135B}"/>
                </a:ext>
              </a:extLst>
            </p:cNvPr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6370638" y="2565400"/>
              <a:ext cx="30162" cy="57150"/>
            </a:xfrm>
            <a:custGeom>
              <a:avLst/>
              <a:gdLst>
                <a:gd name="T0" fmla="*/ 27 w 80"/>
                <a:gd name="T1" fmla="*/ 1 h 94"/>
                <a:gd name="T2" fmla="*/ 34 w 80"/>
                <a:gd name="T3" fmla="*/ 0 h 94"/>
                <a:gd name="T4" fmla="*/ 41 w 80"/>
                <a:gd name="T5" fmla="*/ 0 h 94"/>
                <a:gd name="T6" fmla="*/ 47 w 80"/>
                <a:gd name="T7" fmla="*/ 2 h 94"/>
                <a:gd name="T8" fmla="*/ 54 w 80"/>
                <a:gd name="T9" fmla="*/ 4 h 94"/>
                <a:gd name="T10" fmla="*/ 60 w 80"/>
                <a:gd name="T11" fmla="*/ 6 h 94"/>
                <a:gd name="T12" fmla="*/ 66 w 80"/>
                <a:gd name="T13" fmla="*/ 8 h 94"/>
                <a:gd name="T14" fmla="*/ 73 w 80"/>
                <a:gd name="T15" fmla="*/ 8 h 94"/>
                <a:gd name="T16" fmla="*/ 80 w 80"/>
                <a:gd name="T17" fmla="*/ 7 h 94"/>
                <a:gd name="T18" fmla="*/ 80 w 80"/>
                <a:gd name="T19" fmla="*/ 38 h 94"/>
                <a:gd name="T20" fmla="*/ 75 w 80"/>
                <a:gd name="T21" fmla="*/ 44 h 94"/>
                <a:gd name="T22" fmla="*/ 69 w 80"/>
                <a:gd name="T23" fmla="*/ 51 h 94"/>
                <a:gd name="T24" fmla="*/ 64 w 80"/>
                <a:gd name="T25" fmla="*/ 59 h 94"/>
                <a:gd name="T26" fmla="*/ 58 w 80"/>
                <a:gd name="T27" fmla="*/ 68 h 94"/>
                <a:gd name="T28" fmla="*/ 51 w 80"/>
                <a:gd name="T29" fmla="*/ 84 h 94"/>
                <a:gd name="T30" fmla="*/ 47 w 80"/>
                <a:gd name="T31" fmla="*/ 94 h 94"/>
                <a:gd name="T32" fmla="*/ 43 w 80"/>
                <a:gd name="T33" fmla="*/ 93 h 94"/>
                <a:gd name="T34" fmla="*/ 40 w 80"/>
                <a:gd name="T35" fmla="*/ 92 h 94"/>
                <a:gd name="T36" fmla="*/ 37 w 80"/>
                <a:gd name="T37" fmla="*/ 91 h 94"/>
                <a:gd name="T38" fmla="*/ 34 w 80"/>
                <a:gd name="T39" fmla="*/ 89 h 94"/>
                <a:gd name="T40" fmla="*/ 29 w 80"/>
                <a:gd name="T41" fmla="*/ 84 h 94"/>
                <a:gd name="T42" fmla="*/ 23 w 80"/>
                <a:gd name="T43" fmla="*/ 78 h 94"/>
                <a:gd name="T44" fmla="*/ 19 w 80"/>
                <a:gd name="T45" fmla="*/ 72 h 94"/>
                <a:gd name="T46" fmla="*/ 13 w 80"/>
                <a:gd name="T47" fmla="*/ 65 h 94"/>
                <a:gd name="T48" fmla="*/ 7 w 80"/>
                <a:gd name="T49" fmla="*/ 60 h 94"/>
                <a:gd name="T50" fmla="*/ 0 w 80"/>
                <a:gd name="T51" fmla="*/ 56 h 94"/>
                <a:gd name="T52" fmla="*/ 8 w 80"/>
                <a:gd name="T53" fmla="*/ 41 h 94"/>
                <a:gd name="T54" fmla="*/ 13 w 80"/>
                <a:gd name="T55" fmla="*/ 29 h 94"/>
                <a:gd name="T56" fmla="*/ 19 w 80"/>
                <a:gd name="T57" fmla="*/ 17 h 94"/>
                <a:gd name="T58" fmla="*/ 27 w 80"/>
                <a:gd name="T59" fmla="*/ 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2" name="Freeform 471">
              <a:extLst>
                <a:ext uri="{FF2B5EF4-FFF2-40B4-BE49-F238E27FC236}">
                  <a16:creationId xmlns:a16="http://schemas.microsoft.com/office/drawing/2014/main" id="{A3BE729D-E6A7-437E-BBA0-7D85A4A37AF4}"/>
                </a:ext>
              </a:extLst>
            </p:cNvPr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6186488" y="4576763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3" name="Freeform 472">
              <a:extLst>
                <a:ext uri="{FF2B5EF4-FFF2-40B4-BE49-F238E27FC236}">
                  <a16:creationId xmlns:a16="http://schemas.microsoft.com/office/drawing/2014/main" id="{C9CB7082-4D96-4EE4-B2E5-B0DAD579D83A}"/>
                </a:ext>
              </a:extLst>
            </p:cNvPr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5957888" y="1892300"/>
              <a:ext cx="131762" cy="84138"/>
            </a:xfrm>
            <a:custGeom>
              <a:avLst/>
              <a:gdLst>
                <a:gd name="T0" fmla="*/ 192 w 312"/>
                <a:gd name="T1" fmla="*/ 155 h 155"/>
                <a:gd name="T2" fmla="*/ 194 w 312"/>
                <a:gd name="T3" fmla="*/ 151 h 155"/>
                <a:gd name="T4" fmla="*/ 197 w 312"/>
                <a:gd name="T5" fmla="*/ 148 h 155"/>
                <a:gd name="T6" fmla="*/ 200 w 312"/>
                <a:gd name="T7" fmla="*/ 145 h 155"/>
                <a:gd name="T8" fmla="*/ 203 w 312"/>
                <a:gd name="T9" fmla="*/ 142 h 155"/>
                <a:gd name="T10" fmla="*/ 211 w 312"/>
                <a:gd name="T11" fmla="*/ 137 h 155"/>
                <a:gd name="T12" fmla="*/ 220 w 312"/>
                <a:gd name="T13" fmla="*/ 132 h 155"/>
                <a:gd name="T14" fmla="*/ 238 w 312"/>
                <a:gd name="T15" fmla="*/ 123 h 155"/>
                <a:gd name="T16" fmla="*/ 253 w 312"/>
                <a:gd name="T17" fmla="*/ 117 h 155"/>
                <a:gd name="T18" fmla="*/ 255 w 312"/>
                <a:gd name="T19" fmla="*/ 109 h 155"/>
                <a:gd name="T20" fmla="*/ 260 w 312"/>
                <a:gd name="T21" fmla="*/ 97 h 155"/>
                <a:gd name="T22" fmla="*/ 264 w 312"/>
                <a:gd name="T23" fmla="*/ 91 h 155"/>
                <a:gd name="T24" fmla="*/ 267 w 312"/>
                <a:gd name="T25" fmla="*/ 86 h 155"/>
                <a:gd name="T26" fmla="*/ 269 w 312"/>
                <a:gd name="T27" fmla="*/ 82 h 155"/>
                <a:gd name="T28" fmla="*/ 272 w 312"/>
                <a:gd name="T29" fmla="*/ 81 h 155"/>
                <a:gd name="T30" fmla="*/ 312 w 312"/>
                <a:gd name="T31" fmla="*/ 44 h 155"/>
                <a:gd name="T32" fmla="*/ 312 w 312"/>
                <a:gd name="T33" fmla="*/ 39 h 155"/>
                <a:gd name="T34" fmla="*/ 310 w 312"/>
                <a:gd name="T35" fmla="*/ 35 h 155"/>
                <a:gd name="T36" fmla="*/ 306 w 312"/>
                <a:gd name="T37" fmla="*/ 32 h 155"/>
                <a:gd name="T38" fmla="*/ 302 w 312"/>
                <a:gd name="T39" fmla="*/ 30 h 155"/>
                <a:gd name="T40" fmla="*/ 291 w 312"/>
                <a:gd name="T41" fmla="*/ 28 h 155"/>
                <a:gd name="T42" fmla="*/ 280 w 312"/>
                <a:gd name="T43" fmla="*/ 27 h 155"/>
                <a:gd name="T44" fmla="*/ 268 w 312"/>
                <a:gd name="T45" fmla="*/ 27 h 155"/>
                <a:gd name="T46" fmla="*/ 259 w 312"/>
                <a:gd name="T47" fmla="*/ 27 h 155"/>
                <a:gd name="T48" fmla="*/ 256 w 312"/>
                <a:gd name="T49" fmla="*/ 26 h 155"/>
                <a:gd name="T50" fmla="*/ 253 w 312"/>
                <a:gd name="T51" fmla="*/ 25 h 155"/>
                <a:gd name="T52" fmla="*/ 252 w 312"/>
                <a:gd name="T53" fmla="*/ 23 h 155"/>
                <a:gd name="T54" fmla="*/ 253 w 312"/>
                <a:gd name="T55" fmla="*/ 20 h 155"/>
                <a:gd name="T56" fmla="*/ 232 w 312"/>
                <a:gd name="T57" fmla="*/ 19 h 155"/>
                <a:gd name="T58" fmla="*/ 216 w 312"/>
                <a:gd name="T59" fmla="*/ 17 h 155"/>
                <a:gd name="T60" fmla="*/ 202 w 312"/>
                <a:gd name="T61" fmla="*/ 13 h 155"/>
                <a:gd name="T62" fmla="*/ 189 w 312"/>
                <a:gd name="T63" fmla="*/ 9 h 155"/>
                <a:gd name="T64" fmla="*/ 177 w 312"/>
                <a:gd name="T65" fmla="*/ 6 h 155"/>
                <a:gd name="T66" fmla="*/ 163 w 312"/>
                <a:gd name="T67" fmla="*/ 3 h 155"/>
                <a:gd name="T68" fmla="*/ 146 w 312"/>
                <a:gd name="T69" fmla="*/ 1 h 155"/>
                <a:gd name="T70" fmla="*/ 126 w 312"/>
                <a:gd name="T71" fmla="*/ 0 h 155"/>
                <a:gd name="T72" fmla="*/ 110 w 312"/>
                <a:gd name="T73" fmla="*/ 1 h 155"/>
                <a:gd name="T74" fmla="*/ 74 w 312"/>
                <a:gd name="T75" fmla="*/ 4 h 155"/>
                <a:gd name="T76" fmla="*/ 53 w 312"/>
                <a:gd name="T77" fmla="*/ 6 h 155"/>
                <a:gd name="T78" fmla="*/ 34 w 312"/>
                <a:gd name="T79" fmla="*/ 8 h 155"/>
                <a:gd name="T80" fmla="*/ 18 w 312"/>
                <a:gd name="T81" fmla="*/ 10 h 155"/>
                <a:gd name="T82" fmla="*/ 7 w 312"/>
                <a:gd name="T83" fmla="*/ 12 h 155"/>
                <a:gd name="T84" fmla="*/ 9 w 312"/>
                <a:gd name="T85" fmla="*/ 17 h 155"/>
                <a:gd name="T86" fmla="*/ 11 w 312"/>
                <a:gd name="T87" fmla="*/ 19 h 155"/>
                <a:gd name="T88" fmla="*/ 13 w 312"/>
                <a:gd name="T89" fmla="*/ 19 h 155"/>
                <a:gd name="T90" fmla="*/ 15 w 312"/>
                <a:gd name="T91" fmla="*/ 20 h 155"/>
                <a:gd name="T92" fmla="*/ 18 w 312"/>
                <a:gd name="T93" fmla="*/ 20 h 155"/>
                <a:gd name="T94" fmla="*/ 19 w 312"/>
                <a:gd name="T95" fmla="*/ 20 h 155"/>
                <a:gd name="T96" fmla="*/ 20 w 312"/>
                <a:gd name="T97" fmla="*/ 22 h 155"/>
                <a:gd name="T98" fmla="*/ 20 w 312"/>
                <a:gd name="T99" fmla="*/ 26 h 155"/>
                <a:gd name="T100" fmla="*/ 20 w 312"/>
                <a:gd name="T101" fmla="*/ 30 h 155"/>
                <a:gd name="T102" fmla="*/ 19 w 312"/>
                <a:gd name="T103" fmla="*/ 35 h 155"/>
                <a:gd name="T104" fmla="*/ 18 w 312"/>
                <a:gd name="T105" fmla="*/ 39 h 155"/>
                <a:gd name="T106" fmla="*/ 15 w 312"/>
                <a:gd name="T107" fmla="*/ 42 h 155"/>
                <a:gd name="T108" fmla="*/ 12 w 312"/>
                <a:gd name="T109" fmla="*/ 45 h 155"/>
                <a:gd name="T110" fmla="*/ 9 w 312"/>
                <a:gd name="T111" fmla="*/ 48 h 155"/>
                <a:gd name="T112" fmla="*/ 4 w 312"/>
                <a:gd name="T113" fmla="*/ 49 h 155"/>
                <a:gd name="T114" fmla="*/ 0 w 312"/>
                <a:gd name="T115" fmla="*/ 50 h 155"/>
                <a:gd name="T116" fmla="*/ 74 w 312"/>
                <a:gd name="T117" fmla="*/ 68 h 155"/>
                <a:gd name="T118" fmla="*/ 87 w 312"/>
                <a:gd name="T119" fmla="*/ 111 h 155"/>
                <a:gd name="T120" fmla="*/ 166 w 312"/>
                <a:gd name="T121" fmla="*/ 123 h 155"/>
                <a:gd name="T122" fmla="*/ 192 w 312"/>
                <a:gd name="T123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14" name="Freeform 473">
              <a:extLst>
                <a:ext uri="{FF2B5EF4-FFF2-40B4-BE49-F238E27FC236}">
                  <a16:creationId xmlns:a16="http://schemas.microsoft.com/office/drawing/2014/main" id="{A29E5098-E1BE-4A50-ACC5-7A8D99C4354C}"/>
                </a:ext>
              </a:extLst>
            </p:cNvPr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5664200" y="2078039"/>
              <a:ext cx="19050" cy="60325"/>
            </a:xfrm>
            <a:custGeom>
              <a:avLst/>
              <a:gdLst>
                <a:gd name="T0" fmla="*/ 0 w 46"/>
                <a:gd name="T1" fmla="*/ 25 h 50"/>
                <a:gd name="T2" fmla="*/ 2 w 46"/>
                <a:gd name="T3" fmla="*/ 18 h 50"/>
                <a:gd name="T4" fmla="*/ 1 w 46"/>
                <a:gd name="T5" fmla="*/ 14 h 50"/>
                <a:gd name="T6" fmla="*/ 2 w 46"/>
                <a:gd name="T7" fmla="*/ 13 h 50"/>
                <a:gd name="T8" fmla="*/ 3 w 46"/>
                <a:gd name="T9" fmla="*/ 13 h 50"/>
                <a:gd name="T10" fmla="*/ 6 w 46"/>
                <a:gd name="T11" fmla="*/ 12 h 50"/>
                <a:gd name="T12" fmla="*/ 13 w 46"/>
                <a:gd name="T13" fmla="*/ 12 h 50"/>
                <a:gd name="T14" fmla="*/ 46 w 46"/>
                <a:gd name="T15" fmla="*/ 0 h 50"/>
                <a:gd name="T16" fmla="*/ 46 w 46"/>
                <a:gd name="T17" fmla="*/ 50 h 50"/>
                <a:gd name="T18" fmla="*/ 40 w 46"/>
                <a:gd name="T19" fmla="*/ 49 h 50"/>
                <a:gd name="T20" fmla="*/ 33 w 46"/>
                <a:gd name="T21" fmla="*/ 45 h 50"/>
                <a:gd name="T22" fmla="*/ 25 w 46"/>
                <a:gd name="T23" fmla="*/ 41 h 50"/>
                <a:gd name="T24" fmla="*/ 17 w 46"/>
                <a:gd name="T25" fmla="*/ 37 h 50"/>
                <a:gd name="T26" fmla="*/ 5 w 46"/>
                <a:gd name="T27" fmla="*/ 28 h 50"/>
                <a:gd name="T28" fmla="*/ 0 w 46"/>
                <a:gd name="T29" fmla="*/ 2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15" name="Freeform 474">
              <a:extLst>
                <a:ext uri="{FF2B5EF4-FFF2-40B4-BE49-F238E27FC236}">
                  <a16:creationId xmlns:a16="http://schemas.microsoft.com/office/drawing/2014/main" id="{1C717D6F-9190-48AE-B522-8D234D77B91E}"/>
                </a:ext>
              </a:extLst>
            </p:cNvPr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6361113" y="3962400"/>
              <a:ext cx="69850" cy="241300"/>
            </a:xfrm>
            <a:custGeom>
              <a:avLst/>
              <a:gdLst>
                <a:gd name="T0" fmla="*/ 10 w 166"/>
                <a:gd name="T1" fmla="*/ 282 h 456"/>
                <a:gd name="T2" fmla="*/ 19 w 166"/>
                <a:gd name="T3" fmla="*/ 290 h 456"/>
                <a:gd name="T4" fmla="*/ 37 w 166"/>
                <a:gd name="T5" fmla="*/ 300 h 456"/>
                <a:gd name="T6" fmla="*/ 58 w 166"/>
                <a:gd name="T7" fmla="*/ 306 h 456"/>
                <a:gd name="T8" fmla="*/ 70 w 166"/>
                <a:gd name="T9" fmla="*/ 312 h 456"/>
                <a:gd name="T10" fmla="*/ 80 w 166"/>
                <a:gd name="T11" fmla="*/ 320 h 456"/>
                <a:gd name="T12" fmla="*/ 86 w 166"/>
                <a:gd name="T13" fmla="*/ 331 h 456"/>
                <a:gd name="T14" fmla="*/ 86 w 166"/>
                <a:gd name="T15" fmla="*/ 347 h 456"/>
                <a:gd name="T16" fmla="*/ 78 w 166"/>
                <a:gd name="T17" fmla="*/ 363 h 456"/>
                <a:gd name="T18" fmla="*/ 68 w 166"/>
                <a:gd name="T19" fmla="*/ 375 h 456"/>
                <a:gd name="T20" fmla="*/ 62 w 166"/>
                <a:gd name="T21" fmla="*/ 388 h 456"/>
                <a:gd name="T22" fmla="*/ 60 w 166"/>
                <a:gd name="T23" fmla="*/ 400 h 456"/>
                <a:gd name="T24" fmla="*/ 64 w 166"/>
                <a:gd name="T25" fmla="*/ 411 h 456"/>
                <a:gd name="T26" fmla="*/ 76 w 166"/>
                <a:gd name="T27" fmla="*/ 424 h 456"/>
                <a:gd name="T28" fmla="*/ 104 w 166"/>
                <a:gd name="T29" fmla="*/ 445 h 456"/>
                <a:gd name="T30" fmla="*/ 120 w 166"/>
                <a:gd name="T31" fmla="*/ 443 h 456"/>
                <a:gd name="T32" fmla="*/ 120 w 166"/>
                <a:gd name="T33" fmla="*/ 423 h 456"/>
                <a:gd name="T34" fmla="*/ 131 w 166"/>
                <a:gd name="T35" fmla="*/ 413 h 456"/>
                <a:gd name="T36" fmla="*/ 145 w 166"/>
                <a:gd name="T37" fmla="*/ 407 h 456"/>
                <a:gd name="T38" fmla="*/ 153 w 166"/>
                <a:gd name="T39" fmla="*/ 402 h 456"/>
                <a:gd name="T40" fmla="*/ 160 w 166"/>
                <a:gd name="T41" fmla="*/ 393 h 456"/>
                <a:gd name="T42" fmla="*/ 166 w 166"/>
                <a:gd name="T43" fmla="*/ 375 h 456"/>
                <a:gd name="T44" fmla="*/ 165 w 166"/>
                <a:gd name="T45" fmla="*/ 350 h 456"/>
                <a:gd name="T46" fmla="*/ 158 w 166"/>
                <a:gd name="T47" fmla="*/ 328 h 456"/>
                <a:gd name="T48" fmla="*/ 148 w 166"/>
                <a:gd name="T49" fmla="*/ 307 h 456"/>
                <a:gd name="T50" fmla="*/ 141 w 166"/>
                <a:gd name="T51" fmla="*/ 284 h 456"/>
                <a:gd name="T52" fmla="*/ 135 w 166"/>
                <a:gd name="T53" fmla="*/ 269 h 456"/>
                <a:gd name="T54" fmla="*/ 118 w 166"/>
                <a:gd name="T55" fmla="*/ 251 h 456"/>
                <a:gd name="T56" fmla="*/ 97 w 166"/>
                <a:gd name="T57" fmla="*/ 224 h 456"/>
                <a:gd name="T58" fmla="*/ 85 w 166"/>
                <a:gd name="T59" fmla="*/ 206 h 456"/>
                <a:gd name="T60" fmla="*/ 80 w 166"/>
                <a:gd name="T61" fmla="*/ 195 h 456"/>
                <a:gd name="T62" fmla="*/ 81 w 166"/>
                <a:gd name="T63" fmla="*/ 177 h 456"/>
                <a:gd name="T64" fmla="*/ 88 w 166"/>
                <a:gd name="T65" fmla="*/ 147 h 456"/>
                <a:gd name="T66" fmla="*/ 96 w 166"/>
                <a:gd name="T67" fmla="*/ 129 h 456"/>
                <a:gd name="T68" fmla="*/ 98 w 166"/>
                <a:gd name="T69" fmla="*/ 113 h 456"/>
                <a:gd name="T70" fmla="*/ 95 w 166"/>
                <a:gd name="T71" fmla="*/ 82 h 456"/>
                <a:gd name="T72" fmla="*/ 92 w 166"/>
                <a:gd name="T73" fmla="*/ 45 h 456"/>
                <a:gd name="T74" fmla="*/ 89 w 166"/>
                <a:gd name="T75" fmla="*/ 18 h 456"/>
                <a:gd name="T76" fmla="*/ 71 w 166"/>
                <a:gd name="T77" fmla="*/ 8 h 456"/>
                <a:gd name="T78" fmla="*/ 33 w 166"/>
                <a:gd name="T79" fmla="*/ 4 h 456"/>
                <a:gd name="T80" fmla="*/ 12 w 166"/>
                <a:gd name="T81" fmla="*/ 10 h 456"/>
                <a:gd name="T82" fmla="*/ 22 w 166"/>
                <a:gd name="T83" fmla="*/ 25 h 456"/>
                <a:gd name="T84" fmla="*/ 33 w 166"/>
                <a:gd name="T85" fmla="*/ 30 h 456"/>
                <a:gd name="T86" fmla="*/ 40 w 166"/>
                <a:gd name="T87" fmla="*/ 44 h 456"/>
                <a:gd name="T88" fmla="*/ 40 w 166"/>
                <a:gd name="T89" fmla="*/ 64 h 456"/>
                <a:gd name="T90" fmla="*/ 40 w 166"/>
                <a:gd name="T91" fmla="*/ 78 h 456"/>
                <a:gd name="T92" fmla="*/ 36 w 166"/>
                <a:gd name="T93" fmla="*/ 85 h 456"/>
                <a:gd name="T94" fmla="*/ 29 w 166"/>
                <a:gd name="T95" fmla="*/ 95 h 456"/>
                <a:gd name="T96" fmla="*/ 15 w 166"/>
                <a:gd name="T97" fmla="*/ 109 h 456"/>
                <a:gd name="T98" fmla="*/ 3 w 166"/>
                <a:gd name="T99" fmla="*/ 122 h 456"/>
                <a:gd name="T100" fmla="*/ 7 w 166"/>
                <a:gd name="T101" fmla="*/ 277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6" name="Freeform 475">
              <a:extLst>
                <a:ext uri="{FF2B5EF4-FFF2-40B4-BE49-F238E27FC236}">
                  <a16:creationId xmlns:a16="http://schemas.microsoft.com/office/drawing/2014/main" id="{BE1694A6-0BFA-434E-B804-6F21422F6931}"/>
                </a:ext>
              </a:extLst>
            </p:cNvPr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5853114" y="2533650"/>
              <a:ext cx="14287" cy="57150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7" name="Freeform 476">
              <a:extLst>
                <a:ext uri="{FF2B5EF4-FFF2-40B4-BE49-F238E27FC236}">
                  <a16:creationId xmlns:a16="http://schemas.microsoft.com/office/drawing/2014/main" id="{8BC7BAC4-5305-42A3-A382-6D03E5155B55}"/>
                </a:ext>
              </a:extLst>
            </p:cNvPr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6172201" y="4154489"/>
              <a:ext cx="188913" cy="217487"/>
            </a:xfrm>
            <a:custGeom>
              <a:avLst/>
              <a:gdLst>
                <a:gd name="T0" fmla="*/ 284 w 438"/>
                <a:gd name="T1" fmla="*/ 8 h 406"/>
                <a:gd name="T2" fmla="*/ 320 w 438"/>
                <a:gd name="T3" fmla="*/ 27 h 406"/>
                <a:gd name="T4" fmla="*/ 363 w 438"/>
                <a:gd name="T5" fmla="*/ 47 h 406"/>
                <a:gd name="T6" fmla="*/ 395 w 438"/>
                <a:gd name="T7" fmla="*/ 58 h 406"/>
                <a:gd name="T8" fmla="*/ 416 w 438"/>
                <a:gd name="T9" fmla="*/ 61 h 406"/>
                <a:gd name="T10" fmla="*/ 425 w 438"/>
                <a:gd name="T11" fmla="*/ 81 h 406"/>
                <a:gd name="T12" fmla="*/ 429 w 438"/>
                <a:gd name="T13" fmla="*/ 120 h 406"/>
                <a:gd name="T14" fmla="*/ 434 w 438"/>
                <a:gd name="T15" fmla="*/ 157 h 406"/>
                <a:gd name="T16" fmla="*/ 438 w 438"/>
                <a:gd name="T17" fmla="*/ 195 h 406"/>
                <a:gd name="T18" fmla="*/ 438 w 438"/>
                <a:gd name="T19" fmla="*/ 223 h 406"/>
                <a:gd name="T20" fmla="*/ 435 w 438"/>
                <a:gd name="T21" fmla="*/ 237 h 406"/>
                <a:gd name="T22" fmla="*/ 425 w 438"/>
                <a:gd name="T23" fmla="*/ 259 h 406"/>
                <a:gd name="T24" fmla="*/ 407 w 438"/>
                <a:gd name="T25" fmla="*/ 287 h 406"/>
                <a:gd name="T26" fmla="*/ 391 w 438"/>
                <a:gd name="T27" fmla="*/ 307 h 406"/>
                <a:gd name="T28" fmla="*/ 381 w 438"/>
                <a:gd name="T29" fmla="*/ 320 h 406"/>
                <a:gd name="T30" fmla="*/ 374 w 438"/>
                <a:gd name="T31" fmla="*/ 332 h 406"/>
                <a:gd name="T32" fmla="*/ 372 w 438"/>
                <a:gd name="T33" fmla="*/ 352 h 406"/>
                <a:gd name="T34" fmla="*/ 359 w 438"/>
                <a:gd name="T35" fmla="*/ 372 h 406"/>
                <a:gd name="T36" fmla="*/ 321 w 438"/>
                <a:gd name="T37" fmla="*/ 401 h 406"/>
                <a:gd name="T38" fmla="*/ 205 w 438"/>
                <a:gd name="T39" fmla="*/ 388 h 406"/>
                <a:gd name="T40" fmla="*/ 182 w 438"/>
                <a:gd name="T41" fmla="*/ 379 h 406"/>
                <a:gd name="T42" fmla="*/ 165 w 438"/>
                <a:gd name="T43" fmla="*/ 370 h 406"/>
                <a:gd name="T44" fmla="*/ 150 w 438"/>
                <a:gd name="T45" fmla="*/ 359 h 406"/>
                <a:gd name="T46" fmla="*/ 139 w 438"/>
                <a:gd name="T47" fmla="*/ 346 h 406"/>
                <a:gd name="T48" fmla="*/ 124 w 438"/>
                <a:gd name="T49" fmla="*/ 322 h 406"/>
                <a:gd name="T50" fmla="*/ 108 w 438"/>
                <a:gd name="T51" fmla="*/ 296 h 406"/>
                <a:gd name="T52" fmla="*/ 94 w 438"/>
                <a:gd name="T53" fmla="*/ 279 h 406"/>
                <a:gd name="T54" fmla="*/ 72 w 438"/>
                <a:gd name="T55" fmla="*/ 259 h 406"/>
                <a:gd name="T56" fmla="*/ 44 w 438"/>
                <a:gd name="T57" fmla="*/ 234 h 406"/>
                <a:gd name="T58" fmla="*/ 24 w 438"/>
                <a:gd name="T59" fmla="*/ 213 h 406"/>
                <a:gd name="T60" fmla="*/ 13 w 438"/>
                <a:gd name="T61" fmla="*/ 195 h 406"/>
                <a:gd name="T62" fmla="*/ 4 w 438"/>
                <a:gd name="T63" fmla="*/ 176 h 406"/>
                <a:gd name="T64" fmla="*/ 0 w 438"/>
                <a:gd name="T65" fmla="*/ 154 h 406"/>
                <a:gd name="T66" fmla="*/ 18 w 438"/>
                <a:gd name="T67" fmla="*/ 141 h 406"/>
                <a:gd name="T68" fmla="*/ 40 w 438"/>
                <a:gd name="T69" fmla="*/ 141 h 406"/>
                <a:gd name="T70" fmla="*/ 53 w 438"/>
                <a:gd name="T71" fmla="*/ 141 h 406"/>
                <a:gd name="T72" fmla="*/ 63 w 438"/>
                <a:gd name="T73" fmla="*/ 138 h 406"/>
                <a:gd name="T74" fmla="*/ 77 w 438"/>
                <a:gd name="T75" fmla="*/ 131 h 406"/>
                <a:gd name="T76" fmla="*/ 99 w 438"/>
                <a:gd name="T77" fmla="*/ 108 h 406"/>
                <a:gd name="T78" fmla="*/ 117 w 438"/>
                <a:gd name="T79" fmla="*/ 87 h 406"/>
                <a:gd name="T80" fmla="*/ 130 w 438"/>
                <a:gd name="T81" fmla="*/ 80 h 406"/>
                <a:gd name="T82" fmla="*/ 150 w 438"/>
                <a:gd name="T83" fmla="*/ 71 h 406"/>
                <a:gd name="T84" fmla="*/ 179 w 438"/>
                <a:gd name="T85" fmla="*/ 60 h 406"/>
                <a:gd name="T86" fmla="*/ 203 w 438"/>
                <a:gd name="T87" fmla="*/ 50 h 406"/>
                <a:gd name="T88" fmla="*/ 211 w 438"/>
                <a:gd name="T89" fmla="*/ 43 h 406"/>
                <a:gd name="T90" fmla="*/ 210 w 438"/>
                <a:gd name="T91" fmla="*/ 38 h 406"/>
                <a:gd name="T92" fmla="*/ 211 w 438"/>
                <a:gd name="T93" fmla="*/ 30 h 406"/>
                <a:gd name="T94" fmla="*/ 213 w 438"/>
                <a:gd name="T95" fmla="*/ 17 h 406"/>
                <a:gd name="T96" fmla="*/ 217 w 438"/>
                <a:gd name="T97" fmla="*/ 12 h 406"/>
                <a:gd name="T98" fmla="*/ 225 w 438"/>
                <a:gd name="T99" fmla="*/ 12 h 406"/>
                <a:gd name="T100" fmla="*/ 232 w 438"/>
                <a:gd name="T101" fmla="*/ 9 h 406"/>
                <a:gd name="T102" fmla="*/ 236 w 438"/>
                <a:gd name="T103" fmla="*/ 4 h 406"/>
                <a:gd name="T104" fmla="*/ 244 w 438"/>
                <a:gd name="T105" fmla="*/ 2 h 406"/>
                <a:gd name="T106" fmla="*/ 251 w 438"/>
                <a:gd name="T107" fmla="*/ 3 h 406"/>
                <a:gd name="T108" fmla="*/ 264 w 438"/>
                <a:gd name="T109" fmla="*/ 1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8" name="Freeform 477">
              <a:extLst>
                <a:ext uri="{FF2B5EF4-FFF2-40B4-BE49-F238E27FC236}">
                  <a16:creationId xmlns:a16="http://schemas.microsoft.com/office/drawing/2014/main" id="{4992C934-325A-4E5E-9E65-83D40EDB49EB}"/>
                </a:ext>
              </a:extLst>
            </p:cNvPr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6084889" y="3930650"/>
              <a:ext cx="293687" cy="300038"/>
            </a:xfrm>
            <a:custGeom>
              <a:avLst/>
              <a:gdLst>
                <a:gd name="T0" fmla="*/ 513 w 678"/>
                <a:gd name="T1" fmla="*/ 8 h 574"/>
                <a:gd name="T2" fmla="*/ 552 w 678"/>
                <a:gd name="T3" fmla="*/ 26 h 574"/>
                <a:gd name="T4" fmla="*/ 645 w 678"/>
                <a:gd name="T5" fmla="*/ 63 h 574"/>
                <a:gd name="T6" fmla="*/ 660 w 678"/>
                <a:gd name="T7" fmla="*/ 88 h 574"/>
                <a:gd name="T8" fmla="*/ 678 w 678"/>
                <a:gd name="T9" fmla="*/ 94 h 574"/>
                <a:gd name="T10" fmla="*/ 678 w 678"/>
                <a:gd name="T11" fmla="*/ 127 h 574"/>
                <a:gd name="T12" fmla="*/ 677 w 678"/>
                <a:gd name="T13" fmla="*/ 144 h 574"/>
                <a:gd name="T14" fmla="*/ 667 w 678"/>
                <a:gd name="T15" fmla="*/ 158 h 574"/>
                <a:gd name="T16" fmla="*/ 647 w 678"/>
                <a:gd name="T17" fmla="*/ 178 h 574"/>
                <a:gd name="T18" fmla="*/ 638 w 678"/>
                <a:gd name="T19" fmla="*/ 346 h 574"/>
                <a:gd name="T20" fmla="*/ 461 w 678"/>
                <a:gd name="T21" fmla="*/ 388 h 574"/>
                <a:gd name="T22" fmla="*/ 461 w 678"/>
                <a:gd name="T23" fmla="*/ 415 h 574"/>
                <a:gd name="T24" fmla="*/ 455 w 678"/>
                <a:gd name="T25" fmla="*/ 435 h 574"/>
                <a:gd name="T26" fmla="*/ 444 w 678"/>
                <a:gd name="T27" fmla="*/ 435 h 574"/>
                <a:gd name="T28" fmla="*/ 434 w 678"/>
                <a:gd name="T29" fmla="*/ 440 h 574"/>
                <a:gd name="T30" fmla="*/ 425 w 678"/>
                <a:gd name="T31" fmla="*/ 445 h 574"/>
                <a:gd name="T32" fmla="*/ 414 w 678"/>
                <a:gd name="T33" fmla="*/ 447 h 574"/>
                <a:gd name="T34" fmla="*/ 411 w 678"/>
                <a:gd name="T35" fmla="*/ 463 h 574"/>
                <a:gd name="T36" fmla="*/ 410 w 678"/>
                <a:gd name="T37" fmla="*/ 474 h 574"/>
                <a:gd name="T38" fmla="*/ 403 w 678"/>
                <a:gd name="T39" fmla="*/ 483 h 574"/>
                <a:gd name="T40" fmla="*/ 365 w 678"/>
                <a:gd name="T41" fmla="*/ 498 h 574"/>
                <a:gd name="T42" fmla="*/ 330 w 678"/>
                <a:gd name="T43" fmla="*/ 513 h 574"/>
                <a:gd name="T44" fmla="*/ 313 w 678"/>
                <a:gd name="T45" fmla="*/ 525 h 574"/>
                <a:gd name="T46" fmla="*/ 277 w 678"/>
                <a:gd name="T47" fmla="*/ 564 h 574"/>
                <a:gd name="T48" fmla="*/ 258 w 678"/>
                <a:gd name="T49" fmla="*/ 573 h 574"/>
                <a:gd name="T50" fmla="*/ 238 w 678"/>
                <a:gd name="T51" fmla="*/ 574 h 574"/>
                <a:gd name="T52" fmla="*/ 193 w 678"/>
                <a:gd name="T53" fmla="*/ 574 h 574"/>
                <a:gd name="T54" fmla="*/ 186 w 678"/>
                <a:gd name="T55" fmla="*/ 559 h 574"/>
                <a:gd name="T56" fmla="*/ 165 w 678"/>
                <a:gd name="T57" fmla="*/ 547 h 574"/>
                <a:gd name="T58" fmla="*/ 133 w 678"/>
                <a:gd name="T59" fmla="*/ 545 h 574"/>
                <a:gd name="T60" fmla="*/ 93 w 678"/>
                <a:gd name="T61" fmla="*/ 556 h 574"/>
                <a:gd name="T62" fmla="*/ 33 w 678"/>
                <a:gd name="T63" fmla="*/ 527 h 574"/>
                <a:gd name="T64" fmla="*/ 0 w 678"/>
                <a:gd name="T65" fmla="*/ 285 h 574"/>
                <a:gd name="T66" fmla="*/ 73 w 678"/>
                <a:gd name="T67" fmla="*/ 286 h 574"/>
                <a:gd name="T68" fmla="*/ 103 w 678"/>
                <a:gd name="T69" fmla="*/ 282 h 574"/>
                <a:gd name="T70" fmla="*/ 119 w 678"/>
                <a:gd name="T71" fmla="*/ 275 h 574"/>
                <a:gd name="T72" fmla="*/ 129 w 678"/>
                <a:gd name="T73" fmla="*/ 256 h 574"/>
                <a:gd name="T74" fmla="*/ 131 w 678"/>
                <a:gd name="T75" fmla="*/ 229 h 574"/>
                <a:gd name="T76" fmla="*/ 126 w 678"/>
                <a:gd name="T77" fmla="*/ 185 h 574"/>
                <a:gd name="T78" fmla="*/ 130 w 678"/>
                <a:gd name="T79" fmla="*/ 165 h 574"/>
                <a:gd name="T80" fmla="*/ 140 w 678"/>
                <a:gd name="T81" fmla="*/ 171 h 574"/>
                <a:gd name="T82" fmla="*/ 174 w 678"/>
                <a:gd name="T83" fmla="*/ 175 h 574"/>
                <a:gd name="T84" fmla="*/ 188 w 678"/>
                <a:gd name="T85" fmla="*/ 186 h 574"/>
                <a:gd name="T86" fmla="*/ 195 w 678"/>
                <a:gd name="T87" fmla="*/ 201 h 574"/>
                <a:gd name="T88" fmla="*/ 208 w 678"/>
                <a:gd name="T89" fmla="*/ 210 h 574"/>
                <a:gd name="T90" fmla="*/ 241 w 678"/>
                <a:gd name="T91" fmla="*/ 217 h 574"/>
                <a:gd name="T92" fmla="*/ 269 w 678"/>
                <a:gd name="T93" fmla="*/ 214 h 574"/>
                <a:gd name="T94" fmla="*/ 301 w 678"/>
                <a:gd name="T95" fmla="*/ 199 h 574"/>
                <a:gd name="T96" fmla="*/ 319 w 678"/>
                <a:gd name="T97" fmla="*/ 196 h 574"/>
                <a:gd name="T98" fmla="*/ 331 w 678"/>
                <a:gd name="T99" fmla="*/ 193 h 574"/>
                <a:gd name="T100" fmla="*/ 343 w 678"/>
                <a:gd name="T101" fmla="*/ 190 h 574"/>
                <a:gd name="T102" fmla="*/ 357 w 678"/>
                <a:gd name="T103" fmla="*/ 182 h 574"/>
                <a:gd name="T104" fmla="*/ 368 w 678"/>
                <a:gd name="T105" fmla="*/ 168 h 574"/>
                <a:gd name="T106" fmla="*/ 383 w 678"/>
                <a:gd name="T107" fmla="*/ 126 h 574"/>
                <a:gd name="T108" fmla="*/ 403 w 678"/>
                <a:gd name="T109" fmla="*/ 47 h 574"/>
                <a:gd name="T110" fmla="*/ 414 w 678"/>
                <a:gd name="T111" fmla="*/ 10 h 574"/>
                <a:gd name="T112" fmla="*/ 431 w 678"/>
                <a:gd name="T113" fmla="*/ 6 h 574"/>
                <a:gd name="T114" fmla="*/ 453 w 678"/>
                <a:gd name="T115" fmla="*/ 8 h 574"/>
                <a:gd name="T116" fmla="*/ 482 w 678"/>
                <a:gd name="T117" fmla="*/ 1 h 5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19" name="Freeform 478">
              <a:extLst>
                <a:ext uri="{FF2B5EF4-FFF2-40B4-BE49-F238E27FC236}">
                  <a16:creationId xmlns:a16="http://schemas.microsoft.com/office/drawing/2014/main" id="{6D38A373-2B64-4D70-8283-A112CB42D600}"/>
                </a:ext>
              </a:extLst>
            </p:cNvPr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5821364" y="4203700"/>
              <a:ext cx="350837" cy="381000"/>
            </a:xfrm>
            <a:custGeom>
              <a:avLst/>
              <a:gdLst>
                <a:gd name="T0" fmla="*/ 797 w 810"/>
                <a:gd name="T1" fmla="*/ 42 h 727"/>
                <a:gd name="T2" fmla="*/ 766 w 810"/>
                <a:gd name="T3" fmla="*/ 26 h 727"/>
                <a:gd name="T4" fmla="*/ 718 w 810"/>
                <a:gd name="T5" fmla="*/ 33 h 727"/>
                <a:gd name="T6" fmla="*/ 634 w 810"/>
                <a:gd name="T7" fmla="*/ 44 h 727"/>
                <a:gd name="T8" fmla="*/ 604 w 810"/>
                <a:gd name="T9" fmla="*/ 55 h 727"/>
                <a:gd name="T10" fmla="*/ 280 w 810"/>
                <a:gd name="T11" fmla="*/ 40 h 727"/>
                <a:gd name="T12" fmla="*/ 232 w 810"/>
                <a:gd name="T13" fmla="*/ 37 h 727"/>
                <a:gd name="T14" fmla="*/ 172 w 810"/>
                <a:gd name="T15" fmla="*/ 17 h 727"/>
                <a:gd name="T16" fmla="*/ 116 w 810"/>
                <a:gd name="T17" fmla="*/ 0 h 727"/>
                <a:gd name="T18" fmla="*/ 83 w 810"/>
                <a:gd name="T19" fmla="*/ 5 h 727"/>
                <a:gd name="T20" fmla="*/ 53 w 810"/>
                <a:gd name="T21" fmla="*/ 24 h 727"/>
                <a:gd name="T22" fmla="*/ 0 w 810"/>
                <a:gd name="T23" fmla="*/ 55 h 727"/>
                <a:gd name="T24" fmla="*/ 7 w 810"/>
                <a:gd name="T25" fmla="*/ 68 h 727"/>
                <a:gd name="T26" fmla="*/ 26 w 810"/>
                <a:gd name="T27" fmla="*/ 74 h 727"/>
                <a:gd name="T28" fmla="*/ 36 w 810"/>
                <a:gd name="T29" fmla="*/ 129 h 727"/>
                <a:gd name="T30" fmla="*/ 60 w 810"/>
                <a:gd name="T31" fmla="*/ 192 h 727"/>
                <a:gd name="T32" fmla="*/ 109 w 810"/>
                <a:gd name="T33" fmla="*/ 276 h 727"/>
                <a:gd name="T34" fmla="*/ 133 w 810"/>
                <a:gd name="T35" fmla="*/ 300 h 727"/>
                <a:gd name="T36" fmla="*/ 159 w 810"/>
                <a:gd name="T37" fmla="*/ 302 h 727"/>
                <a:gd name="T38" fmla="*/ 159 w 810"/>
                <a:gd name="T39" fmla="*/ 332 h 727"/>
                <a:gd name="T40" fmla="*/ 152 w 810"/>
                <a:gd name="T41" fmla="*/ 359 h 727"/>
                <a:gd name="T42" fmla="*/ 146 w 810"/>
                <a:gd name="T43" fmla="*/ 394 h 727"/>
                <a:gd name="T44" fmla="*/ 150 w 810"/>
                <a:gd name="T45" fmla="*/ 425 h 727"/>
                <a:gd name="T46" fmla="*/ 173 w 810"/>
                <a:gd name="T47" fmla="*/ 484 h 727"/>
                <a:gd name="T48" fmla="*/ 179 w 810"/>
                <a:gd name="T49" fmla="*/ 518 h 727"/>
                <a:gd name="T50" fmla="*/ 187 w 810"/>
                <a:gd name="T51" fmla="*/ 606 h 727"/>
                <a:gd name="T52" fmla="*/ 204 w 810"/>
                <a:gd name="T53" fmla="*/ 647 h 727"/>
                <a:gd name="T54" fmla="*/ 231 w 810"/>
                <a:gd name="T55" fmla="*/ 690 h 727"/>
                <a:gd name="T56" fmla="*/ 245 w 810"/>
                <a:gd name="T57" fmla="*/ 700 h 727"/>
                <a:gd name="T58" fmla="*/ 259 w 810"/>
                <a:gd name="T59" fmla="*/ 715 h 727"/>
                <a:gd name="T60" fmla="*/ 265 w 810"/>
                <a:gd name="T61" fmla="*/ 678 h 727"/>
                <a:gd name="T62" fmla="*/ 308 w 810"/>
                <a:gd name="T63" fmla="*/ 696 h 727"/>
                <a:gd name="T64" fmla="*/ 328 w 810"/>
                <a:gd name="T65" fmla="*/ 713 h 727"/>
                <a:gd name="T66" fmla="*/ 372 w 810"/>
                <a:gd name="T67" fmla="*/ 726 h 727"/>
                <a:gd name="T68" fmla="*/ 407 w 810"/>
                <a:gd name="T69" fmla="*/ 723 h 727"/>
                <a:gd name="T70" fmla="*/ 429 w 810"/>
                <a:gd name="T71" fmla="*/ 710 h 727"/>
                <a:gd name="T72" fmla="*/ 452 w 810"/>
                <a:gd name="T73" fmla="*/ 675 h 727"/>
                <a:gd name="T74" fmla="*/ 463 w 810"/>
                <a:gd name="T75" fmla="*/ 529 h 727"/>
                <a:gd name="T76" fmla="*/ 465 w 810"/>
                <a:gd name="T77" fmla="*/ 480 h 727"/>
                <a:gd name="T78" fmla="*/ 471 w 810"/>
                <a:gd name="T79" fmla="*/ 469 h 727"/>
                <a:gd name="T80" fmla="*/ 463 w 810"/>
                <a:gd name="T81" fmla="*/ 426 h 727"/>
                <a:gd name="T82" fmla="*/ 469 w 810"/>
                <a:gd name="T83" fmla="*/ 368 h 727"/>
                <a:gd name="T84" fmla="*/ 500 w 810"/>
                <a:gd name="T85" fmla="*/ 330 h 727"/>
                <a:gd name="T86" fmla="*/ 525 w 810"/>
                <a:gd name="T87" fmla="*/ 320 h 727"/>
                <a:gd name="T88" fmla="*/ 538 w 810"/>
                <a:gd name="T89" fmla="*/ 232 h 727"/>
                <a:gd name="T90" fmla="*/ 551 w 810"/>
                <a:gd name="T91" fmla="*/ 148 h 727"/>
                <a:gd name="T92" fmla="*/ 541 w 810"/>
                <a:gd name="T93" fmla="*/ 124 h 727"/>
                <a:gd name="T94" fmla="*/ 531 w 810"/>
                <a:gd name="T95" fmla="*/ 99 h 727"/>
                <a:gd name="T96" fmla="*/ 539 w 810"/>
                <a:gd name="T97" fmla="*/ 86 h 727"/>
                <a:gd name="T98" fmla="*/ 617 w 810"/>
                <a:gd name="T99" fmla="*/ 80 h 727"/>
                <a:gd name="T100" fmla="*/ 708 w 810"/>
                <a:gd name="T101" fmla="*/ 63 h 727"/>
                <a:gd name="T102" fmla="*/ 803 w 810"/>
                <a:gd name="T103" fmla="*/ 61 h 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0" name="Freeform 479">
              <a:extLst>
                <a:ext uri="{FF2B5EF4-FFF2-40B4-BE49-F238E27FC236}">
                  <a16:creationId xmlns:a16="http://schemas.microsoft.com/office/drawing/2014/main" id="{B1C4F15F-4D7E-46E5-BDAD-5766C161360F}"/>
                </a:ext>
              </a:extLst>
            </p:cNvPr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5100639" y="3133725"/>
              <a:ext cx="161925" cy="141288"/>
            </a:xfrm>
            <a:custGeom>
              <a:avLst/>
              <a:gdLst>
                <a:gd name="T0" fmla="*/ 203 w 365"/>
                <a:gd name="T1" fmla="*/ 250 h 271"/>
                <a:gd name="T2" fmla="*/ 163 w 365"/>
                <a:gd name="T3" fmla="*/ 246 h 271"/>
                <a:gd name="T4" fmla="*/ 121 w 365"/>
                <a:gd name="T5" fmla="*/ 247 h 271"/>
                <a:gd name="T6" fmla="*/ 92 w 365"/>
                <a:gd name="T7" fmla="*/ 250 h 271"/>
                <a:gd name="T8" fmla="*/ 74 w 365"/>
                <a:gd name="T9" fmla="*/ 255 h 271"/>
                <a:gd name="T10" fmla="*/ 26 w 365"/>
                <a:gd name="T11" fmla="*/ 271 h 271"/>
                <a:gd name="T12" fmla="*/ 20 w 365"/>
                <a:gd name="T13" fmla="*/ 270 h 271"/>
                <a:gd name="T14" fmla="*/ 17 w 365"/>
                <a:gd name="T15" fmla="*/ 266 h 271"/>
                <a:gd name="T16" fmla="*/ 18 w 365"/>
                <a:gd name="T17" fmla="*/ 254 h 271"/>
                <a:gd name="T18" fmla="*/ 26 w 365"/>
                <a:gd name="T19" fmla="*/ 228 h 271"/>
                <a:gd name="T20" fmla="*/ 61 w 365"/>
                <a:gd name="T21" fmla="*/ 226 h 271"/>
                <a:gd name="T22" fmla="*/ 89 w 365"/>
                <a:gd name="T23" fmla="*/ 222 h 271"/>
                <a:gd name="T24" fmla="*/ 115 w 365"/>
                <a:gd name="T25" fmla="*/ 218 h 271"/>
                <a:gd name="T26" fmla="*/ 146 w 365"/>
                <a:gd name="T27" fmla="*/ 216 h 271"/>
                <a:gd name="T28" fmla="*/ 182 w 365"/>
                <a:gd name="T29" fmla="*/ 218 h 271"/>
                <a:gd name="T30" fmla="*/ 199 w 365"/>
                <a:gd name="T31" fmla="*/ 218 h 271"/>
                <a:gd name="T32" fmla="*/ 219 w 365"/>
                <a:gd name="T33" fmla="*/ 216 h 271"/>
                <a:gd name="T34" fmla="*/ 215 w 365"/>
                <a:gd name="T35" fmla="*/ 208 h 271"/>
                <a:gd name="T36" fmla="*/ 210 w 365"/>
                <a:gd name="T37" fmla="*/ 201 h 271"/>
                <a:gd name="T38" fmla="*/ 195 w 365"/>
                <a:gd name="T39" fmla="*/ 194 h 271"/>
                <a:gd name="T40" fmla="*/ 175 w 365"/>
                <a:gd name="T41" fmla="*/ 191 h 271"/>
                <a:gd name="T42" fmla="*/ 152 w 365"/>
                <a:gd name="T43" fmla="*/ 190 h 271"/>
                <a:gd name="T44" fmla="*/ 93 w 365"/>
                <a:gd name="T45" fmla="*/ 192 h 271"/>
                <a:gd name="T46" fmla="*/ 64 w 365"/>
                <a:gd name="T47" fmla="*/ 196 h 271"/>
                <a:gd name="T48" fmla="*/ 33 w 365"/>
                <a:gd name="T49" fmla="*/ 203 h 271"/>
                <a:gd name="T50" fmla="*/ 38 w 365"/>
                <a:gd name="T51" fmla="*/ 183 h 271"/>
                <a:gd name="T52" fmla="*/ 39 w 365"/>
                <a:gd name="T53" fmla="*/ 172 h 271"/>
                <a:gd name="T54" fmla="*/ 26 w 365"/>
                <a:gd name="T55" fmla="*/ 164 h 271"/>
                <a:gd name="T56" fmla="*/ 13 w 365"/>
                <a:gd name="T57" fmla="*/ 160 h 271"/>
                <a:gd name="T58" fmla="*/ 11 w 365"/>
                <a:gd name="T59" fmla="*/ 147 h 271"/>
                <a:gd name="T60" fmla="*/ 6 w 365"/>
                <a:gd name="T61" fmla="*/ 143 h 271"/>
                <a:gd name="T62" fmla="*/ 2 w 365"/>
                <a:gd name="T63" fmla="*/ 141 h 271"/>
                <a:gd name="T64" fmla="*/ 0 w 365"/>
                <a:gd name="T65" fmla="*/ 135 h 271"/>
                <a:gd name="T66" fmla="*/ 5 w 365"/>
                <a:gd name="T67" fmla="*/ 115 h 271"/>
                <a:gd name="T68" fmla="*/ 17 w 365"/>
                <a:gd name="T69" fmla="*/ 92 h 271"/>
                <a:gd name="T70" fmla="*/ 30 w 365"/>
                <a:gd name="T71" fmla="*/ 69 h 271"/>
                <a:gd name="T72" fmla="*/ 39 w 365"/>
                <a:gd name="T73" fmla="*/ 49 h 271"/>
                <a:gd name="T74" fmla="*/ 48 w 365"/>
                <a:gd name="T75" fmla="*/ 42 h 271"/>
                <a:gd name="T76" fmla="*/ 49 w 365"/>
                <a:gd name="T77" fmla="*/ 48 h 271"/>
                <a:gd name="T78" fmla="*/ 52 w 365"/>
                <a:gd name="T79" fmla="*/ 36 h 271"/>
                <a:gd name="T80" fmla="*/ 75 w 365"/>
                <a:gd name="T81" fmla="*/ 31 h 271"/>
                <a:gd name="T82" fmla="*/ 114 w 365"/>
                <a:gd name="T83" fmla="*/ 18 h 271"/>
                <a:gd name="T84" fmla="*/ 165 w 365"/>
                <a:gd name="T85" fmla="*/ 0 h 271"/>
                <a:gd name="T86" fmla="*/ 184 w 365"/>
                <a:gd name="T87" fmla="*/ 15 h 271"/>
                <a:gd name="T88" fmla="*/ 202 w 365"/>
                <a:gd name="T89" fmla="*/ 24 h 271"/>
                <a:gd name="T90" fmla="*/ 220 w 365"/>
                <a:gd name="T91" fmla="*/ 29 h 271"/>
                <a:gd name="T92" fmla="*/ 239 w 365"/>
                <a:gd name="T93" fmla="*/ 30 h 271"/>
                <a:gd name="T94" fmla="*/ 241 w 365"/>
                <a:gd name="T95" fmla="*/ 52 h 271"/>
                <a:gd name="T96" fmla="*/ 247 w 365"/>
                <a:gd name="T97" fmla="*/ 69 h 271"/>
                <a:gd name="T98" fmla="*/ 254 w 365"/>
                <a:gd name="T99" fmla="*/ 84 h 271"/>
                <a:gd name="T100" fmla="*/ 264 w 365"/>
                <a:gd name="T101" fmla="*/ 95 h 271"/>
                <a:gd name="T102" fmla="*/ 305 w 365"/>
                <a:gd name="T103" fmla="*/ 129 h 271"/>
                <a:gd name="T104" fmla="*/ 352 w 365"/>
                <a:gd name="T105" fmla="*/ 234 h 271"/>
                <a:gd name="T106" fmla="*/ 359 w 365"/>
                <a:gd name="T107" fmla="*/ 257 h 271"/>
                <a:gd name="T108" fmla="*/ 365 w 365"/>
                <a:gd name="T109" fmla="*/ 271 h 271"/>
                <a:gd name="T110" fmla="*/ 321 w 365"/>
                <a:gd name="T111" fmla="*/ 259 h 271"/>
                <a:gd name="T112" fmla="*/ 275 w 365"/>
                <a:gd name="T113" fmla="*/ 252 h 271"/>
                <a:gd name="T114" fmla="*/ 248 w 365"/>
                <a:gd name="T115" fmla="*/ 251 h 271"/>
                <a:gd name="T116" fmla="*/ 219 w 365"/>
                <a:gd name="T117" fmla="*/ 252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1" name="Freeform 480">
              <a:extLst>
                <a:ext uri="{FF2B5EF4-FFF2-40B4-BE49-F238E27FC236}">
                  <a16:creationId xmlns:a16="http://schemas.microsoft.com/office/drawing/2014/main" id="{09C9A047-290D-4CCA-A967-9D01FC17FF15}"/>
                </a:ext>
              </a:extLst>
            </p:cNvPr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6273801" y="3695701"/>
              <a:ext cx="269875" cy="334963"/>
            </a:xfrm>
            <a:custGeom>
              <a:avLst/>
              <a:gdLst>
                <a:gd name="T0" fmla="*/ 146 w 624"/>
                <a:gd name="T1" fmla="*/ 12 h 640"/>
                <a:gd name="T2" fmla="*/ 239 w 624"/>
                <a:gd name="T3" fmla="*/ 12 h 640"/>
                <a:gd name="T4" fmla="*/ 287 w 624"/>
                <a:gd name="T5" fmla="*/ 5 h 640"/>
                <a:gd name="T6" fmla="*/ 326 w 624"/>
                <a:gd name="T7" fmla="*/ 22 h 640"/>
                <a:gd name="T8" fmla="*/ 396 w 624"/>
                <a:gd name="T9" fmla="*/ 66 h 640"/>
                <a:gd name="T10" fmla="*/ 465 w 624"/>
                <a:gd name="T11" fmla="*/ 111 h 640"/>
                <a:gd name="T12" fmla="*/ 469 w 624"/>
                <a:gd name="T13" fmla="*/ 131 h 640"/>
                <a:gd name="T14" fmla="*/ 480 w 624"/>
                <a:gd name="T15" fmla="*/ 153 h 640"/>
                <a:gd name="T16" fmla="*/ 497 w 624"/>
                <a:gd name="T17" fmla="*/ 170 h 640"/>
                <a:gd name="T18" fmla="*/ 519 w 624"/>
                <a:gd name="T19" fmla="*/ 183 h 640"/>
                <a:gd name="T20" fmla="*/ 543 w 624"/>
                <a:gd name="T21" fmla="*/ 190 h 640"/>
                <a:gd name="T22" fmla="*/ 554 w 624"/>
                <a:gd name="T23" fmla="*/ 195 h 640"/>
                <a:gd name="T24" fmla="*/ 565 w 624"/>
                <a:gd name="T25" fmla="*/ 205 h 640"/>
                <a:gd name="T26" fmla="*/ 561 w 624"/>
                <a:gd name="T27" fmla="*/ 227 h 640"/>
                <a:gd name="T28" fmla="*/ 537 w 624"/>
                <a:gd name="T29" fmla="*/ 252 h 640"/>
                <a:gd name="T30" fmla="*/ 525 w 624"/>
                <a:gd name="T31" fmla="*/ 271 h 640"/>
                <a:gd name="T32" fmla="*/ 533 w 624"/>
                <a:gd name="T33" fmla="*/ 287 h 640"/>
                <a:gd name="T34" fmla="*/ 547 w 624"/>
                <a:gd name="T35" fmla="*/ 299 h 640"/>
                <a:gd name="T36" fmla="*/ 552 w 624"/>
                <a:gd name="T37" fmla="*/ 425 h 640"/>
                <a:gd name="T38" fmla="*/ 550 w 624"/>
                <a:gd name="T39" fmla="*/ 439 h 640"/>
                <a:gd name="T40" fmla="*/ 558 w 624"/>
                <a:gd name="T41" fmla="*/ 462 h 640"/>
                <a:gd name="T42" fmla="*/ 558 w 624"/>
                <a:gd name="T43" fmla="*/ 489 h 640"/>
                <a:gd name="T44" fmla="*/ 561 w 624"/>
                <a:gd name="T45" fmla="*/ 515 h 640"/>
                <a:gd name="T46" fmla="*/ 594 w 624"/>
                <a:gd name="T47" fmla="*/ 549 h 640"/>
                <a:gd name="T48" fmla="*/ 616 w 624"/>
                <a:gd name="T49" fmla="*/ 579 h 640"/>
                <a:gd name="T50" fmla="*/ 575 w 624"/>
                <a:gd name="T51" fmla="*/ 600 h 640"/>
                <a:gd name="T52" fmla="*/ 491 w 624"/>
                <a:gd name="T53" fmla="*/ 631 h 640"/>
                <a:gd name="T54" fmla="*/ 443 w 624"/>
                <a:gd name="T55" fmla="*/ 638 h 640"/>
                <a:gd name="T56" fmla="*/ 392 w 624"/>
                <a:gd name="T57" fmla="*/ 628 h 640"/>
                <a:gd name="T58" fmla="*/ 339 w 624"/>
                <a:gd name="T59" fmla="*/ 633 h 640"/>
                <a:gd name="T60" fmla="*/ 306 w 624"/>
                <a:gd name="T61" fmla="*/ 628 h 640"/>
                <a:gd name="T62" fmla="*/ 299 w 624"/>
                <a:gd name="T63" fmla="*/ 614 h 640"/>
                <a:gd name="T64" fmla="*/ 294 w 624"/>
                <a:gd name="T65" fmla="*/ 573 h 640"/>
                <a:gd name="T66" fmla="*/ 288 w 624"/>
                <a:gd name="T67" fmla="*/ 529 h 640"/>
                <a:gd name="T68" fmla="*/ 253 w 624"/>
                <a:gd name="T69" fmla="*/ 517 h 640"/>
                <a:gd name="T70" fmla="*/ 185 w 624"/>
                <a:gd name="T71" fmla="*/ 502 h 640"/>
                <a:gd name="T72" fmla="*/ 90 w 624"/>
                <a:gd name="T73" fmla="*/ 459 h 640"/>
                <a:gd name="T74" fmla="*/ 68 w 624"/>
                <a:gd name="T75" fmla="*/ 446 h 640"/>
                <a:gd name="T76" fmla="*/ 66 w 624"/>
                <a:gd name="T77" fmla="*/ 428 h 640"/>
                <a:gd name="T78" fmla="*/ 65 w 624"/>
                <a:gd name="T79" fmla="*/ 402 h 640"/>
                <a:gd name="T80" fmla="*/ 53 w 624"/>
                <a:gd name="T81" fmla="*/ 377 h 640"/>
                <a:gd name="T82" fmla="*/ 41 w 624"/>
                <a:gd name="T83" fmla="*/ 357 h 640"/>
                <a:gd name="T84" fmla="*/ 27 w 624"/>
                <a:gd name="T85" fmla="*/ 347 h 640"/>
                <a:gd name="T86" fmla="*/ 12 w 624"/>
                <a:gd name="T87" fmla="*/ 332 h 640"/>
                <a:gd name="T88" fmla="*/ 5 w 624"/>
                <a:gd name="T89" fmla="*/ 308 h 640"/>
                <a:gd name="T90" fmla="*/ 0 w 624"/>
                <a:gd name="T91" fmla="*/ 262 h 640"/>
                <a:gd name="T92" fmla="*/ 0 w 624"/>
                <a:gd name="T93" fmla="*/ 234 h 640"/>
                <a:gd name="T94" fmla="*/ 10 w 624"/>
                <a:gd name="T95" fmla="*/ 212 h 640"/>
                <a:gd name="T96" fmla="*/ 38 w 624"/>
                <a:gd name="T97" fmla="*/ 195 h 640"/>
                <a:gd name="T98" fmla="*/ 61 w 624"/>
                <a:gd name="T99" fmla="*/ 173 h 640"/>
                <a:gd name="T100" fmla="*/ 77 w 624"/>
                <a:gd name="T101" fmla="*/ 77 h 640"/>
                <a:gd name="T102" fmla="*/ 84 w 624"/>
                <a:gd name="T103" fmla="*/ 43 h 640"/>
                <a:gd name="T104" fmla="*/ 82 w 624"/>
                <a:gd name="T105" fmla="*/ 8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22" name="Freeform 481">
              <a:extLst>
                <a:ext uri="{FF2B5EF4-FFF2-40B4-BE49-F238E27FC236}">
                  <a16:creationId xmlns:a16="http://schemas.microsoft.com/office/drawing/2014/main" id="{512EC7BF-194C-4169-997E-316CBCDD87DB}"/>
                </a:ext>
              </a:extLst>
            </p:cNvPr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8837613" y="2209800"/>
              <a:ext cx="19050" cy="57150"/>
            </a:xfrm>
            <a:custGeom>
              <a:avLst/>
              <a:gdLst>
                <a:gd name="T0" fmla="*/ 13 w 52"/>
                <a:gd name="T1" fmla="*/ 50 h 50"/>
                <a:gd name="T2" fmla="*/ 0 w 52"/>
                <a:gd name="T3" fmla="*/ 32 h 50"/>
                <a:gd name="T4" fmla="*/ 2 w 52"/>
                <a:gd name="T5" fmla="*/ 25 h 50"/>
                <a:gd name="T6" fmla="*/ 6 w 52"/>
                <a:gd name="T7" fmla="*/ 18 h 50"/>
                <a:gd name="T8" fmla="*/ 12 w 52"/>
                <a:gd name="T9" fmla="*/ 13 h 50"/>
                <a:gd name="T10" fmla="*/ 18 w 52"/>
                <a:gd name="T11" fmla="*/ 9 h 50"/>
                <a:gd name="T12" fmla="*/ 26 w 52"/>
                <a:gd name="T13" fmla="*/ 5 h 50"/>
                <a:gd name="T14" fmla="*/ 34 w 52"/>
                <a:gd name="T15" fmla="*/ 3 h 50"/>
                <a:gd name="T16" fmla="*/ 43 w 52"/>
                <a:gd name="T17" fmla="*/ 1 h 50"/>
                <a:gd name="T18" fmla="*/ 52 w 52"/>
                <a:gd name="T19" fmla="*/ 0 h 50"/>
                <a:gd name="T20" fmla="*/ 40 w 52"/>
                <a:gd name="T21" fmla="*/ 11 h 50"/>
                <a:gd name="T22" fmla="*/ 27 w 52"/>
                <a:gd name="T23" fmla="*/ 22 h 50"/>
                <a:gd name="T24" fmla="*/ 22 w 52"/>
                <a:gd name="T25" fmla="*/ 30 h 50"/>
                <a:gd name="T26" fmla="*/ 17 w 52"/>
                <a:gd name="T27" fmla="*/ 36 h 50"/>
                <a:gd name="T28" fmla="*/ 14 w 52"/>
                <a:gd name="T29" fmla="*/ 43 h 50"/>
                <a:gd name="T30" fmla="*/ 13 w 52"/>
                <a:gd name="T3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23" name="Freeform 482">
              <a:extLst>
                <a:ext uri="{FF2B5EF4-FFF2-40B4-BE49-F238E27FC236}">
                  <a16:creationId xmlns:a16="http://schemas.microsoft.com/office/drawing/2014/main" id="{F9BB8F5F-4228-4C9E-B2B0-B20428F16C79}"/>
                </a:ext>
              </a:extLst>
            </p:cNvPr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8696325" y="2211388"/>
              <a:ext cx="141288" cy="125412"/>
            </a:xfrm>
            <a:custGeom>
              <a:avLst/>
              <a:gdLst>
                <a:gd name="T0" fmla="*/ 76 w 320"/>
                <a:gd name="T1" fmla="*/ 231 h 234"/>
                <a:gd name="T2" fmla="*/ 61 w 320"/>
                <a:gd name="T3" fmla="*/ 226 h 234"/>
                <a:gd name="T4" fmla="*/ 66 w 320"/>
                <a:gd name="T5" fmla="*/ 222 h 234"/>
                <a:gd name="T6" fmla="*/ 77 w 320"/>
                <a:gd name="T7" fmla="*/ 217 h 234"/>
                <a:gd name="T8" fmla="*/ 64 w 320"/>
                <a:gd name="T9" fmla="*/ 204 h 234"/>
                <a:gd name="T10" fmla="*/ 43 w 320"/>
                <a:gd name="T11" fmla="*/ 189 h 234"/>
                <a:gd name="T12" fmla="*/ 36 w 320"/>
                <a:gd name="T13" fmla="*/ 179 h 234"/>
                <a:gd name="T14" fmla="*/ 34 w 320"/>
                <a:gd name="T15" fmla="*/ 171 h 234"/>
                <a:gd name="T16" fmla="*/ 34 w 320"/>
                <a:gd name="T17" fmla="*/ 164 h 234"/>
                <a:gd name="T18" fmla="*/ 36 w 320"/>
                <a:gd name="T19" fmla="*/ 157 h 234"/>
                <a:gd name="T20" fmla="*/ 43 w 320"/>
                <a:gd name="T21" fmla="*/ 149 h 234"/>
                <a:gd name="T22" fmla="*/ 56 w 320"/>
                <a:gd name="T23" fmla="*/ 141 h 234"/>
                <a:gd name="T24" fmla="*/ 73 w 320"/>
                <a:gd name="T25" fmla="*/ 137 h 234"/>
                <a:gd name="T26" fmla="*/ 80 w 320"/>
                <a:gd name="T27" fmla="*/ 126 h 234"/>
                <a:gd name="T28" fmla="*/ 67 w 320"/>
                <a:gd name="T29" fmla="*/ 111 h 234"/>
                <a:gd name="T30" fmla="*/ 61 w 320"/>
                <a:gd name="T31" fmla="*/ 102 h 234"/>
                <a:gd name="T32" fmla="*/ 60 w 320"/>
                <a:gd name="T33" fmla="*/ 86 h 234"/>
                <a:gd name="T34" fmla="*/ 55 w 320"/>
                <a:gd name="T35" fmla="*/ 70 h 234"/>
                <a:gd name="T36" fmla="*/ 46 w 320"/>
                <a:gd name="T37" fmla="*/ 46 h 234"/>
                <a:gd name="T38" fmla="*/ 33 w 320"/>
                <a:gd name="T39" fmla="*/ 31 h 234"/>
                <a:gd name="T40" fmla="*/ 20 w 320"/>
                <a:gd name="T41" fmla="*/ 25 h 234"/>
                <a:gd name="T42" fmla="*/ 7 w 320"/>
                <a:gd name="T43" fmla="*/ 10 h 234"/>
                <a:gd name="T44" fmla="*/ 9 w 320"/>
                <a:gd name="T45" fmla="*/ 0 h 234"/>
                <a:gd name="T46" fmla="*/ 24 w 320"/>
                <a:gd name="T47" fmla="*/ 0 h 234"/>
                <a:gd name="T48" fmla="*/ 38 w 320"/>
                <a:gd name="T49" fmla="*/ 3 h 234"/>
                <a:gd name="T50" fmla="*/ 56 w 320"/>
                <a:gd name="T51" fmla="*/ 16 h 234"/>
                <a:gd name="T52" fmla="*/ 78 w 320"/>
                <a:gd name="T53" fmla="*/ 35 h 234"/>
                <a:gd name="T54" fmla="*/ 96 w 320"/>
                <a:gd name="T55" fmla="*/ 48 h 234"/>
                <a:gd name="T56" fmla="*/ 119 w 320"/>
                <a:gd name="T57" fmla="*/ 58 h 234"/>
                <a:gd name="T58" fmla="*/ 152 w 320"/>
                <a:gd name="T59" fmla="*/ 70 h 234"/>
                <a:gd name="T60" fmla="*/ 181 w 320"/>
                <a:gd name="T61" fmla="*/ 79 h 234"/>
                <a:gd name="T62" fmla="*/ 214 w 320"/>
                <a:gd name="T63" fmla="*/ 85 h 234"/>
                <a:gd name="T64" fmla="*/ 236 w 320"/>
                <a:gd name="T65" fmla="*/ 77 h 234"/>
                <a:gd name="T66" fmla="*/ 257 w 320"/>
                <a:gd name="T67" fmla="*/ 83 h 234"/>
                <a:gd name="T68" fmla="*/ 284 w 320"/>
                <a:gd name="T69" fmla="*/ 107 h 234"/>
                <a:gd name="T70" fmla="*/ 305 w 320"/>
                <a:gd name="T71" fmla="*/ 119 h 234"/>
                <a:gd name="T72" fmla="*/ 297 w 320"/>
                <a:gd name="T73" fmla="*/ 133 h 234"/>
                <a:gd name="T74" fmla="*/ 268 w 320"/>
                <a:gd name="T75" fmla="*/ 144 h 234"/>
                <a:gd name="T76" fmla="*/ 249 w 320"/>
                <a:gd name="T77" fmla="*/ 148 h 234"/>
                <a:gd name="T78" fmla="*/ 237 w 320"/>
                <a:gd name="T79" fmla="*/ 159 h 234"/>
                <a:gd name="T80" fmla="*/ 232 w 320"/>
                <a:gd name="T81" fmla="*/ 176 h 234"/>
                <a:gd name="T82" fmla="*/ 231 w 320"/>
                <a:gd name="T83" fmla="*/ 187 h 234"/>
                <a:gd name="T84" fmla="*/ 222 w 320"/>
                <a:gd name="T85" fmla="*/ 192 h 234"/>
                <a:gd name="T86" fmla="*/ 204 w 320"/>
                <a:gd name="T87" fmla="*/ 189 h 234"/>
                <a:gd name="T88" fmla="*/ 186 w 320"/>
                <a:gd name="T89" fmla="*/ 181 h 234"/>
                <a:gd name="T90" fmla="*/ 168 w 320"/>
                <a:gd name="T91" fmla="*/ 170 h 234"/>
                <a:gd name="T92" fmla="*/ 155 w 320"/>
                <a:gd name="T93" fmla="*/ 164 h 234"/>
                <a:gd name="T94" fmla="*/ 145 w 320"/>
                <a:gd name="T95" fmla="*/ 161 h 234"/>
                <a:gd name="T96" fmla="*/ 131 w 320"/>
                <a:gd name="T97" fmla="*/ 162 h 234"/>
                <a:gd name="T98" fmla="*/ 114 w 320"/>
                <a:gd name="T99" fmla="*/ 167 h 234"/>
                <a:gd name="T100" fmla="*/ 100 w 320"/>
                <a:gd name="T101" fmla="*/ 173 h 234"/>
                <a:gd name="T102" fmla="*/ 87 w 320"/>
                <a:gd name="T103" fmla="*/ 178 h 234"/>
                <a:gd name="T104" fmla="*/ 85 w 320"/>
                <a:gd name="T105" fmla="*/ 183 h 234"/>
                <a:gd name="T106" fmla="*/ 96 w 320"/>
                <a:gd name="T107" fmla="*/ 191 h 234"/>
                <a:gd name="T108" fmla="*/ 116 w 320"/>
                <a:gd name="T109" fmla="*/ 200 h 234"/>
                <a:gd name="T110" fmla="*/ 126 w 320"/>
                <a:gd name="T111" fmla="*/ 212 h 234"/>
                <a:gd name="T112" fmla="*/ 113 w 320"/>
                <a:gd name="T113" fmla="*/ 224 h 234"/>
                <a:gd name="T114" fmla="*/ 102 w 320"/>
                <a:gd name="T115" fmla="*/ 231 h 234"/>
                <a:gd name="T116" fmla="*/ 91 w 320"/>
                <a:gd name="T117" fmla="*/ 23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24" name="Freeform 483">
              <a:extLst>
                <a:ext uri="{FF2B5EF4-FFF2-40B4-BE49-F238E27FC236}">
                  <a16:creationId xmlns:a16="http://schemas.microsoft.com/office/drawing/2014/main" id="{033C24F4-DBCF-4517-AE7C-A636DFCF102D}"/>
                </a:ext>
              </a:extLst>
            </p:cNvPr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8666164" y="2565400"/>
              <a:ext cx="52387" cy="57150"/>
            </a:xfrm>
            <a:custGeom>
              <a:avLst/>
              <a:gdLst>
                <a:gd name="T0" fmla="*/ 33 w 125"/>
                <a:gd name="T1" fmla="*/ 19 h 93"/>
                <a:gd name="T2" fmla="*/ 43 w 125"/>
                <a:gd name="T3" fmla="*/ 19 h 93"/>
                <a:gd name="T4" fmla="*/ 52 w 125"/>
                <a:gd name="T5" fmla="*/ 19 h 93"/>
                <a:gd name="T6" fmla="*/ 55 w 125"/>
                <a:gd name="T7" fmla="*/ 19 h 93"/>
                <a:gd name="T8" fmla="*/ 58 w 125"/>
                <a:gd name="T9" fmla="*/ 17 h 93"/>
                <a:gd name="T10" fmla="*/ 61 w 125"/>
                <a:gd name="T11" fmla="*/ 15 h 93"/>
                <a:gd name="T12" fmla="*/ 65 w 125"/>
                <a:gd name="T13" fmla="*/ 11 h 93"/>
                <a:gd name="T14" fmla="*/ 68 w 125"/>
                <a:gd name="T15" fmla="*/ 8 h 93"/>
                <a:gd name="T16" fmla="*/ 70 w 125"/>
                <a:gd name="T17" fmla="*/ 5 h 93"/>
                <a:gd name="T18" fmla="*/ 72 w 125"/>
                <a:gd name="T19" fmla="*/ 3 h 93"/>
                <a:gd name="T20" fmla="*/ 72 w 125"/>
                <a:gd name="T21" fmla="*/ 0 h 93"/>
                <a:gd name="T22" fmla="*/ 118 w 125"/>
                <a:gd name="T23" fmla="*/ 0 h 93"/>
                <a:gd name="T24" fmla="*/ 122 w 125"/>
                <a:gd name="T25" fmla="*/ 15 h 93"/>
                <a:gd name="T26" fmla="*/ 125 w 125"/>
                <a:gd name="T27" fmla="*/ 25 h 93"/>
                <a:gd name="T28" fmla="*/ 124 w 125"/>
                <a:gd name="T29" fmla="*/ 29 h 93"/>
                <a:gd name="T30" fmla="*/ 122 w 125"/>
                <a:gd name="T31" fmla="*/ 33 h 93"/>
                <a:gd name="T32" fmla="*/ 119 w 125"/>
                <a:gd name="T33" fmla="*/ 35 h 93"/>
                <a:gd name="T34" fmla="*/ 117 w 125"/>
                <a:gd name="T35" fmla="*/ 37 h 93"/>
                <a:gd name="T36" fmla="*/ 111 w 125"/>
                <a:gd name="T37" fmla="*/ 40 h 93"/>
                <a:gd name="T38" fmla="*/ 104 w 125"/>
                <a:gd name="T39" fmla="*/ 41 h 93"/>
                <a:gd name="T40" fmla="*/ 88 w 125"/>
                <a:gd name="T41" fmla="*/ 41 h 93"/>
                <a:gd name="T42" fmla="*/ 72 w 125"/>
                <a:gd name="T43" fmla="*/ 43 h 93"/>
                <a:gd name="T44" fmla="*/ 70 w 125"/>
                <a:gd name="T45" fmla="*/ 47 h 93"/>
                <a:gd name="T46" fmla="*/ 69 w 125"/>
                <a:gd name="T47" fmla="*/ 53 h 93"/>
                <a:gd name="T48" fmla="*/ 67 w 125"/>
                <a:gd name="T49" fmla="*/ 61 h 93"/>
                <a:gd name="T50" fmla="*/ 67 w 125"/>
                <a:gd name="T51" fmla="*/ 71 h 93"/>
                <a:gd name="T52" fmla="*/ 66 w 125"/>
                <a:gd name="T53" fmla="*/ 86 h 93"/>
                <a:gd name="T54" fmla="*/ 66 w 125"/>
                <a:gd name="T55" fmla="*/ 93 h 93"/>
                <a:gd name="T56" fmla="*/ 49 w 125"/>
                <a:gd name="T57" fmla="*/ 85 h 93"/>
                <a:gd name="T58" fmla="*/ 27 w 125"/>
                <a:gd name="T59" fmla="*/ 73 h 93"/>
                <a:gd name="T60" fmla="*/ 16 w 125"/>
                <a:gd name="T61" fmla="*/ 65 h 93"/>
                <a:gd name="T62" fmla="*/ 7 w 125"/>
                <a:gd name="T63" fmla="*/ 58 h 93"/>
                <a:gd name="T64" fmla="*/ 4 w 125"/>
                <a:gd name="T65" fmla="*/ 54 h 93"/>
                <a:gd name="T66" fmla="*/ 2 w 125"/>
                <a:gd name="T67" fmla="*/ 50 h 93"/>
                <a:gd name="T68" fmla="*/ 0 w 125"/>
                <a:gd name="T69" fmla="*/ 47 h 93"/>
                <a:gd name="T70" fmla="*/ 0 w 125"/>
                <a:gd name="T71" fmla="*/ 43 h 93"/>
                <a:gd name="T72" fmla="*/ 7 w 125"/>
                <a:gd name="T73" fmla="*/ 43 h 93"/>
                <a:gd name="T74" fmla="*/ 15 w 125"/>
                <a:gd name="T75" fmla="*/ 41 h 93"/>
                <a:gd name="T76" fmla="*/ 20 w 125"/>
                <a:gd name="T77" fmla="*/ 39 h 93"/>
                <a:gd name="T78" fmla="*/ 23 w 125"/>
                <a:gd name="T79" fmla="*/ 36 h 93"/>
                <a:gd name="T80" fmla="*/ 28 w 125"/>
                <a:gd name="T81" fmla="*/ 28 h 93"/>
                <a:gd name="T82" fmla="*/ 33 w 125"/>
                <a:gd name="T83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25" name="Freeform 484">
              <a:extLst>
                <a:ext uri="{FF2B5EF4-FFF2-40B4-BE49-F238E27FC236}">
                  <a16:creationId xmlns:a16="http://schemas.microsoft.com/office/drawing/2014/main" id="{1E878DD5-D1F1-4741-94E7-D3238D167653}"/>
                </a:ext>
              </a:extLst>
            </p:cNvPr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8612189" y="2579689"/>
              <a:ext cx="60325" cy="84137"/>
            </a:xfrm>
            <a:custGeom>
              <a:avLst/>
              <a:gdLst>
                <a:gd name="T0" fmla="*/ 20 w 133"/>
                <a:gd name="T1" fmla="*/ 12 h 154"/>
                <a:gd name="T2" fmla="*/ 24 w 133"/>
                <a:gd name="T3" fmla="*/ 10 h 154"/>
                <a:gd name="T4" fmla="*/ 31 w 133"/>
                <a:gd name="T5" fmla="*/ 6 h 154"/>
                <a:gd name="T6" fmla="*/ 34 w 133"/>
                <a:gd name="T7" fmla="*/ 4 h 154"/>
                <a:gd name="T8" fmla="*/ 37 w 133"/>
                <a:gd name="T9" fmla="*/ 2 h 154"/>
                <a:gd name="T10" fmla="*/ 42 w 133"/>
                <a:gd name="T11" fmla="*/ 1 h 154"/>
                <a:gd name="T12" fmla="*/ 46 w 133"/>
                <a:gd name="T13" fmla="*/ 0 h 154"/>
                <a:gd name="T14" fmla="*/ 59 w 133"/>
                <a:gd name="T15" fmla="*/ 1 h 154"/>
                <a:gd name="T16" fmla="*/ 70 w 133"/>
                <a:gd name="T17" fmla="*/ 4 h 154"/>
                <a:gd name="T18" fmla="*/ 81 w 133"/>
                <a:gd name="T19" fmla="*/ 8 h 154"/>
                <a:gd name="T20" fmla="*/ 90 w 133"/>
                <a:gd name="T21" fmla="*/ 14 h 154"/>
                <a:gd name="T22" fmla="*/ 99 w 133"/>
                <a:gd name="T23" fmla="*/ 21 h 154"/>
                <a:gd name="T24" fmla="*/ 105 w 133"/>
                <a:gd name="T25" fmla="*/ 30 h 154"/>
                <a:gd name="T26" fmla="*/ 112 w 133"/>
                <a:gd name="T27" fmla="*/ 40 h 154"/>
                <a:gd name="T28" fmla="*/ 116 w 133"/>
                <a:gd name="T29" fmla="*/ 50 h 154"/>
                <a:gd name="T30" fmla="*/ 121 w 133"/>
                <a:gd name="T31" fmla="*/ 60 h 154"/>
                <a:gd name="T32" fmla="*/ 124 w 133"/>
                <a:gd name="T33" fmla="*/ 71 h 154"/>
                <a:gd name="T34" fmla="*/ 127 w 133"/>
                <a:gd name="T35" fmla="*/ 82 h 154"/>
                <a:gd name="T36" fmla="*/ 130 w 133"/>
                <a:gd name="T37" fmla="*/ 94 h 154"/>
                <a:gd name="T38" fmla="*/ 132 w 133"/>
                <a:gd name="T39" fmla="*/ 116 h 154"/>
                <a:gd name="T40" fmla="*/ 133 w 133"/>
                <a:gd name="T41" fmla="*/ 135 h 154"/>
                <a:gd name="T42" fmla="*/ 132 w 133"/>
                <a:gd name="T43" fmla="*/ 138 h 154"/>
                <a:gd name="T44" fmla="*/ 130 w 133"/>
                <a:gd name="T45" fmla="*/ 141 h 154"/>
                <a:gd name="T46" fmla="*/ 125 w 133"/>
                <a:gd name="T47" fmla="*/ 144 h 154"/>
                <a:gd name="T48" fmla="*/ 121 w 133"/>
                <a:gd name="T49" fmla="*/ 147 h 154"/>
                <a:gd name="T50" fmla="*/ 115 w 133"/>
                <a:gd name="T51" fmla="*/ 150 h 154"/>
                <a:gd name="T52" fmla="*/ 110 w 133"/>
                <a:gd name="T53" fmla="*/ 153 h 154"/>
                <a:gd name="T54" fmla="*/ 104 w 133"/>
                <a:gd name="T55" fmla="*/ 154 h 154"/>
                <a:gd name="T56" fmla="*/ 99 w 133"/>
                <a:gd name="T57" fmla="*/ 154 h 154"/>
                <a:gd name="T58" fmla="*/ 93 w 133"/>
                <a:gd name="T59" fmla="*/ 153 h 154"/>
                <a:gd name="T60" fmla="*/ 87 w 133"/>
                <a:gd name="T61" fmla="*/ 149 h 154"/>
                <a:gd name="T62" fmla="*/ 79 w 133"/>
                <a:gd name="T63" fmla="*/ 141 h 154"/>
                <a:gd name="T64" fmla="*/ 71 w 133"/>
                <a:gd name="T65" fmla="*/ 134 h 154"/>
                <a:gd name="T66" fmla="*/ 64 w 133"/>
                <a:gd name="T67" fmla="*/ 126 h 154"/>
                <a:gd name="T68" fmla="*/ 58 w 133"/>
                <a:gd name="T69" fmla="*/ 118 h 154"/>
                <a:gd name="T70" fmla="*/ 54 w 133"/>
                <a:gd name="T71" fmla="*/ 111 h 154"/>
                <a:gd name="T72" fmla="*/ 53 w 133"/>
                <a:gd name="T73" fmla="*/ 105 h 154"/>
                <a:gd name="T74" fmla="*/ 54 w 133"/>
                <a:gd name="T75" fmla="*/ 98 h 154"/>
                <a:gd name="T76" fmla="*/ 56 w 133"/>
                <a:gd name="T77" fmla="*/ 83 h 154"/>
                <a:gd name="T78" fmla="*/ 58 w 133"/>
                <a:gd name="T79" fmla="*/ 68 h 154"/>
                <a:gd name="T80" fmla="*/ 59 w 133"/>
                <a:gd name="T81" fmla="*/ 62 h 154"/>
                <a:gd name="T82" fmla="*/ 47 w 133"/>
                <a:gd name="T83" fmla="*/ 61 h 154"/>
                <a:gd name="T84" fmla="*/ 36 w 133"/>
                <a:gd name="T85" fmla="*/ 59 h 154"/>
                <a:gd name="T86" fmla="*/ 25 w 133"/>
                <a:gd name="T87" fmla="*/ 56 h 154"/>
                <a:gd name="T88" fmla="*/ 17 w 133"/>
                <a:gd name="T89" fmla="*/ 52 h 154"/>
                <a:gd name="T90" fmla="*/ 13 w 133"/>
                <a:gd name="T91" fmla="*/ 49 h 154"/>
                <a:gd name="T92" fmla="*/ 10 w 133"/>
                <a:gd name="T93" fmla="*/ 46 h 154"/>
                <a:gd name="T94" fmla="*/ 7 w 133"/>
                <a:gd name="T95" fmla="*/ 43 h 154"/>
                <a:gd name="T96" fmla="*/ 4 w 133"/>
                <a:gd name="T97" fmla="*/ 39 h 154"/>
                <a:gd name="T98" fmla="*/ 2 w 133"/>
                <a:gd name="T99" fmla="*/ 34 h 154"/>
                <a:gd name="T100" fmla="*/ 1 w 133"/>
                <a:gd name="T101" fmla="*/ 29 h 154"/>
                <a:gd name="T102" fmla="*/ 0 w 133"/>
                <a:gd name="T103" fmla="*/ 24 h 154"/>
                <a:gd name="T104" fmla="*/ 0 w 133"/>
                <a:gd name="T105" fmla="*/ 18 h 154"/>
                <a:gd name="T106" fmla="*/ 7 w 133"/>
                <a:gd name="T107" fmla="*/ 15 h 154"/>
                <a:gd name="T108" fmla="*/ 20 w 133"/>
                <a:gd name="T109" fmla="*/ 1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26" name="Freeform 485">
              <a:extLst>
                <a:ext uri="{FF2B5EF4-FFF2-40B4-BE49-F238E27FC236}">
                  <a16:creationId xmlns:a16="http://schemas.microsoft.com/office/drawing/2014/main" id="{A46BE738-2250-4784-9D4F-2A205B7C7CF7}"/>
                </a:ext>
              </a:extLst>
            </p:cNvPr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8628063" y="2341564"/>
              <a:ext cx="209550" cy="244475"/>
            </a:xfrm>
            <a:custGeom>
              <a:avLst/>
              <a:gdLst>
                <a:gd name="T0" fmla="*/ 134 w 485"/>
                <a:gd name="T1" fmla="*/ 351 h 468"/>
                <a:gd name="T2" fmla="*/ 167 w 485"/>
                <a:gd name="T3" fmla="*/ 339 h 468"/>
                <a:gd name="T4" fmla="*/ 200 w 485"/>
                <a:gd name="T5" fmla="*/ 339 h 468"/>
                <a:gd name="T6" fmla="*/ 226 w 485"/>
                <a:gd name="T7" fmla="*/ 348 h 468"/>
                <a:gd name="T8" fmla="*/ 224 w 485"/>
                <a:gd name="T9" fmla="*/ 327 h 468"/>
                <a:gd name="T10" fmla="*/ 220 w 485"/>
                <a:gd name="T11" fmla="*/ 316 h 468"/>
                <a:gd name="T12" fmla="*/ 233 w 485"/>
                <a:gd name="T13" fmla="*/ 303 h 468"/>
                <a:gd name="T14" fmla="*/ 239 w 485"/>
                <a:gd name="T15" fmla="*/ 276 h 468"/>
                <a:gd name="T16" fmla="*/ 242 w 485"/>
                <a:gd name="T17" fmla="*/ 246 h 468"/>
                <a:gd name="T18" fmla="*/ 268 w 485"/>
                <a:gd name="T19" fmla="*/ 255 h 468"/>
                <a:gd name="T20" fmla="*/ 300 w 485"/>
                <a:gd name="T21" fmla="*/ 238 h 468"/>
                <a:gd name="T22" fmla="*/ 316 w 485"/>
                <a:gd name="T23" fmla="*/ 217 h 468"/>
                <a:gd name="T24" fmla="*/ 293 w 485"/>
                <a:gd name="T25" fmla="*/ 194 h 468"/>
                <a:gd name="T26" fmla="*/ 318 w 485"/>
                <a:gd name="T27" fmla="*/ 199 h 468"/>
                <a:gd name="T28" fmla="*/ 343 w 485"/>
                <a:gd name="T29" fmla="*/ 202 h 468"/>
                <a:gd name="T30" fmla="*/ 346 w 485"/>
                <a:gd name="T31" fmla="*/ 185 h 468"/>
                <a:gd name="T32" fmla="*/ 295 w 485"/>
                <a:gd name="T33" fmla="*/ 96 h 468"/>
                <a:gd name="T34" fmla="*/ 285 w 485"/>
                <a:gd name="T35" fmla="*/ 53 h 468"/>
                <a:gd name="T36" fmla="*/ 291 w 485"/>
                <a:gd name="T37" fmla="*/ 19 h 468"/>
                <a:gd name="T38" fmla="*/ 316 w 485"/>
                <a:gd name="T39" fmla="*/ 1 h 468"/>
                <a:gd name="T40" fmla="*/ 336 w 485"/>
                <a:gd name="T41" fmla="*/ 18 h 468"/>
                <a:gd name="T42" fmla="*/ 377 w 485"/>
                <a:gd name="T43" fmla="*/ 45 h 468"/>
                <a:gd name="T44" fmla="*/ 415 w 485"/>
                <a:gd name="T45" fmla="*/ 72 h 468"/>
                <a:gd name="T46" fmla="*/ 426 w 485"/>
                <a:gd name="T47" fmla="*/ 98 h 468"/>
                <a:gd name="T48" fmla="*/ 436 w 485"/>
                <a:gd name="T49" fmla="*/ 137 h 468"/>
                <a:gd name="T50" fmla="*/ 445 w 485"/>
                <a:gd name="T51" fmla="*/ 173 h 468"/>
                <a:gd name="T52" fmla="*/ 428 w 485"/>
                <a:gd name="T53" fmla="*/ 179 h 468"/>
                <a:gd name="T54" fmla="*/ 412 w 485"/>
                <a:gd name="T55" fmla="*/ 185 h 468"/>
                <a:gd name="T56" fmla="*/ 426 w 485"/>
                <a:gd name="T57" fmla="*/ 199 h 468"/>
                <a:gd name="T58" fmla="*/ 445 w 485"/>
                <a:gd name="T59" fmla="*/ 203 h 468"/>
                <a:gd name="T60" fmla="*/ 455 w 485"/>
                <a:gd name="T61" fmla="*/ 262 h 468"/>
                <a:gd name="T62" fmla="*/ 475 w 485"/>
                <a:gd name="T63" fmla="*/ 312 h 468"/>
                <a:gd name="T64" fmla="*/ 480 w 485"/>
                <a:gd name="T65" fmla="*/ 381 h 468"/>
                <a:gd name="T66" fmla="*/ 463 w 485"/>
                <a:gd name="T67" fmla="*/ 364 h 468"/>
                <a:gd name="T68" fmla="*/ 453 w 485"/>
                <a:gd name="T69" fmla="*/ 356 h 468"/>
                <a:gd name="T70" fmla="*/ 436 w 485"/>
                <a:gd name="T71" fmla="*/ 363 h 468"/>
                <a:gd name="T72" fmla="*/ 429 w 485"/>
                <a:gd name="T73" fmla="*/ 399 h 468"/>
                <a:gd name="T74" fmla="*/ 408 w 485"/>
                <a:gd name="T75" fmla="*/ 389 h 468"/>
                <a:gd name="T76" fmla="*/ 389 w 485"/>
                <a:gd name="T77" fmla="*/ 382 h 468"/>
                <a:gd name="T78" fmla="*/ 376 w 485"/>
                <a:gd name="T79" fmla="*/ 402 h 468"/>
                <a:gd name="T80" fmla="*/ 345 w 485"/>
                <a:gd name="T81" fmla="*/ 413 h 468"/>
                <a:gd name="T82" fmla="*/ 334 w 485"/>
                <a:gd name="T83" fmla="*/ 400 h 468"/>
                <a:gd name="T84" fmla="*/ 312 w 485"/>
                <a:gd name="T85" fmla="*/ 395 h 468"/>
                <a:gd name="T86" fmla="*/ 303 w 485"/>
                <a:gd name="T87" fmla="*/ 426 h 468"/>
                <a:gd name="T88" fmla="*/ 299 w 485"/>
                <a:gd name="T89" fmla="*/ 450 h 468"/>
                <a:gd name="T90" fmla="*/ 307 w 485"/>
                <a:gd name="T91" fmla="*/ 466 h 468"/>
                <a:gd name="T92" fmla="*/ 272 w 485"/>
                <a:gd name="T93" fmla="*/ 468 h 468"/>
                <a:gd name="T94" fmla="*/ 258 w 485"/>
                <a:gd name="T95" fmla="*/ 465 h 468"/>
                <a:gd name="T96" fmla="*/ 244 w 485"/>
                <a:gd name="T97" fmla="*/ 440 h 468"/>
                <a:gd name="T98" fmla="*/ 229 w 485"/>
                <a:gd name="T99" fmla="*/ 418 h 468"/>
                <a:gd name="T100" fmla="*/ 204 w 485"/>
                <a:gd name="T101" fmla="*/ 406 h 468"/>
                <a:gd name="T102" fmla="*/ 190 w 485"/>
                <a:gd name="T103" fmla="*/ 394 h 468"/>
                <a:gd name="T104" fmla="*/ 136 w 485"/>
                <a:gd name="T105" fmla="*/ 417 h 468"/>
                <a:gd name="T106" fmla="*/ 90 w 485"/>
                <a:gd name="T107" fmla="*/ 435 h 468"/>
                <a:gd name="T108" fmla="*/ 65 w 485"/>
                <a:gd name="T109" fmla="*/ 459 h 468"/>
                <a:gd name="T110" fmla="*/ 27 w 485"/>
                <a:gd name="T111" fmla="*/ 461 h 468"/>
                <a:gd name="T112" fmla="*/ 7 w 485"/>
                <a:gd name="T113" fmla="*/ 438 h 468"/>
                <a:gd name="T114" fmla="*/ 0 w 485"/>
                <a:gd name="T115" fmla="*/ 417 h 468"/>
                <a:gd name="T116" fmla="*/ 7 w 485"/>
                <a:gd name="T117" fmla="*/ 413 h 468"/>
                <a:gd name="T118" fmla="*/ 27 w 485"/>
                <a:gd name="T119" fmla="*/ 414 h 468"/>
                <a:gd name="T120" fmla="*/ 48 w 485"/>
                <a:gd name="T121" fmla="*/ 405 h 468"/>
                <a:gd name="T122" fmla="*/ 72 w 485"/>
                <a:gd name="T123" fmla="*/ 369 h 468"/>
                <a:gd name="T124" fmla="*/ 93 w 485"/>
                <a:gd name="T125" fmla="*/ 352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27" name="Freeform 486">
              <a:extLst>
                <a:ext uri="{FF2B5EF4-FFF2-40B4-BE49-F238E27FC236}">
                  <a16:creationId xmlns:a16="http://schemas.microsoft.com/office/drawing/2014/main" id="{31838B54-77E7-46CD-8022-2BD79057269F}"/>
                </a:ext>
              </a:extLst>
            </p:cNvPr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6211888" y="1231901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28" name="Freeform 487">
              <a:extLst>
                <a:ext uri="{FF2B5EF4-FFF2-40B4-BE49-F238E27FC236}">
                  <a16:creationId xmlns:a16="http://schemas.microsoft.com/office/drawing/2014/main" id="{E0598FD8-C0D1-4996-A878-6C4ACB809FBE}"/>
                </a:ext>
              </a:extLst>
            </p:cNvPr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6354763" y="121443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29" name="Freeform 488">
              <a:extLst>
                <a:ext uri="{FF2B5EF4-FFF2-40B4-BE49-F238E27FC236}">
                  <a16:creationId xmlns:a16="http://schemas.microsoft.com/office/drawing/2014/main" id="{D709828A-8690-4A52-8172-77E937694ED3}"/>
                </a:ext>
              </a:extLst>
            </p:cNvPr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6391276" y="12223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0" name="Freeform 489">
              <a:extLst>
                <a:ext uri="{FF2B5EF4-FFF2-40B4-BE49-F238E27FC236}">
                  <a16:creationId xmlns:a16="http://schemas.microsoft.com/office/drawing/2014/main" id="{60F6F837-D598-45A7-88F9-C4AD791B8D19}"/>
                </a:ext>
              </a:extLst>
            </p:cNvPr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6924676" y="1408113"/>
              <a:ext cx="41275" cy="57150"/>
            </a:xfrm>
            <a:custGeom>
              <a:avLst/>
              <a:gdLst>
                <a:gd name="T0" fmla="*/ 93 w 100"/>
                <a:gd name="T1" fmla="*/ 0 h 42"/>
                <a:gd name="T2" fmla="*/ 97 w 100"/>
                <a:gd name="T3" fmla="*/ 7 h 42"/>
                <a:gd name="T4" fmla="*/ 100 w 100"/>
                <a:gd name="T5" fmla="*/ 18 h 42"/>
                <a:gd name="T6" fmla="*/ 92 w 100"/>
                <a:gd name="T7" fmla="*/ 24 h 42"/>
                <a:gd name="T8" fmla="*/ 86 w 100"/>
                <a:gd name="T9" fmla="*/ 29 h 42"/>
                <a:gd name="T10" fmla="*/ 79 w 100"/>
                <a:gd name="T11" fmla="*/ 34 h 42"/>
                <a:gd name="T12" fmla="*/ 72 w 100"/>
                <a:gd name="T13" fmla="*/ 37 h 42"/>
                <a:gd name="T14" fmla="*/ 65 w 100"/>
                <a:gd name="T15" fmla="*/ 39 h 42"/>
                <a:gd name="T16" fmla="*/ 57 w 100"/>
                <a:gd name="T17" fmla="*/ 41 h 42"/>
                <a:gd name="T18" fmla="*/ 49 w 100"/>
                <a:gd name="T19" fmla="*/ 42 h 42"/>
                <a:gd name="T20" fmla="*/ 40 w 100"/>
                <a:gd name="T21" fmla="*/ 42 h 42"/>
                <a:gd name="T22" fmla="*/ 27 w 100"/>
                <a:gd name="T23" fmla="*/ 41 h 42"/>
                <a:gd name="T24" fmla="*/ 12 w 100"/>
                <a:gd name="T25" fmla="*/ 39 h 42"/>
                <a:gd name="T26" fmla="*/ 1 w 100"/>
                <a:gd name="T27" fmla="*/ 37 h 42"/>
                <a:gd name="T28" fmla="*/ 0 w 100"/>
                <a:gd name="T29" fmla="*/ 36 h 42"/>
                <a:gd name="T30" fmla="*/ 6 w 100"/>
                <a:gd name="T31" fmla="*/ 36 h 42"/>
                <a:gd name="T32" fmla="*/ 12 w 100"/>
                <a:gd name="T33" fmla="*/ 35 h 42"/>
                <a:gd name="T34" fmla="*/ 18 w 100"/>
                <a:gd name="T35" fmla="*/ 33 h 42"/>
                <a:gd name="T36" fmla="*/ 23 w 100"/>
                <a:gd name="T37" fmla="*/ 30 h 42"/>
                <a:gd name="T38" fmla="*/ 33 w 100"/>
                <a:gd name="T39" fmla="*/ 25 h 42"/>
                <a:gd name="T40" fmla="*/ 44 w 100"/>
                <a:gd name="T41" fmla="*/ 18 h 42"/>
                <a:gd name="T42" fmla="*/ 55 w 100"/>
                <a:gd name="T43" fmla="*/ 11 h 42"/>
                <a:gd name="T44" fmla="*/ 66 w 100"/>
                <a:gd name="T45" fmla="*/ 5 h 42"/>
                <a:gd name="T46" fmla="*/ 72 w 100"/>
                <a:gd name="T47" fmla="*/ 3 h 42"/>
                <a:gd name="T48" fmla="*/ 79 w 100"/>
                <a:gd name="T49" fmla="*/ 1 h 42"/>
                <a:gd name="T50" fmla="*/ 86 w 100"/>
                <a:gd name="T51" fmla="*/ 0 h 42"/>
                <a:gd name="T52" fmla="*/ 93 w 100"/>
                <a:gd name="T53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1" name="Freeform 490">
              <a:extLst>
                <a:ext uri="{FF2B5EF4-FFF2-40B4-BE49-F238E27FC236}">
                  <a16:creationId xmlns:a16="http://schemas.microsoft.com/office/drawing/2014/main" id="{869ACF3A-7913-47F9-9614-86ED1D47894D}"/>
                </a:ext>
              </a:extLst>
            </p:cNvPr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6834189" y="1266825"/>
              <a:ext cx="15875" cy="58738"/>
            </a:xfrm>
            <a:custGeom>
              <a:avLst/>
              <a:gdLst>
                <a:gd name="T0" fmla="*/ 40 w 40"/>
                <a:gd name="T1" fmla="*/ 5 h 5"/>
                <a:gd name="T2" fmla="*/ 0 w 40"/>
                <a:gd name="T3" fmla="*/ 5 h 5"/>
                <a:gd name="T4" fmla="*/ 5 w 40"/>
                <a:gd name="T5" fmla="*/ 3 h 5"/>
                <a:gd name="T6" fmla="*/ 9 w 40"/>
                <a:gd name="T7" fmla="*/ 1 h 5"/>
                <a:gd name="T8" fmla="*/ 15 w 40"/>
                <a:gd name="T9" fmla="*/ 0 h 5"/>
                <a:gd name="T10" fmla="*/ 20 w 40"/>
                <a:gd name="T11" fmla="*/ 0 h 5"/>
                <a:gd name="T12" fmla="*/ 25 w 40"/>
                <a:gd name="T13" fmla="*/ 0 h 5"/>
                <a:gd name="T14" fmla="*/ 30 w 40"/>
                <a:gd name="T15" fmla="*/ 1 h 5"/>
                <a:gd name="T16" fmla="*/ 35 w 40"/>
                <a:gd name="T17" fmla="*/ 3 h 5"/>
                <a:gd name="T18" fmla="*/ 40 w 40"/>
                <a:gd name="T1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2" name="Freeform 491">
              <a:extLst>
                <a:ext uri="{FF2B5EF4-FFF2-40B4-BE49-F238E27FC236}">
                  <a16:creationId xmlns:a16="http://schemas.microsoft.com/office/drawing/2014/main" id="{D1E03830-8C84-490D-8044-9BD436B97BCC}"/>
                </a:ext>
              </a:extLst>
            </p:cNvPr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6856414" y="1225551"/>
              <a:ext cx="14287" cy="60325"/>
            </a:xfrm>
            <a:custGeom>
              <a:avLst/>
              <a:gdLst>
                <a:gd name="T0" fmla="*/ 0 w 33"/>
                <a:gd name="T1" fmla="*/ 19 h 31"/>
                <a:gd name="T2" fmla="*/ 20 w 33"/>
                <a:gd name="T3" fmla="*/ 0 h 31"/>
                <a:gd name="T4" fmla="*/ 20 w 33"/>
                <a:gd name="T5" fmla="*/ 4 h 31"/>
                <a:gd name="T6" fmla="*/ 22 w 33"/>
                <a:gd name="T7" fmla="*/ 10 h 31"/>
                <a:gd name="T8" fmla="*/ 25 w 33"/>
                <a:gd name="T9" fmla="*/ 14 h 31"/>
                <a:gd name="T10" fmla="*/ 27 w 33"/>
                <a:gd name="T11" fmla="*/ 18 h 31"/>
                <a:gd name="T12" fmla="*/ 31 w 33"/>
                <a:gd name="T13" fmla="*/ 26 h 31"/>
                <a:gd name="T14" fmla="*/ 33 w 33"/>
                <a:gd name="T15" fmla="*/ 31 h 31"/>
                <a:gd name="T16" fmla="*/ 0 w 33"/>
                <a:gd name="T17" fmla="*/ 31 h 31"/>
                <a:gd name="T18" fmla="*/ 0 w 33"/>
                <a:gd name="T19" fmla="*/ 25 h 31"/>
                <a:gd name="T20" fmla="*/ 0 w 33"/>
                <a:gd name="T21" fmla="*/ 1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3" name="Freeform 492">
              <a:extLst>
                <a:ext uri="{FF2B5EF4-FFF2-40B4-BE49-F238E27FC236}">
                  <a16:creationId xmlns:a16="http://schemas.microsoft.com/office/drawing/2014/main" id="{C9817FE7-7597-48BB-99CD-405B1CBD15FA}"/>
                </a:ext>
              </a:extLst>
            </p:cNvPr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7000876" y="1341438"/>
              <a:ext cx="17463" cy="57150"/>
            </a:xfrm>
            <a:custGeom>
              <a:avLst/>
              <a:gdLst>
                <a:gd name="T0" fmla="*/ 41 w 41"/>
                <a:gd name="T1" fmla="*/ 0 h 43"/>
                <a:gd name="T2" fmla="*/ 41 w 41"/>
                <a:gd name="T3" fmla="*/ 43 h 43"/>
                <a:gd name="T4" fmla="*/ 31 w 41"/>
                <a:gd name="T5" fmla="*/ 42 h 43"/>
                <a:gd name="T6" fmla="*/ 24 w 41"/>
                <a:gd name="T7" fmla="*/ 40 h 43"/>
                <a:gd name="T8" fmla="*/ 18 w 41"/>
                <a:gd name="T9" fmla="*/ 37 h 43"/>
                <a:gd name="T10" fmla="*/ 13 w 41"/>
                <a:gd name="T11" fmla="*/ 33 h 43"/>
                <a:gd name="T12" fmla="*/ 5 w 41"/>
                <a:gd name="T13" fmla="*/ 25 h 43"/>
                <a:gd name="T14" fmla="*/ 0 w 41"/>
                <a:gd name="T15" fmla="*/ 19 h 43"/>
                <a:gd name="T16" fmla="*/ 12 w 41"/>
                <a:gd name="T17" fmla="*/ 13 h 43"/>
                <a:gd name="T18" fmla="*/ 25 w 41"/>
                <a:gd name="T19" fmla="*/ 7 h 43"/>
                <a:gd name="T20" fmla="*/ 36 w 41"/>
                <a:gd name="T21" fmla="*/ 2 h 43"/>
                <a:gd name="T22" fmla="*/ 41 w 41"/>
                <a:gd name="T2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4" name="Freeform 493">
              <a:extLst>
                <a:ext uri="{FF2B5EF4-FFF2-40B4-BE49-F238E27FC236}">
                  <a16:creationId xmlns:a16="http://schemas.microsoft.com/office/drawing/2014/main" id="{B3E13581-C5DD-4FE3-908E-94EBC5E67268}"/>
                </a:ext>
              </a:extLst>
            </p:cNvPr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7054851" y="1225551"/>
              <a:ext cx="93663" cy="60325"/>
            </a:xfrm>
            <a:custGeom>
              <a:avLst/>
              <a:gdLst>
                <a:gd name="T0" fmla="*/ 61 w 213"/>
                <a:gd name="T1" fmla="*/ 0 h 62"/>
                <a:gd name="T2" fmla="*/ 83 w 213"/>
                <a:gd name="T3" fmla="*/ 0 h 62"/>
                <a:gd name="T4" fmla="*/ 105 w 213"/>
                <a:gd name="T5" fmla="*/ 1 h 62"/>
                <a:gd name="T6" fmla="*/ 127 w 213"/>
                <a:gd name="T7" fmla="*/ 3 h 62"/>
                <a:gd name="T8" fmla="*/ 146 w 213"/>
                <a:gd name="T9" fmla="*/ 7 h 62"/>
                <a:gd name="T10" fmla="*/ 166 w 213"/>
                <a:gd name="T11" fmla="*/ 11 h 62"/>
                <a:gd name="T12" fmla="*/ 184 w 213"/>
                <a:gd name="T13" fmla="*/ 16 h 62"/>
                <a:gd name="T14" fmla="*/ 191 w 213"/>
                <a:gd name="T15" fmla="*/ 19 h 62"/>
                <a:gd name="T16" fmla="*/ 199 w 213"/>
                <a:gd name="T17" fmla="*/ 23 h 62"/>
                <a:gd name="T18" fmla="*/ 207 w 213"/>
                <a:gd name="T19" fmla="*/ 27 h 62"/>
                <a:gd name="T20" fmla="*/ 213 w 213"/>
                <a:gd name="T21" fmla="*/ 31 h 62"/>
                <a:gd name="T22" fmla="*/ 211 w 213"/>
                <a:gd name="T23" fmla="*/ 35 h 62"/>
                <a:gd name="T24" fmla="*/ 207 w 213"/>
                <a:gd name="T25" fmla="*/ 38 h 62"/>
                <a:gd name="T26" fmla="*/ 201 w 213"/>
                <a:gd name="T27" fmla="*/ 41 h 62"/>
                <a:gd name="T28" fmla="*/ 195 w 213"/>
                <a:gd name="T29" fmla="*/ 44 h 62"/>
                <a:gd name="T30" fmla="*/ 177 w 213"/>
                <a:gd name="T31" fmla="*/ 49 h 62"/>
                <a:gd name="T32" fmla="*/ 156 w 213"/>
                <a:gd name="T33" fmla="*/ 53 h 62"/>
                <a:gd name="T34" fmla="*/ 135 w 213"/>
                <a:gd name="T35" fmla="*/ 57 h 62"/>
                <a:gd name="T36" fmla="*/ 114 w 213"/>
                <a:gd name="T37" fmla="*/ 59 h 62"/>
                <a:gd name="T38" fmla="*/ 95 w 213"/>
                <a:gd name="T39" fmla="*/ 62 h 62"/>
                <a:gd name="T40" fmla="*/ 80 w 213"/>
                <a:gd name="T41" fmla="*/ 62 h 62"/>
                <a:gd name="T42" fmla="*/ 62 w 213"/>
                <a:gd name="T43" fmla="*/ 62 h 62"/>
                <a:gd name="T44" fmla="*/ 43 w 213"/>
                <a:gd name="T45" fmla="*/ 59 h 62"/>
                <a:gd name="T46" fmla="*/ 33 w 213"/>
                <a:gd name="T47" fmla="*/ 59 h 62"/>
                <a:gd name="T48" fmla="*/ 23 w 213"/>
                <a:gd name="T49" fmla="*/ 59 h 62"/>
                <a:gd name="T50" fmla="*/ 12 w 213"/>
                <a:gd name="T51" fmla="*/ 60 h 62"/>
                <a:gd name="T52" fmla="*/ 0 w 213"/>
                <a:gd name="T53" fmla="*/ 62 h 62"/>
                <a:gd name="T54" fmla="*/ 6 w 213"/>
                <a:gd name="T55" fmla="*/ 50 h 62"/>
                <a:gd name="T56" fmla="*/ 11 w 213"/>
                <a:gd name="T57" fmla="*/ 39 h 62"/>
                <a:gd name="T58" fmla="*/ 17 w 213"/>
                <a:gd name="T59" fmla="*/ 29 h 62"/>
                <a:gd name="T60" fmla="*/ 23 w 213"/>
                <a:gd name="T61" fmla="*/ 20 h 62"/>
                <a:gd name="T62" fmla="*/ 27 w 213"/>
                <a:gd name="T63" fmla="*/ 16 h 62"/>
                <a:gd name="T64" fmla="*/ 30 w 213"/>
                <a:gd name="T65" fmla="*/ 12 h 62"/>
                <a:gd name="T66" fmla="*/ 34 w 213"/>
                <a:gd name="T67" fmla="*/ 9 h 62"/>
                <a:gd name="T68" fmla="*/ 39 w 213"/>
                <a:gd name="T69" fmla="*/ 6 h 62"/>
                <a:gd name="T70" fmla="*/ 43 w 213"/>
                <a:gd name="T71" fmla="*/ 3 h 62"/>
                <a:gd name="T72" fmla="*/ 49 w 213"/>
                <a:gd name="T73" fmla="*/ 1 h 62"/>
                <a:gd name="T74" fmla="*/ 54 w 213"/>
                <a:gd name="T75" fmla="*/ 0 h 62"/>
                <a:gd name="T76" fmla="*/ 61 w 213"/>
                <a:gd name="T7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5" name="Freeform 494">
              <a:extLst>
                <a:ext uri="{FF2B5EF4-FFF2-40B4-BE49-F238E27FC236}">
                  <a16:creationId xmlns:a16="http://schemas.microsoft.com/office/drawing/2014/main" id="{D11920A9-E068-4678-9E09-FAE8721FD09F}"/>
                </a:ext>
              </a:extLst>
            </p:cNvPr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7115175" y="1250951"/>
              <a:ext cx="103188" cy="60325"/>
            </a:xfrm>
            <a:custGeom>
              <a:avLst/>
              <a:gdLst>
                <a:gd name="T0" fmla="*/ 41 w 239"/>
                <a:gd name="T1" fmla="*/ 0 h 56"/>
                <a:gd name="T2" fmla="*/ 30 w 239"/>
                <a:gd name="T3" fmla="*/ 3 h 56"/>
                <a:gd name="T4" fmla="*/ 23 w 239"/>
                <a:gd name="T5" fmla="*/ 5 h 56"/>
                <a:gd name="T6" fmla="*/ 19 w 239"/>
                <a:gd name="T7" fmla="*/ 7 h 56"/>
                <a:gd name="T8" fmla="*/ 15 w 239"/>
                <a:gd name="T9" fmla="*/ 9 h 56"/>
                <a:gd name="T10" fmla="*/ 13 w 239"/>
                <a:gd name="T11" fmla="*/ 13 h 56"/>
                <a:gd name="T12" fmla="*/ 10 w 239"/>
                <a:gd name="T13" fmla="*/ 15 h 56"/>
                <a:gd name="T14" fmla="*/ 7 w 239"/>
                <a:gd name="T15" fmla="*/ 17 h 56"/>
                <a:gd name="T16" fmla="*/ 0 w 239"/>
                <a:gd name="T17" fmla="*/ 19 h 56"/>
                <a:gd name="T18" fmla="*/ 2 w 239"/>
                <a:gd name="T19" fmla="*/ 24 h 56"/>
                <a:gd name="T20" fmla="*/ 5 w 239"/>
                <a:gd name="T21" fmla="*/ 27 h 56"/>
                <a:gd name="T22" fmla="*/ 7 w 239"/>
                <a:gd name="T23" fmla="*/ 30 h 56"/>
                <a:gd name="T24" fmla="*/ 10 w 239"/>
                <a:gd name="T25" fmla="*/ 33 h 56"/>
                <a:gd name="T26" fmla="*/ 17 w 239"/>
                <a:gd name="T27" fmla="*/ 36 h 56"/>
                <a:gd name="T28" fmla="*/ 24 w 239"/>
                <a:gd name="T29" fmla="*/ 38 h 56"/>
                <a:gd name="T30" fmla="*/ 41 w 239"/>
                <a:gd name="T31" fmla="*/ 38 h 56"/>
                <a:gd name="T32" fmla="*/ 54 w 239"/>
                <a:gd name="T33" fmla="*/ 38 h 56"/>
                <a:gd name="T34" fmla="*/ 153 w 239"/>
                <a:gd name="T35" fmla="*/ 38 h 56"/>
                <a:gd name="T36" fmla="*/ 155 w 239"/>
                <a:gd name="T37" fmla="*/ 41 h 56"/>
                <a:gd name="T38" fmla="*/ 156 w 239"/>
                <a:gd name="T39" fmla="*/ 44 h 56"/>
                <a:gd name="T40" fmla="*/ 159 w 239"/>
                <a:gd name="T41" fmla="*/ 46 h 56"/>
                <a:gd name="T42" fmla="*/ 162 w 239"/>
                <a:gd name="T43" fmla="*/ 48 h 56"/>
                <a:gd name="T44" fmla="*/ 167 w 239"/>
                <a:gd name="T45" fmla="*/ 51 h 56"/>
                <a:gd name="T46" fmla="*/ 174 w 239"/>
                <a:gd name="T47" fmla="*/ 54 h 56"/>
                <a:gd name="T48" fmla="*/ 188 w 239"/>
                <a:gd name="T49" fmla="*/ 56 h 56"/>
                <a:gd name="T50" fmla="*/ 200 w 239"/>
                <a:gd name="T51" fmla="*/ 56 h 56"/>
                <a:gd name="T52" fmla="*/ 204 w 239"/>
                <a:gd name="T53" fmla="*/ 55 h 56"/>
                <a:gd name="T54" fmla="*/ 210 w 239"/>
                <a:gd name="T55" fmla="*/ 54 h 56"/>
                <a:gd name="T56" fmla="*/ 214 w 239"/>
                <a:gd name="T57" fmla="*/ 52 h 56"/>
                <a:gd name="T58" fmla="*/ 220 w 239"/>
                <a:gd name="T59" fmla="*/ 49 h 56"/>
                <a:gd name="T60" fmla="*/ 230 w 239"/>
                <a:gd name="T61" fmla="*/ 43 h 56"/>
                <a:gd name="T62" fmla="*/ 239 w 239"/>
                <a:gd name="T63" fmla="*/ 38 h 56"/>
                <a:gd name="T64" fmla="*/ 232 w 239"/>
                <a:gd name="T65" fmla="*/ 37 h 56"/>
                <a:gd name="T66" fmla="*/ 225 w 239"/>
                <a:gd name="T67" fmla="*/ 36 h 56"/>
                <a:gd name="T68" fmla="*/ 219 w 239"/>
                <a:gd name="T69" fmla="*/ 34 h 56"/>
                <a:gd name="T70" fmla="*/ 213 w 239"/>
                <a:gd name="T71" fmla="*/ 32 h 56"/>
                <a:gd name="T72" fmla="*/ 201 w 239"/>
                <a:gd name="T73" fmla="*/ 26 h 56"/>
                <a:gd name="T74" fmla="*/ 190 w 239"/>
                <a:gd name="T75" fmla="*/ 19 h 56"/>
                <a:gd name="T76" fmla="*/ 178 w 239"/>
                <a:gd name="T77" fmla="*/ 13 h 56"/>
                <a:gd name="T78" fmla="*/ 167 w 239"/>
                <a:gd name="T79" fmla="*/ 6 h 56"/>
                <a:gd name="T80" fmla="*/ 160 w 239"/>
                <a:gd name="T81" fmla="*/ 4 h 56"/>
                <a:gd name="T82" fmla="*/ 154 w 239"/>
                <a:gd name="T83" fmla="*/ 2 h 56"/>
                <a:gd name="T84" fmla="*/ 147 w 239"/>
                <a:gd name="T85" fmla="*/ 1 h 56"/>
                <a:gd name="T86" fmla="*/ 140 w 239"/>
                <a:gd name="T87" fmla="*/ 0 h 56"/>
                <a:gd name="T88" fmla="*/ 134 w 239"/>
                <a:gd name="T89" fmla="*/ 1 h 56"/>
                <a:gd name="T90" fmla="*/ 127 w 239"/>
                <a:gd name="T91" fmla="*/ 4 h 56"/>
                <a:gd name="T92" fmla="*/ 124 w 239"/>
                <a:gd name="T93" fmla="*/ 6 h 56"/>
                <a:gd name="T94" fmla="*/ 122 w 239"/>
                <a:gd name="T95" fmla="*/ 8 h 56"/>
                <a:gd name="T96" fmla="*/ 121 w 239"/>
                <a:gd name="T97" fmla="*/ 10 h 56"/>
                <a:gd name="T98" fmla="*/ 120 w 239"/>
                <a:gd name="T99" fmla="*/ 13 h 56"/>
                <a:gd name="T100" fmla="*/ 100 w 239"/>
                <a:gd name="T101" fmla="*/ 8 h 56"/>
                <a:gd name="T102" fmla="*/ 80 w 239"/>
                <a:gd name="T103" fmla="*/ 4 h 56"/>
                <a:gd name="T104" fmla="*/ 61 w 239"/>
                <a:gd name="T105" fmla="*/ 1 h 56"/>
                <a:gd name="T106" fmla="*/ 41 w 239"/>
                <a:gd name="T107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6" name="Freeform 495">
              <a:extLst>
                <a:ext uri="{FF2B5EF4-FFF2-40B4-BE49-F238E27FC236}">
                  <a16:creationId xmlns:a16="http://schemas.microsoft.com/office/drawing/2014/main" id="{8856EFF8-917A-4CA7-89C4-458E77CC7919}"/>
                </a:ext>
              </a:extLst>
            </p:cNvPr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7232650" y="1265238"/>
              <a:ext cx="82550" cy="57150"/>
            </a:xfrm>
            <a:custGeom>
              <a:avLst/>
              <a:gdLst>
                <a:gd name="T0" fmla="*/ 14 w 187"/>
                <a:gd name="T1" fmla="*/ 19 h 80"/>
                <a:gd name="T2" fmla="*/ 41 w 187"/>
                <a:gd name="T3" fmla="*/ 0 h 80"/>
                <a:gd name="T4" fmla="*/ 44 w 187"/>
                <a:gd name="T5" fmla="*/ 3 h 80"/>
                <a:gd name="T6" fmla="*/ 50 w 187"/>
                <a:gd name="T7" fmla="*/ 6 h 80"/>
                <a:gd name="T8" fmla="*/ 58 w 187"/>
                <a:gd name="T9" fmla="*/ 9 h 80"/>
                <a:gd name="T10" fmla="*/ 67 w 187"/>
                <a:gd name="T11" fmla="*/ 12 h 80"/>
                <a:gd name="T12" fmla="*/ 89 w 187"/>
                <a:gd name="T13" fmla="*/ 19 h 80"/>
                <a:gd name="T14" fmla="*/ 114 w 187"/>
                <a:gd name="T15" fmla="*/ 26 h 80"/>
                <a:gd name="T16" fmla="*/ 139 w 187"/>
                <a:gd name="T17" fmla="*/ 33 h 80"/>
                <a:gd name="T18" fmla="*/ 161 w 187"/>
                <a:gd name="T19" fmla="*/ 38 h 80"/>
                <a:gd name="T20" fmla="*/ 177 w 187"/>
                <a:gd name="T21" fmla="*/ 42 h 80"/>
                <a:gd name="T22" fmla="*/ 187 w 187"/>
                <a:gd name="T23" fmla="*/ 43 h 80"/>
                <a:gd name="T24" fmla="*/ 187 w 187"/>
                <a:gd name="T25" fmla="*/ 56 h 80"/>
                <a:gd name="T26" fmla="*/ 187 w 187"/>
                <a:gd name="T27" fmla="*/ 68 h 80"/>
                <a:gd name="T28" fmla="*/ 170 w 187"/>
                <a:gd name="T29" fmla="*/ 70 h 80"/>
                <a:gd name="T30" fmla="*/ 151 w 187"/>
                <a:gd name="T31" fmla="*/ 71 h 80"/>
                <a:gd name="T32" fmla="*/ 133 w 187"/>
                <a:gd name="T33" fmla="*/ 71 h 80"/>
                <a:gd name="T34" fmla="*/ 116 w 187"/>
                <a:gd name="T35" fmla="*/ 70 h 80"/>
                <a:gd name="T36" fmla="*/ 85 w 187"/>
                <a:gd name="T37" fmla="*/ 69 h 80"/>
                <a:gd name="T38" fmla="*/ 61 w 187"/>
                <a:gd name="T39" fmla="*/ 68 h 80"/>
                <a:gd name="T40" fmla="*/ 55 w 187"/>
                <a:gd name="T41" fmla="*/ 69 h 80"/>
                <a:gd name="T42" fmla="*/ 51 w 187"/>
                <a:gd name="T43" fmla="*/ 70 h 80"/>
                <a:gd name="T44" fmla="*/ 45 w 187"/>
                <a:gd name="T45" fmla="*/ 72 h 80"/>
                <a:gd name="T46" fmla="*/ 41 w 187"/>
                <a:gd name="T47" fmla="*/ 74 h 80"/>
                <a:gd name="T48" fmla="*/ 33 w 187"/>
                <a:gd name="T49" fmla="*/ 78 h 80"/>
                <a:gd name="T50" fmla="*/ 28 w 187"/>
                <a:gd name="T51" fmla="*/ 80 h 80"/>
                <a:gd name="T52" fmla="*/ 22 w 187"/>
                <a:gd name="T53" fmla="*/ 79 h 80"/>
                <a:gd name="T54" fmla="*/ 18 w 187"/>
                <a:gd name="T55" fmla="*/ 76 h 80"/>
                <a:gd name="T56" fmla="*/ 14 w 187"/>
                <a:gd name="T57" fmla="*/ 72 h 80"/>
                <a:gd name="T58" fmla="*/ 9 w 187"/>
                <a:gd name="T59" fmla="*/ 67 h 80"/>
                <a:gd name="T60" fmla="*/ 6 w 187"/>
                <a:gd name="T61" fmla="*/ 62 h 80"/>
                <a:gd name="T62" fmla="*/ 3 w 187"/>
                <a:gd name="T63" fmla="*/ 57 h 80"/>
                <a:gd name="T64" fmla="*/ 2 w 187"/>
                <a:gd name="T65" fmla="*/ 53 h 80"/>
                <a:gd name="T66" fmla="*/ 0 w 187"/>
                <a:gd name="T67" fmla="*/ 50 h 80"/>
                <a:gd name="T68" fmla="*/ 2 w 187"/>
                <a:gd name="T69" fmla="*/ 44 h 80"/>
                <a:gd name="T70" fmla="*/ 3 w 187"/>
                <a:gd name="T71" fmla="*/ 40 h 80"/>
                <a:gd name="T72" fmla="*/ 5 w 187"/>
                <a:gd name="T73" fmla="*/ 36 h 80"/>
                <a:gd name="T74" fmla="*/ 7 w 187"/>
                <a:gd name="T75" fmla="*/ 31 h 80"/>
                <a:gd name="T76" fmla="*/ 13 w 187"/>
                <a:gd name="T77" fmla="*/ 24 h 80"/>
                <a:gd name="T78" fmla="*/ 14 w 187"/>
                <a:gd name="T79" fmla="*/ 19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7" name="Freeform 496">
              <a:extLst>
                <a:ext uri="{FF2B5EF4-FFF2-40B4-BE49-F238E27FC236}">
                  <a16:creationId xmlns:a16="http://schemas.microsoft.com/office/drawing/2014/main" id="{FAFFF11C-FB50-4EBB-A1FB-B45F80F8C75E}"/>
                </a:ext>
              </a:extLst>
            </p:cNvPr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7759701" y="1390650"/>
              <a:ext cx="79375" cy="58738"/>
            </a:xfrm>
            <a:custGeom>
              <a:avLst/>
              <a:gdLst>
                <a:gd name="T0" fmla="*/ 50 w 183"/>
                <a:gd name="T1" fmla="*/ 0 h 73"/>
                <a:gd name="T2" fmla="*/ 63 w 183"/>
                <a:gd name="T3" fmla="*/ 0 h 73"/>
                <a:gd name="T4" fmla="*/ 75 w 183"/>
                <a:gd name="T5" fmla="*/ 1 h 73"/>
                <a:gd name="T6" fmla="*/ 86 w 183"/>
                <a:gd name="T7" fmla="*/ 4 h 73"/>
                <a:gd name="T8" fmla="*/ 97 w 183"/>
                <a:gd name="T9" fmla="*/ 7 h 73"/>
                <a:gd name="T10" fmla="*/ 106 w 183"/>
                <a:gd name="T11" fmla="*/ 10 h 73"/>
                <a:gd name="T12" fmla="*/ 116 w 183"/>
                <a:gd name="T13" fmla="*/ 15 h 73"/>
                <a:gd name="T14" fmla="*/ 124 w 183"/>
                <a:gd name="T15" fmla="*/ 19 h 73"/>
                <a:gd name="T16" fmla="*/ 131 w 183"/>
                <a:gd name="T17" fmla="*/ 25 h 73"/>
                <a:gd name="T18" fmla="*/ 159 w 183"/>
                <a:gd name="T19" fmla="*/ 49 h 73"/>
                <a:gd name="T20" fmla="*/ 183 w 183"/>
                <a:gd name="T21" fmla="*/ 73 h 73"/>
                <a:gd name="T22" fmla="*/ 137 w 183"/>
                <a:gd name="T23" fmla="*/ 73 h 73"/>
                <a:gd name="T24" fmla="*/ 128 w 183"/>
                <a:gd name="T25" fmla="*/ 72 h 73"/>
                <a:gd name="T26" fmla="*/ 117 w 183"/>
                <a:gd name="T27" fmla="*/ 70 h 73"/>
                <a:gd name="T28" fmla="*/ 104 w 183"/>
                <a:gd name="T29" fmla="*/ 66 h 73"/>
                <a:gd name="T30" fmla="*/ 90 w 183"/>
                <a:gd name="T31" fmla="*/ 62 h 73"/>
                <a:gd name="T32" fmla="*/ 73 w 183"/>
                <a:gd name="T33" fmla="*/ 56 h 73"/>
                <a:gd name="T34" fmla="*/ 58 w 183"/>
                <a:gd name="T35" fmla="*/ 50 h 73"/>
                <a:gd name="T36" fmla="*/ 42 w 183"/>
                <a:gd name="T37" fmla="*/ 44 h 73"/>
                <a:gd name="T38" fmla="*/ 28 w 183"/>
                <a:gd name="T39" fmla="*/ 37 h 73"/>
                <a:gd name="T40" fmla="*/ 16 w 183"/>
                <a:gd name="T41" fmla="*/ 30 h 73"/>
                <a:gd name="T42" fmla="*/ 7 w 183"/>
                <a:gd name="T43" fmla="*/ 23 h 73"/>
                <a:gd name="T44" fmla="*/ 4 w 183"/>
                <a:gd name="T45" fmla="*/ 19 h 73"/>
                <a:gd name="T46" fmla="*/ 2 w 183"/>
                <a:gd name="T47" fmla="*/ 16 h 73"/>
                <a:gd name="T48" fmla="*/ 1 w 183"/>
                <a:gd name="T49" fmla="*/ 14 h 73"/>
                <a:gd name="T50" fmla="*/ 0 w 183"/>
                <a:gd name="T51" fmla="*/ 11 h 73"/>
                <a:gd name="T52" fmla="*/ 1 w 183"/>
                <a:gd name="T53" fmla="*/ 8 h 73"/>
                <a:gd name="T54" fmla="*/ 3 w 183"/>
                <a:gd name="T55" fmla="*/ 6 h 73"/>
                <a:gd name="T56" fmla="*/ 7 w 183"/>
                <a:gd name="T57" fmla="*/ 4 h 73"/>
                <a:gd name="T58" fmla="*/ 13 w 183"/>
                <a:gd name="T59" fmla="*/ 3 h 73"/>
                <a:gd name="T60" fmla="*/ 19 w 183"/>
                <a:gd name="T61" fmla="*/ 1 h 73"/>
                <a:gd name="T62" fmla="*/ 28 w 183"/>
                <a:gd name="T63" fmla="*/ 0 h 73"/>
                <a:gd name="T64" fmla="*/ 38 w 183"/>
                <a:gd name="T65" fmla="*/ 0 h 73"/>
                <a:gd name="T66" fmla="*/ 50 w 183"/>
                <a:gd name="T6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8" name="Freeform 497">
              <a:extLst>
                <a:ext uri="{FF2B5EF4-FFF2-40B4-BE49-F238E27FC236}">
                  <a16:creationId xmlns:a16="http://schemas.microsoft.com/office/drawing/2014/main" id="{3FD38380-7CC5-4593-82BF-5B27F9435C4C}"/>
                </a:ext>
              </a:extLst>
            </p:cNvPr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7826375" y="1408113"/>
              <a:ext cx="33338" cy="57150"/>
            </a:xfrm>
            <a:custGeom>
              <a:avLst/>
              <a:gdLst>
                <a:gd name="T0" fmla="*/ 0 w 79"/>
                <a:gd name="T1" fmla="*/ 6 h 42"/>
                <a:gd name="T2" fmla="*/ 23 w 79"/>
                <a:gd name="T3" fmla="*/ 2 h 42"/>
                <a:gd name="T4" fmla="*/ 41 w 79"/>
                <a:gd name="T5" fmla="*/ 1 h 42"/>
                <a:gd name="T6" fmla="*/ 60 w 79"/>
                <a:gd name="T7" fmla="*/ 0 h 42"/>
                <a:gd name="T8" fmla="*/ 79 w 79"/>
                <a:gd name="T9" fmla="*/ 0 h 42"/>
                <a:gd name="T10" fmla="*/ 79 w 79"/>
                <a:gd name="T11" fmla="*/ 9 h 42"/>
                <a:gd name="T12" fmla="*/ 79 w 79"/>
                <a:gd name="T13" fmla="*/ 18 h 42"/>
                <a:gd name="T14" fmla="*/ 79 w 79"/>
                <a:gd name="T15" fmla="*/ 22 h 42"/>
                <a:gd name="T16" fmla="*/ 75 w 79"/>
                <a:gd name="T17" fmla="*/ 27 h 42"/>
                <a:gd name="T18" fmla="*/ 72 w 79"/>
                <a:gd name="T19" fmla="*/ 31 h 42"/>
                <a:gd name="T20" fmla="*/ 68 w 79"/>
                <a:gd name="T21" fmla="*/ 35 h 42"/>
                <a:gd name="T22" fmla="*/ 62 w 79"/>
                <a:gd name="T23" fmla="*/ 38 h 42"/>
                <a:gd name="T24" fmla="*/ 57 w 79"/>
                <a:gd name="T25" fmla="*/ 40 h 42"/>
                <a:gd name="T26" fmla="*/ 51 w 79"/>
                <a:gd name="T27" fmla="*/ 42 h 42"/>
                <a:gd name="T28" fmla="*/ 46 w 79"/>
                <a:gd name="T29" fmla="*/ 42 h 42"/>
                <a:gd name="T30" fmla="*/ 40 w 79"/>
                <a:gd name="T31" fmla="*/ 42 h 42"/>
                <a:gd name="T32" fmla="*/ 35 w 79"/>
                <a:gd name="T33" fmla="*/ 41 h 42"/>
                <a:gd name="T34" fmla="*/ 29 w 79"/>
                <a:gd name="T35" fmla="*/ 39 h 42"/>
                <a:gd name="T36" fmla="*/ 25 w 79"/>
                <a:gd name="T37" fmla="*/ 37 h 42"/>
                <a:gd name="T38" fmla="*/ 16 w 79"/>
                <a:gd name="T39" fmla="*/ 32 h 42"/>
                <a:gd name="T40" fmla="*/ 11 w 79"/>
                <a:gd name="T41" fmla="*/ 26 h 42"/>
                <a:gd name="T42" fmla="*/ 5 w 79"/>
                <a:gd name="T43" fmla="*/ 20 h 42"/>
                <a:gd name="T44" fmla="*/ 2 w 79"/>
                <a:gd name="T45" fmla="*/ 14 h 42"/>
                <a:gd name="T46" fmla="*/ 0 w 79"/>
                <a:gd name="T47" fmla="*/ 9 h 42"/>
                <a:gd name="T48" fmla="*/ 0 w 79"/>
                <a:gd name="T49" fmla="*/ 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39" name="Freeform 498">
              <a:extLst>
                <a:ext uri="{FF2B5EF4-FFF2-40B4-BE49-F238E27FC236}">
                  <a16:creationId xmlns:a16="http://schemas.microsoft.com/office/drawing/2014/main" id="{99C7C288-18C2-410D-A2EA-B65E24460EB3}"/>
                </a:ext>
              </a:extLst>
            </p:cNvPr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7856539" y="1419225"/>
              <a:ext cx="52387" cy="58738"/>
            </a:xfrm>
            <a:custGeom>
              <a:avLst/>
              <a:gdLst>
                <a:gd name="T0" fmla="*/ 113 w 113"/>
                <a:gd name="T1" fmla="*/ 39 h 52"/>
                <a:gd name="T2" fmla="*/ 112 w 113"/>
                <a:gd name="T3" fmla="*/ 42 h 52"/>
                <a:gd name="T4" fmla="*/ 109 w 113"/>
                <a:gd name="T5" fmla="*/ 45 h 52"/>
                <a:gd name="T6" fmla="*/ 106 w 113"/>
                <a:gd name="T7" fmla="*/ 47 h 52"/>
                <a:gd name="T8" fmla="*/ 103 w 113"/>
                <a:gd name="T9" fmla="*/ 49 h 52"/>
                <a:gd name="T10" fmla="*/ 94 w 113"/>
                <a:gd name="T11" fmla="*/ 51 h 52"/>
                <a:gd name="T12" fmla="*/ 85 w 113"/>
                <a:gd name="T13" fmla="*/ 52 h 52"/>
                <a:gd name="T14" fmla="*/ 66 w 113"/>
                <a:gd name="T15" fmla="*/ 52 h 52"/>
                <a:gd name="T16" fmla="*/ 53 w 113"/>
                <a:gd name="T17" fmla="*/ 51 h 52"/>
                <a:gd name="T18" fmla="*/ 47 w 113"/>
                <a:gd name="T19" fmla="*/ 51 h 52"/>
                <a:gd name="T20" fmla="*/ 39 w 113"/>
                <a:gd name="T21" fmla="*/ 48 h 52"/>
                <a:gd name="T22" fmla="*/ 30 w 113"/>
                <a:gd name="T23" fmla="*/ 45 h 52"/>
                <a:gd name="T24" fmla="*/ 21 w 113"/>
                <a:gd name="T25" fmla="*/ 41 h 52"/>
                <a:gd name="T26" fmla="*/ 13 w 113"/>
                <a:gd name="T27" fmla="*/ 36 h 52"/>
                <a:gd name="T28" fmla="*/ 6 w 113"/>
                <a:gd name="T29" fmla="*/ 31 h 52"/>
                <a:gd name="T30" fmla="*/ 4 w 113"/>
                <a:gd name="T31" fmla="*/ 28 h 52"/>
                <a:gd name="T32" fmla="*/ 2 w 113"/>
                <a:gd name="T33" fmla="*/ 25 h 52"/>
                <a:gd name="T34" fmla="*/ 1 w 113"/>
                <a:gd name="T35" fmla="*/ 22 h 52"/>
                <a:gd name="T36" fmla="*/ 0 w 113"/>
                <a:gd name="T37" fmla="*/ 20 h 52"/>
                <a:gd name="T38" fmla="*/ 1 w 113"/>
                <a:gd name="T39" fmla="*/ 15 h 52"/>
                <a:gd name="T40" fmla="*/ 1 w 113"/>
                <a:gd name="T41" fmla="*/ 11 h 52"/>
                <a:gd name="T42" fmla="*/ 3 w 113"/>
                <a:gd name="T43" fmla="*/ 8 h 52"/>
                <a:gd name="T44" fmla="*/ 5 w 113"/>
                <a:gd name="T45" fmla="*/ 5 h 52"/>
                <a:gd name="T46" fmla="*/ 7 w 113"/>
                <a:gd name="T47" fmla="*/ 3 h 52"/>
                <a:gd name="T48" fmla="*/ 10 w 113"/>
                <a:gd name="T49" fmla="*/ 2 h 52"/>
                <a:gd name="T50" fmla="*/ 14 w 113"/>
                <a:gd name="T51" fmla="*/ 1 h 52"/>
                <a:gd name="T52" fmla="*/ 17 w 113"/>
                <a:gd name="T53" fmla="*/ 0 h 52"/>
                <a:gd name="T54" fmla="*/ 26 w 113"/>
                <a:gd name="T55" fmla="*/ 0 h 52"/>
                <a:gd name="T56" fmla="*/ 36 w 113"/>
                <a:gd name="T57" fmla="*/ 2 h 52"/>
                <a:gd name="T58" fmla="*/ 46 w 113"/>
                <a:gd name="T59" fmla="*/ 5 h 52"/>
                <a:gd name="T60" fmla="*/ 57 w 113"/>
                <a:gd name="T61" fmla="*/ 9 h 52"/>
                <a:gd name="T62" fmla="*/ 77 w 113"/>
                <a:gd name="T63" fmla="*/ 18 h 52"/>
                <a:gd name="T64" fmla="*/ 95 w 113"/>
                <a:gd name="T65" fmla="*/ 29 h 52"/>
                <a:gd name="T66" fmla="*/ 108 w 113"/>
                <a:gd name="T67" fmla="*/ 36 h 52"/>
                <a:gd name="T68" fmla="*/ 113 w 113"/>
                <a:gd name="T69" fmla="*/ 3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0" name="Freeform 499">
              <a:extLst>
                <a:ext uri="{FF2B5EF4-FFF2-40B4-BE49-F238E27FC236}">
                  <a16:creationId xmlns:a16="http://schemas.microsoft.com/office/drawing/2014/main" id="{E23E4D08-6024-477B-9E03-B76A27E4803F}"/>
                </a:ext>
              </a:extLst>
            </p:cNvPr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7627938" y="1392239"/>
              <a:ext cx="61912" cy="58737"/>
            </a:xfrm>
            <a:custGeom>
              <a:avLst/>
              <a:gdLst>
                <a:gd name="T0" fmla="*/ 0 w 139"/>
                <a:gd name="T1" fmla="*/ 8 h 40"/>
                <a:gd name="T2" fmla="*/ 8 w 139"/>
                <a:gd name="T3" fmla="*/ 9 h 40"/>
                <a:gd name="T4" fmla="*/ 19 w 139"/>
                <a:gd name="T5" fmla="*/ 8 h 40"/>
                <a:gd name="T6" fmla="*/ 30 w 139"/>
                <a:gd name="T7" fmla="*/ 7 h 40"/>
                <a:gd name="T8" fmla="*/ 42 w 139"/>
                <a:gd name="T9" fmla="*/ 5 h 40"/>
                <a:gd name="T10" fmla="*/ 53 w 139"/>
                <a:gd name="T11" fmla="*/ 2 h 40"/>
                <a:gd name="T12" fmla="*/ 64 w 139"/>
                <a:gd name="T13" fmla="*/ 1 h 40"/>
                <a:gd name="T14" fmla="*/ 73 w 139"/>
                <a:gd name="T15" fmla="*/ 0 h 40"/>
                <a:gd name="T16" fmla="*/ 80 w 139"/>
                <a:gd name="T17" fmla="*/ 2 h 40"/>
                <a:gd name="T18" fmla="*/ 139 w 139"/>
                <a:gd name="T19" fmla="*/ 39 h 40"/>
                <a:gd name="T20" fmla="*/ 133 w 139"/>
                <a:gd name="T21" fmla="*/ 40 h 40"/>
                <a:gd name="T22" fmla="*/ 125 w 139"/>
                <a:gd name="T23" fmla="*/ 39 h 40"/>
                <a:gd name="T24" fmla="*/ 116 w 139"/>
                <a:gd name="T25" fmla="*/ 38 h 40"/>
                <a:gd name="T26" fmla="*/ 106 w 139"/>
                <a:gd name="T27" fmla="*/ 36 h 40"/>
                <a:gd name="T28" fmla="*/ 86 w 139"/>
                <a:gd name="T29" fmla="*/ 30 h 40"/>
                <a:gd name="T30" fmla="*/ 64 w 139"/>
                <a:gd name="T31" fmla="*/ 24 h 40"/>
                <a:gd name="T32" fmla="*/ 44 w 139"/>
                <a:gd name="T33" fmla="*/ 16 h 40"/>
                <a:gd name="T34" fmla="*/ 26 w 139"/>
                <a:gd name="T35" fmla="*/ 11 h 40"/>
                <a:gd name="T36" fmla="*/ 17 w 139"/>
                <a:gd name="T37" fmla="*/ 9 h 40"/>
                <a:gd name="T38" fmla="*/ 11 w 139"/>
                <a:gd name="T39" fmla="*/ 7 h 40"/>
                <a:gd name="T40" fmla="*/ 4 w 139"/>
                <a:gd name="T41" fmla="*/ 7 h 40"/>
                <a:gd name="T42" fmla="*/ 0 w 139"/>
                <a:gd name="T43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1" name="Freeform 500">
              <a:extLst>
                <a:ext uri="{FF2B5EF4-FFF2-40B4-BE49-F238E27FC236}">
                  <a16:creationId xmlns:a16="http://schemas.microsoft.com/office/drawing/2014/main" id="{7135436F-9FE4-405A-8C8B-83FD1E50570F}"/>
                </a:ext>
              </a:extLst>
            </p:cNvPr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7927975" y="1333500"/>
              <a:ext cx="139700" cy="57150"/>
            </a:xfrm>
            <a:custGeom>
              <a:avLst/>
              <a:gdLst>
                <a:gd name="T0" fmla="*/ 10 w 325"/>
                <a:gd name="T1" fmla="*/ 7 h 71"/>
                <a:gd name="T2" fmla="*/ 31 w 325"/>
                <a:gd name="T3" fmla="*/ 1 h 71"/>
                <a:gd name="T4" fmla="*/ 53 w 325"/>
                <a:gd name="T5" fmla="*/ 0 h 71"/>
                <a:gd name="T6" fmla="*/ 73 w 325"/>
                <a:gd name="T7" fmla="*/ 4 h 71"/>
                <a:gd name="T8" fmla="*/ 92 w 325"/>
                <a:gd name="T9" fmla="*/ 10 h 71"/>
                <a:gd name="T10" fmla="*/ 110 w 325"/>
                <a:gd name="T11" fmla="*/ 18 h 71"/>
                <a:gd name="T12" fmla="*/ 122 w 325"/>
                <a:gd name="T13" fmla="*/ 29 h 71"/>
                <a:gd name="T14" fmla="*/ 130 w 325"/>
                <a:gd name="T15" fmla="*/ 38 h 71"/>
                <a:gd name="T16" fmla="*/ 136 w 325"/>
                <a:gd name="T17" fmla="*/ 34 h 71"/>
                <a:gd name="T18" fmla="*/ 139 w 325"/>
                <a:gd name="T19" fmla="*/ 15 h 71"/>
                <a:gd name="T20" fmla="*/ 161 w 325"/>
                <a:gd name="T21" fmla="*/ 7 h 71"/>
                <a:gd name="T22" fmla="*/ 216 w 325"/>
                <a:gd name="T23" fmla="*/ 13 h 71"/>
                <a:gd name="T24" fmla="*/ 258 w 325"/>
                <a:gd name="T25" fmla="*/ 23 h 71"/>
                <a:gd name="T26" fmla="*/ 283 w 325"/>
                <a:gd name="T27" fmla="*/ 32 h 71"/>
                <a:gd name="T28" fmla="*/ 305 w 325"/>
                <a:gd name="T29" fmla="*/ 43 h 71"/>
                <a:gd name="T30" fmla="*/ 320 w 325"/>
                <a:gd name="T31" fmla="*/ 55 h 71"/>
                <a:gd name="T32" fmla="*/ 316 w 325"/>
                <a:gd name="T33" fmla="*/ 64 h 71"/>
                <a:gd name="T34" fmla="*/ 294 w 325"/>
                <a:gd name="T35" fmla="*/ 68 h 71"/>
                <a:gd name="T36" fmla="*/ 259 w 325"/>
                <a:gd name="T37" fmla="*/ 71 h 71"/>
                <a:gd name="T38" fmla="*/ 210 w 325"/>
                <a:gd name="T39" fmla="*/ 70 h 71"/>
                <a:gd name="T40" fmla="*/ 167 w 325"/>
                <a:gd name="T41" fmla="*/ 68 h 71"/>
                <a:gd name="T42" fmla="*/ 133 w 325"/>
                <a:gd name="T43" fmla="*/ 69 h 71"/>
                <a:gd name="T44" fmla="*/ 90 w 325"/>
                <a:gd name="T45" fmla="*/ 71 h 71"/>
                <a:gd name="T46" fmla="*/ 72 w 325"/>
                <a:gd name="T47" fmla="*/ 68 h 71"/>
                <a:gd name="T48" fmla="*/ 67 w 325"/>
                <a:gd name="T49" fmla="*/ 64 h 71"/>
                <a:gd name="T50" fmla="*/ 58 w 325"/>
                <a:gd name="T51" fmla="*/ 61 h 71"/>
                <a:gd name="T52" fmla="*/ 46 w 325"/>
                <a:gd name="T53" fmla="*/ 59 h 71"/>
                <a:gd name="T54" fmla="*/ 35 w 325"/>
                <a:gd name="T55" fmla="*/ 53 h 71"/>
                <a:gd name="T56" fmla="*/ 25 w 325"/>
                <a:gd name="T57" fmla="*/ 45 h 71"/>
                <a:gd name="T58" fmla="*/ 16 w 325"/>
                <a:gd name="T59" fmla="*/ 39 h 71"/>
                <a:gd name="T60" fmla="*/ 6 w 325"/>
                <a:gd name="T61" fmla="*/ 37 h 71"/>
                <a:gd name="T62" fmla="*/ 0 w 325"/>
                <a:gd name="T63" fmla="*/ 2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2" name="Freeform 501">
              <a:extLst>
                <a:ext uri="{FF2B5EF4-FFF2-40B4-BE49-F238E27FC236}">
                  <a16:creationId xmlns:a16="http://schemas.microsoft.com/office/drawing/2014/main" id="{E8C7201B-BA95-4ADE-8A23-48D768B5F799}"/>
                </a:ext>
              </a:extLst>
            </p:cNvPr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8088313" y="1341438"/>
              <a:ext cx="95250" cy="57150"/>
            </a:xfrm>
            <a:custGeom>
              <a:avLst/>
              <a:gdLst>
                <a:gd name="T0" fmla="*/ 87 w 220"/>
                <a:gd name="T1" fmla="*/ 25 h 72"/>
                <a:gd name="T2" fmla="*/ 92 w 220"/>
                <a:gd name="T3" fmla="*/ 26 h 72"/>
                <a:gd name="T4" fmla="*/ 98 w 220"/>
                <a:gd name="T5" fmla="*/ 27 h 72"/>
                <a:gd name="T6" fmla="*/ 101 w 220"/>
                <a:gd name="T7" fmla="*/ 28 h 72"/>
                <a:gd name="T8" fmla="*/ 104 w 220"/>
                <a:gd name="T9" fmla="*/ 27 h 72"/>
                <a:gd name="T10" fmla="*/ 109 w 220"/>
                <a:gd name="T11" fmla="*/ 27 h 72"/>
                <a:gd name="T12" fmla="*/ 113 w 220"/>
                <a:gd name="T13" fmla="*/ 25 h 72"/>
                <a:gd name="T14" fmla="*/ 114 w 220"/>
                <a:gd name="T15" fmla="*/ 26 h 72"/>
                <a:gd name="T16" fmla="*/ 115 w 220"/>
                <a:gd name="T17" fmla="*/ 26 h 72"/>
                <a:gd name="T18" fmla="*/ 116 w 220"/>
                <a:gd name="T19" fmla="*/ 25 h 72"/>
                <a:gd name="T20" fmla="*/ 117 w 220"/>
                <a:gd name="T21" fmla="*/ 25 h 72"/>
                <a:gd name="T22" fmla="*/ 119 w 220"/>
                <a:gd name="T23" fmla="*/ 22 h 72"/>
                <a:gd name="T24" fmla="*/ 120 w 220"/>
                <a:gd name="T25" fmla="*/ 17 h 72"/>
                <a:gd name="T26" fmla="*/ 120 w 220"/>
                <a:gd name="T27" fmla="*/ 7 h 72"/>
                <a:gd name="T28" fmla="*/ 120 w 220"/>
                <a:gd name="T29" fmla="*/ 0 h 72"/>
                <a:gd name="T30" fmla="*/ 125 w 220"/>
                <a:gd name="T31" fmla="*/ 5 h 72"/>
                <a:gd name="T32" fmla="*/ 131 w 220"/>
                <a:gd name="T33" fmla="*/ 10 h 72"/>
                <a:gd name="T34" fmla="*/ 137 w 220"/>
                <a:gd name="T35" fmla="*/ 15 h 72"/>
                <a:gd name="T36" fmla="*/ 143 w 220"/>
                <a:gd name="T37" fmla="*/ 19 h 72"/>
                <a:gd name="T38" fmla="*/ 156 w 220"/>
                <a:gd name="T39" fmla="*/ 25 h 72"/>
                <a:gd name="T40" fmla="*/ 170 w 220"/>
                <a:gd name="T41" fmla="*/ 30 h 72"/>
                <a:gd name="T42" fmla="*/ 183 w 220"/>
                <a:gd name="T43" fmla="*/ 35 h 72"/>
                <a:gd name="T44" fmla="*/ 196 w 220"/>
                <a:gd name="T45" fmla="*/ 41 h 72"/>
                <a:gd name="T46" fmla="*/ 203 w 220"/>
                <a:gd name="T47" fmla="*/ 44 h 72"/>
                <a:gd name="T48" fmla="*/ 209 w 220"/>
                <a:gd name="T49" fmla="*/ 47 h 72"/>
                <a:gd name="T50" fmla="*/ 214 w 220"/>
                <a:gd name="T51" fmla="*/ 51 h 72"/>
                <a:gd name="T52" fmla="*/ 220 w 220"/>
                <a:gd name="T53" fmla="*/ 55 h 72"/>
                <a:gd name="T54" fmla="*/ 206 w 220"/>
                <a:gd name="T55" fmla="*/ 56 h 72"/>
                <a:gd name="T56" fmla="*/ 194 w 220"/>
                <a:gd name="T57" fmla="*/ 57 h 72"/>
                <a:gd name="T58" fmla="*/ 182 w 220"/>
                <a:gd name="T59" fmla="*/ 58 h 72"/>
                <a:gd name="T60" fmla="*/ 171 w 220"/>
                <a:gd name="T61" fmla="*/ 60 h 72"/>
                <a:gd name="T62" fmla="*/ 151 w 220"/>
                <a:gd name="T63" fmla="*/ 65 h 72"/>
                <a:gd name="T64" fmla="*/ 134 w 220"/>
                <a:gd name="T65" fmla="*/ 70 h 72"/>
                <a:gd name="T66" fmla="*/ 126 w 220"/>
                <a:gd name="T67" fmla="*/ 71 h 72"/>
                <a:gd name="T68" fmla="*/ 117 w 220"/>
                <a:gd name="T69" fmla="*/ 72 h 72"/>
                <a:gd name="T70" fmla="*/ 110 w 220"/>
                <a:gd name="T71" fmla="*/ 72 h 72"/>
                <a:gd name="T72" fmla="*/ 103 w 220"/>
                <a:gd name="T73" fmla="*/ 72 h 72"/>
                <a:gd name="T74" fmla="*/ 95 w 220"/>
                <a:gd name="T75" fmla="*/ 70 h 72"/>
                <a:gd name="T76" fmla="*/ 88 w 220"/>
                <a:gd name="T77" fmla="*/ 66 h 72"/>
                <a:gd name="T78" fmla="*/ 81 w 220"/>
                <a:gd name="T79" fmla="*/ 61 h 72"/>
                <a:gd name="T80" fmla="*/ 74 w 220"/>
                <a:gd name="T81" fmla="*/ 55 h 72"/>
                <a:gd name="T82" fmla="*/ 59 w 220"/>
                <a:gd name="T83" fmla="*/ 53 h 72"/>
                <a:gd name="T84" fmla="*/ 45 w 220"/>
                <a:gd name="T85" fmla="*/ 50 h 72"/>
                <a:gd name="T86" fmla="*/ 33 w 220"/>
                <a:gd name="T87" fmla="*/ 47 h 72"/>
                <a:gd name="T88" fmla="*/ 22 w 220"/>
                <a:gd name="T89" fmla="*/ 43 h 72"/>
                <a:gd name="T90" fmla="*/ 18 w 220"/>
                <a:gd name="T91" fmla="*/ 41 h 72"/>
                <a:gd name="T92" fmla="*/ 13 w 220"/>
                <a:gd name="T93" fmla="*/ 38 h 72"/>
                <a:gd name="T94" fmla="*/ 9 w 220"/>
                <a:gd name="T95" fmla="*/ 35 h 72"/>
                <a:gd name="T96" fmla="*/ 7 w 220"/>
                <a:gd name="T97" fmla="*/ 31 h 72"/>
                <a:gd name="T98" fmla="*/ 3 w 220"/>
                <a:gd name="T99" fmla="*/ 27 h 72"/>
                <a:gd name="T100" fmla="*/ 2 w 220"/>
                <a:gd name="T101" fmla="*/ 23 h 72"/>
                <a:gd name="T102" fmla="*/ 1 w 220"/>
                <a:gd name="T103" fmla="*/ 18 h 72"/>
                <a:gd name="T104" fmla="*/ 0 w 220"/>
                <a:gd name="T105" fmla="*/ 13 h 72"/>
                <a:gd name="T106" fmla="*/ 23 w 220"/>
                <a:gd name="T107" fmla="*/ 17 h 72"/>
                <a:gd name="T108" fmla="*/ 44 w 220"/>
                <a:gd name="T109" fmla="*/ 21 h 72"/>
                <a:gd name="T110" fmla="*/ 64 w 220"/>
                <a:gd name="T111" fmla="*/ 24 h 72"/>
                <a:gd name="T112" fmla="*/ 87 w 220"/>
                <a:gd name="T113" fmla="*/ 2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3" name="Freeform 502">
              <a:extLst>
                <a:ext uri="{FF2B5EF4-FFF2-40B4-BE49-F238E27FC236}">
                  <a16:creationId xmlns:a16="http://schemas.microsoft.com/office/drawing/2014/main" id="{B8506BE7-6DA6-4F9A-B6C5-FA88F564384E}"/>
                </a:ext>
              </a:extLst>
            </p:cNvPr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8048625" y="1389064"/>
              <a:ext cx="63500" cy="58737"/>
            </a:xfrm>
            <a:custGeom>
              <a:avLst/>
              <a:gdLst>
                <a:gd name="T0" fmla="*/ 146 w 146"/>
                <a:gd name="T1" fmla="*/ 25 h 30"/>
                <a:gd name="T2" fmla="*/ 140 w 146"/>
                <a:gd name="T3" fmla="*/ 16 h 30"/>
                <a:gd name="T4" fmla="*/ 137 w 146"/>
                <a:gd name="T5" fmla="*/ 9 h 30"/>
                <a:gd name="T6" fmla="*/ 133 w 146"/>
                <a:gd name="T7" fmla="*/ 4 h 30"/>
                <a:gd name="T8" fmla="*/ 128 w 146"/>
                <a:gd name="T9" fmla="*/ 1 h 30"/>
                <a:gd name="T10" fmla="*/ 126 w 146"/>
                <a:gd name="T11" fmla="*/ 1 h 30"/>
                <a:gd name="T12" fmla="*/ 124 w 146"/>
                <a:gd name="T13" fmla="*/ 1 h 30"/>
                <a:gd name="T14" fmla="*/ 120 w 146"/>
                <a:gd name="T15" fmla="*/ 2 h 30"/>
                <a:gd name="T16" fmla="*/ 118 w 146"/>
                <a:gd name="T17" fmla="*/ 3 h 30"/>
                <a:gd name="T18" fmla="*/ 113 w 146"/>
                <a:gd name="T19" fmla="*/ 9 h 30"/>
                <a:gd name="T20" fmla="*/ 105 w 146"/>
                <a:gd name="T21" fmla="*/ 19 h 30"/>
                <a:gd name="T22" fmla="*/ 72 w 146"/>
                <a:gd name="T23" fmla="*/ 19 h 30"/>
                <a:gd name="T24" fmla="*/ 63 w 146"/>
                <a:gd name="T25" fmla="*/ 18 h 30"/>
                <a:gd name="T26" fmla="*/ 55 w 146"/>
                <a:gd name="T27" fmla="*/ 17 h 30"/>
                <a:gd name="T28" fmla="*/ 47 w 146"/>
                <a:gd name="T29" fmla="*/ 14 h 30"/>
                <a:gd name="T30" fmla="*/ 40 w 146"/>
                <a:gd name="T31" fmla="*/ 12 h 30"/>
                <a:gd name="T32" fmla="*/ 29 w 146"/>
                <a:gd name="T33" fmla="*/ 6 h 30"/>
                <a:gd name="T34" fmla="*/ 19 w 146"/>
                <a:gd name="T35" fmla="*/ 0 h 30"/>
                <a:gd name="T36" fmla="*/ 14 w 146"/>
                <a:gd name="T37" fmla="*/ 9 h 30"/>
                <a:gd name="T38" fmla="*/ 10 w 146"/>
                <a:gd name="T39" fmla="*/ 15 h 30"/>
                <a:gd name="T40" fmla="*/ 4 w 146"/>
                <a:gd name="T41" fmla="*/ 20 h 30"/>
                <a:gd name="T42" fmla="*/ 0 w 146"/>
                <a:gd name="T43" fmla="*/ 25 h 30"/>
                <a:gd name="T44" fmla="*/ 33 w 146"/>
                <a:gd name="T45" fmla="*/ 25 h 30"/>
                <a:gd name="T46" fmla="*/ 57 w 146"/>
                <a:gd name="T47" fmla="*/ 25 h 30"/>
                <a:gd name="T48" fmla="*/ 77 w 146"/>
                <a:gd name="T49" fmla="*/ 25 h 30"/>
                <a:gd name="T50" fmla="*/ 99 w 146"/>
                <a:gd name="T51" fmla="*/ 25 h 30"/>
                <a:gd name="T52" fmla="*/ 110 w 146"/>
                <a:gd name="T53" fmla="*/ 26 h 30"/>
                <a:gd name="T54" fmla="*/ 123 w 146"/>
                <a:gd name="T55" fmla="*/ 29 h 30"/>
                <a:gd name="T56" fmla="*/ 128 w 146"/>
                <a:gd name="T57" fmla="*/ 30 h 30"/>
                <a:gd name="T58" fmla="*/ 135 w 146"/>
                <a:gd name="T59" fmla="*/ 30 h 30"/>
                <a:gd name="T60" fmla="*/ 140 w 146"/>
                <a:gd name="T61" fmla="*/ 28 h 30"/>
                <a:gd name="T62" fmla="*/ 146 w 146"/>
                <a:gd name="T63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4" name="Freeform 503">
              <a:extLst>
                <a:ext uri="{FF2B5EF4-FFF2-40B4-BE49-F238E27FC236}">
                  <a16:creationId xmlns:a16="http://schemas.microsoft.com/office/drawing/2014/main" id="{125410F3-784D-43D0-AE84-C663FAE92D19}"/>
                </a:ext>
              </a:extLst>
            </p:cNvPr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8027989" y="1385889"/>
              <a:ext cx="20637" cy="58737"/>
            </a:xfrm>
            <a:custGeom>
              <a:avLst/>
              <a:gdLst>
                <a:gd name="T0" fmla="*/ 0 w 53"/>
                <a:gd name="T1" fmla="*/ 9 h 9"/>
                <a:gd name="T2" fmla="*/ 17 w 53"/>
                <a:gd name="T3" fmla="*/ 9 h 9"/>
                <a:gd name="T4" fmla="*/ 29 w 53"/>
                <a:gd name="T5" fmla="*/ 9 h 9"/>
                <a:gd name="T6" fmla="*/ 40 w 53"/>
                <a:gd name="T7" fmla="*/ 9 h 9"/>
                <a:gd name="T8" fmla="*/ 53 w 53"/>
                <a:gd name="T9" fmla="*/ 9 h 9"/>
                <a:gd name="T10" fmla="*/ 46 w 53"/>
                <a:gd name="T11" fmla="*/ 6 h 9"/>
                <a:gd name="T12" fmla="*/ 38 w 53"/>
                <a:gd name="T13" fmla="*/ 3 h 9"/>
                <a:gd name="T14" fmla="*/ 31 w 53"/>
                <a:gd name="T15" fmla="*/ 1 h 9"/>
                <a:gd name="T16" fmla="*/ 25 w 53"/>
                <a:gd name="T17" fmla="*/ 0 h 9"/>
                <a:gd name="T18" fmla="*/ 19 w 53"/>
                <a:gd name="T19" fmla="*/ 0 h 9"/>
                <a:gd name="T20" fmla="*/ 14 w 53"/>
                <a:gd name="T21" fmla="*/ 0 h 9"/>
                <a:gd name="T22" fmla="*/ 9 w 53"/>
                <a:gd name="T23" fmla="*/ 1 h 9"/>
                <a:gd name="T24" fmla="*/ 6 w 53"/>
                <a:gd name="T2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5" name="Line 504">
              <a:extLst>
                <a:ext uri="{FF2B5EF4-FFF2-40B4-BE49-F238E27FC236}">
                  <a16:creationId xmlns:a16="http://schemas.microsoft.com/office/drawing/2014/main" id="{CD3045D3-B89D-4013-8B57-B05AA6335E3E}"/>
                </a:ext>
              </a:extLst>
            </p:cNvPr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 flipV="1">
              <a:off x="8029575" y="1384300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6" name="Freeform 505">
              <a:extLst>
                <a:ext uri="{FF2B5EF4-FFF2-40B4-BE49-F238E27FC236}">
                  <a16:creationId xmlns:a16="http://schemas.microsoft.com/office/drawing/2014/main" id="{CD67D43C-B546-49C1-8106-523C89627348}"/>
                </a:ext>
              </a:extLst>
            </p:cNvPr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7199313" y="1312863"/>
              <a:ext cx="11112" cy="55562"/>
            </a:xfrm>
            <a:custGeom>
              <a:avLst/>
              <a:gdLst>
                <a:gd name="T0" fmla="*/ 0 w 26"/>
                <a:gd name="T1" fmla="*/ 25 h 25"/>
                <a:gd name="T2" fmla="*/ 5 w 26"/>
                <a:gd name="T3" fmla="*/ 17 h 25"/>
                <a:gd name="T4" fmla="*/ 13 w 26"/>
                <a:gd name="T5" fmla="*/ 8 h 25"/>
                <a:gd name="T6" fmla="*/ 16 w 26"/>
                <a:gd name="T7" fmla="*/ 5 h 25"/>
                <a:gd name="T8" fmla="*/ 20 w 26"/>
                <a:gd name="T9" fmla="*/ 2 h 25"/>
                <a:gd name="T10" fmla="*/ 23 w 26"/>
                <a:gd name="T11" fmla="*/ 1 h 25"/>
                <a:gd name="T12" fmla="*/ 26 w 26"/>
                <a:gd name="T13" fmla="*/ 0 h 25"/>
                <a:gd name="T14" fmla="*/ 26 w 26"/>
                <a:gd name="T15" fmla="*/ 25 h 25"/>
                <a:gd name="T16" fmla="*/ 20 w 26"/>
                <a:gd name="T17" fmla="*/ 25 h 25"/>
                <a:gd name="T18" fmla="*/ 13 w 26"/>
                <a:gd name="T19" fmla="*/ 25 h 25"/>
                <a:gd name="T20" fmla="*/ 0 w 26"/>
                <a:gd name="T21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7" name="Freeform 506">
              <a:extLst>
                <a:ext uri="{FF2B5EF4-FFF2-40B4-BE49-F238E27FC236}">
                  <a16:creationId xmlns:a16="http://schemas.microsoft.com/office/drawing/2014/main" id="{B22A8ECA-D23A-449C-8009-22E6A36B714F}"/>
                </a:ext>
              </a:extLst>
            </p:cNvPr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7948614" y="1384300"/>
              <a:ext cx="9525" cy="57150"/>
            </a:xfrm>
            <a:custGeom>
              <a:avLst/>
              <a:gdLst>
                <a:gd name="T0" fmla="*/ 33 w 33"/>
                <a:gd name="T1" fmla="*/ 25 h 25"/>
                <a:gd name="T2" fmla="*/ 33 w 33"/>
                <a:gd name="T3" fmla="*/ 12 h 25"/>
                <a:gd name="T4" fmla="*/ 33 w 33"/>
                <a:gd name="T5" fmla="*/ 0 h 25"/>
                <a:gd name="T6" fmla="*/ 0 w 33"/>
                <a:gd name="T7" fmla="*/ 0 h 25"/>
                <a:gd name="T8" fmla="*/ 9 w 33"/>
                <a:gd name="T9" fmla="*/ 9 h 25"/>
                <a:gd name="T10" fmla="*/ 16 w 33"/>
                <a:gd name="T11" fmla="*/ 17 h 25"/>
                <a:gd name="T12" fmla="*/ 20 w 33"/>
                <a:gd name="T13" fmla="*/ 20 h 25"/>
                <a:gd name="T14" fmla="*/ 24 w 33"/>
                <a:gd name="T15" fmla="*/ 23 h 25"/>
                <a:gd name="T16" fmla="*/ 28 w 33"/>
                <a:gd name="T17" fmla="*/ 24 h 25"/>
                <a:gd name="T18" fmla="*/ 33 w 33"/>
                <a:gd name="T1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8" name="Freeform 507">
              <a:extLst>
                <a:ext uri="{FF2B5EF4-FFF2-40B4-BE49-F238E27FC236}">
                  <a16:creationId xmlns:a16="http://schemas.microsoft.com/office/drawing/2014/main" id="{A57FAD81-0AF2-4B61-AB49-9F08CC24B5D4}"/>
                </a:ext>
              </a:extLst>
            </p:cNvPr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7902576" y="1347788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13 w 20"/>
                <a:gd name="T3" fmla="*/ 18 h 18"/>
                <a:gd name="T4" fmla="*/ 16 w 20"/>
                <a:gd name="T5" fmla="*/ 11 h 18"/>
                <a:gd name="T6" fmla="*/ 20 w 20"/>
                <a:gd name="T7" fmla="*/ 0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49" name="Freeform 508">
              <a:extLst>
                <a:ext uri="{FF2B5EF4-FFF2-40B4-BE49-F238E27FC236}">
                  <a16:creationId xmlns:a16="http://schemas.microsoft.com/office/drawing/2014/main" id="{8497E3A8-5CCE-4E31-B638-75F5CE37CF03}"/>
                </a:ext>
              </a:extLst>
            </p:cNvPr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8402638" y="1917700"/>
              <a:ext cx="12700" cy="58738"/>
            </a:xfrm>
            <a:custGeom>
              <a:avLst/>
              <a:gdLst>
                <a:gd name="T0" fmla="*/ 0 w 33"/>
                <a:gd name="T1" fmla="*/ 31 h 31"/>
                <a:gd name="T2" fmla="*/ 0 w 33"/>
                <a:gd name="T3" fmla="*/ 0 h 31"/>
                <a:gd name="T4" fmla="*/ 9 w 33"/>
                <a:gd name="T5" fmla="*/ 0 h 31"/>
                <a:gd name="T6" fmla="*/ 16 w 33"/>
                <a:gd name="T7" fmla="*/ 0 h 31"/>
                <a:gd name="T8" fmla="*/ 24 w 33"/>
                <a:gd name="T9" fmla="*/ 0 h 31"/>
                <a:gd name="T10" fmla="*/ 33 w 33"/>
                <a:gd name="T11" fmla="*/ 0 h 31"/>
                <a:gd name="T12" fmla="*/ 30 w 33"/>
                <a:gd name="T13" fmla="*/ 2 h 31"/>
                <a:gd name="T14" fmla="*/ 29 w 33"/>
                <a:gd name="T15" fmla="*/ 5 h 31"/>
                <a:gd name="T16" fmla="*/ 28 w 33"/>
                <a:gd name="T17" fmla="*/ 9 h 31"/>
                <a:gd name="T18" fmla="*/ 28 w 33"/>
                <a:gd name="T19" fmla="*/ 13 h 31"/>
                <a:gd name="T20" fmla="*/ 28 w 33"/>
                <a:gd name="T21" fmla="*/ 17 h 31"/>
                <a:gd name="T22" fmla="*/ 29 w 33"/>
                <a:gd name="T23" fmla="*/ 21 h 31"/>
                <a:gd name="T24" fmla="*/ 30 w 33"/>
                <a:gd name="T25" fmla="*/ 26 h 31"/>
                <a:gd name="T26" fmla="*/ 33 w 33"/>
                <a:gd name="T27" fmla="*/ 31 h 31"/>
                <a:gd name="T28" fmla="*/ 0 w 33"/>
                <a:gd name="T2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0" name="Freeform 509">
              <a:extLst>
                <a:ext uri="{FF2B5EF4-FFF2-40B4-BE49-F238E27FC236}">
                  <a16:creationId xmlns:a16="http://schemas.microsoft.com/office/drawing/2014/main" id="{4A02B015-7D3B-4968-BDDE-E14519F54363}"/>
                </a:ext>
              </a:extLst>
            </p:cNvPr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8696326" y="1439864"/>
              <a:ext cx="55563" cy="58737"/>
            </a:xfrm>
            <a:custGeom>
              <a:avLst/>
              <a:gdLst>
                <a:gd name="T0" fmla="*/ 3 w 129"/>
                <a:gd name="T1" fmla="*/ 44 h 56"/>
                <a:gd name="T2" fmla="*/ 1 w 129"/>
                <a:gd name="T3" fmla="*/ 42 h 56"/>
                <a:gd name="T4" fmla="*/ 1 w 129"/>
                <a:gd name="T5" fmla="*/ 40 h 56"/>
                <a:gd name="T6" fmla="*/ 0 w 129"/>
                <a:gd name="T7" fmla="*/ 37 h 56"/>
                <a:gd name="T8" fmla="*/ 1 w 129"/>
                <a:gd name="T9" fmla="*/ 33 h 56"/>
                <a:gd name="T10" fmla="*/ 2 w 129"/>
                <a:gd name="T11" fmla="*/ 25 h 56"/>
                <a:gd name="T12" fmla="*/ 3 w 129"/>
                <a:gd name="T13" fmla="*/ 18 h 56"/>
                <a:gd name="T14" fmla="*/ 9 w 129"/>
                <a:gd name="T15" fmla="*/ 13 h 56"/>
                <a:gd name="T16" fmla="*/ 16 w 129"/>
                <a:gd name="T17" fmla="*/ 9 h 56"/>
                <a:gd name="T18" fmla="*/ 21 w 129"/>
                <a:gd name="T19" fmla="*/ 6 h 56"/>
                <a:gd name="T20" fmla="*/ 27 w 129"/>
                <a:gd name="T21" fmla="*/ 5 h 56"/>
                <a:gd name="T22" fmla="*/ 39 w 129"/>
                <a:gd name="T23" fmla="*/ 3 h 56"/>
                <a:gd name="T24" fmla="*/ 57 w 129"/>
                <a:gd name="T25" fmla="*/ 0 h 56"/>
                <a:gd name="T26" fmla="*/ 60 w 129"/>
                <a:gd name="T27" fmla="*/ 5 h 56"/>
                <a:gd name="T28" fmla="*/ 64 w 129"/>
                <a:gd name="T29" fmla="*/ 8 h 56"/>
                <a:gd name="T30" fmla="*/ 69 w 129"/>
                <a:gd name="T31" fmla="*/ 11 h 56"/>
                <a:gd name="T32" fmla="*/ 73 w 129"/>
                <a:gd name="T33" fmla="*/ 14 h 56"/>
                <a:gd name="T34" fmla="*/ 83 w 129"/>
                <a:gd name="T35" fmla="*/ 18 h 56"/>
                <a:gd name="T36" fmla="*/ 93 w 129"/>
                <a:gd name="T37" fmla="*/ 21 h 56"/>
                <a:gd name="T38" fmla="*/ 103 w 129"/>
                <a:gd name="T39" fmla="*/ 25 h 56"/>
                <a:gd name="T40" fmla="*/ 113 w 129"/>
                <a:gd name="T41" fmla="*/ 29 h 56"/>
                <a:gd name="T42" fmla="*/ 117 w 129"/>
                <a:gd name="T43" fmla="*/ 32 h 56"/>
                <a:gd name="T44" fmla="*/ 121 w 129"/>
                <a:gd name="T45" fmla="*/ 35 h 56"/>
                <a:gd name="T46" fmla="*/ 126 w 129"/>
                <a:gd name="T47" fmla="*/ 38 h 56"/>
                <a:gd name="T48" fmla="*/ 129 w 129"/>
                <a:gd name="T49" fmla="*/ 44 h 56"/>
                <a:gd name="T50" fmla="*/ 119 w 129"/>
                <a:gd name="T51" fmla="*/ 48 h 56"/>
                <a:gd name="T52" fmla="*/ 109 w 129"/>
                <a:gd name="T53" fmla="*/ 51 h 56"/>
                <a:gd name="T54" fmla="*/ 99 w 129"/>
                <a:gd name="T55" fmla="*/ 53 h 56"/>
                <a:gd name="T56" fmla="*/ 90 w 129"/>
                <a:gd name="T57" fmla="*/ 54 h 56"/>
                <a:gd name="T58" fmla="*/ 70 w 129"/>
                <a:gd name="T59" fmla="*/ 56 h 56"/>
                <a:gd name="T60" fmla="*/ 49 w 129"/>
                <a:gd name="T61" fmla="*/ 56 h 56"/>
                <a:gd name="T62" fmla="*/ 40 w 129"/>
                <a:gd name="T63" fmla="*/ 55 h 56"/>
                <a:gd name="T64" fmla="*/ 31 w 129"/>
                <a:gd name="T65" fmla="*/ 54 h 56"/>
                <a:gd name="T66" fmla="*/ 23 w 129"/>
                <a:gd name="T67" fmla="*/ 52 h 56"/>
                <a:gd name="T68" fmla="*/ 16 w 129"/>
                <a:gd name="T69" fmla="*/ 50 h 56"/>
                <a:gd name="T70" fmla="*/ 6 w 129"/>
                <a:gd name="T71" fmla="*/ 46 h 56"/>
                <a:gd name="T72" fmla="*/ 3 w 129"/>
                <a:gd name="T73" fmla="*/ 44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1" name="Freeform 510">
              <a:extLst>
                <a:ext uri="{FF2B5EF4-FFF2-40B4-BE49-F238E27FC236}">
                  <a16:creationId xmlns:a16="http://schemas.microsoft.com/office/drawing/2014/main" id="{A2E577E9-7C09-4CEB-9802-594049417802}"/>
                </a:ext>
              </a:extLst>
            </p:cNvPr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8832850" y="1792288"/>
              <a:ext cx="14288" cy="57150"/>
            </a:xfrm>
            <a:custGeom>
              <a:avLst/>
              <a:gdLst>
                <a:gd name="T0" fmla="*/ 21 w 41"/>
                <a:gd name="T1" fmla="*/ 42 h 42"/>
                <a:gd name="T2" fmla="*/ 0 w 41"/>
                <a:gd name="T3" fmla="*/ 30 h 42"/>
                <a:gd name="T4" fmla="*/ 0 w 41"/>
                <a:gd name="T5" fmla="*/ 6 h 42"/>
                <a:gd name="T6" fmla="*/ 7 w 41"/>
                <a:gd name="T7" fmla="*/ 5 h 42"/>
                <a:gd name="T8" fmla="*/ 14 w 41"/>
                <a:gd name="T9" fmla="*/ 3 h 42"/>
                <a:gd name="T10" fmla="*/ 24 w 41"/>
                <a:gd name="T11" fmla="*/ 1 h 42"/>
                <a:gd name="T12" fmla="*/ 34 w 41"/>
                <a:gd name="T13" fmla="*/ 0 h 42"/>
                <a:gd name="T14" fmla="*/ 34 w 41"/>
                <a:gd name="T15" fmla="*/ 18 h 42"/>
                <a:gd name="T16" fmla="*/ 41 w 41"/>
                <a:gd name="T17" fmla="*/ 18 h 42"/>
                <a:gd name="T18" fmla="*/ 21 w 41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2" name="Freeform 511">
              <a:extLst>
                <a:ext uri="{FF2B5EF4-FFF2-40B4-BE49-F238E27FC236}">
                  <a16:creationId xmlns:a16="http://schemas.microsoft.com/office/drawing/2014/main" id="{2C26E83A-4BF4-4538-B1AB-7E3E591F0BF1}"/>
                </a:ext>
              </a:extLst>
            </p:cNvPr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8982076" y="1905001"/>
              <a:ext cx="42863" cy="60325"/>
            </a:xfrm>
            <a:custGeom>
              <a:avLst/>
              <a:gdLst>
                <a:gd name="T0" fmla="*/ 60 w 93"/>
                <a:gd name="T1" fmla="*/ 9 h 39"/>
                <a:gd name="T2" fmla="*/ 67 w 93"/>
                <a:gd name="T3" fmla="*/ 18 h 39"/>
                <a:gd name="T4" fmla="*/ 77 w 93"/>
                <a:gd name="T5" fmla="*/ 28 h 39"/>
                <a:gd name="T6" fmla="*/ 81 w 93"/>
                <a:gd name="T7" fmla="*/ 33 h 39"/>
                <a:gd name="T8" fmla="*/ 86 w 93"/>
                <a:gd name="T9" fmla="*/ 36 h 39"/>
                <a:gd name="T10" fmla="*/ 90 w 93"/>
                <a:gd name="T11" fmla="*/ 38 h 39"/>
                <a:gd name="T12" fmla="*/ 93 w 93"/>
                <a:gd name="T13" fmla="*/ 39 h 39"/>
                <a:gd name="T14" fmla="*/ 60 w 93"/>
                <a:gd name="T15" fmla="*/ 39 h 39"/>
                <a:gd name="T16" fmla="*/ 50 w 93"/>
                <a:gd name="T17" fmla="*/ 36 h 39"/>
                <a:gd name="T18" fmla="*/ 43 w 93"/>
                <a:gd name="T19" fmla="*/ 32 h 39"/>
                <a:gd name="T20" fmla="*/ 36 w 93"/>
                <a:gd name="T21" fmla="*/ 28 h 39"/>
                <a:gd name="T22" fmla="*/ 30 w 93"/>
                <a:gd name="T23" fmla="*/ 23 h 39"/>
                <a:gd name="T24" fmla="*/ 24 w 93"/>
                <a:gd name="T25" fmla="*/ 18 h 39"/>
                <a:gd name="T26" fmla="*/ 16 w 93"/>
                <a:gd name="T27" fmla="*/ 13 h 39"/>
                <a:gd name="T28" fmla="*/ 9 w 93"/>
                <a:gd name="T29" fmla="*/ 7 h 39"/>
                <a:gd name="T30" fmla="*/ 0 w 93"/>
                <a:gd name="T31" fmla="*/ 3 h 39"/>
                <a:gd name="T32" fmla="*/ 11 w 93"/>
                <a:gd name="T33" fmla="*/ 1 h 39"/>
                <a:gd name="T34" fmla="*/ 20 w 93"/>
                <a:gd name="T35" fmla="*/ 0 h 39"/>
                <a:gd name="T36" fmla="*/ 26 w 93"/>
                <a:gd name="T37" fmla="*/ 0 h 39"/>
                <a:gd name="T38" fmla="*/ 33 w 93"/>
                <a:gd name="T39" fmla="*/ 1 h 39"/>
                <a:gd name="T40" fmla="*/ 44 w 93"/>
                <a:gd name="T41" fmla="*/ 4 h 39"/>
                <a:gd name="T42" fmla="*/ 60 w 93"/>
                <a:gd name="T4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3" name="Freeform 512">
              <a:extLst>
                <a:ext uri="{FF2B5EF4-FFF2-40B4-BE49-F238E27FC236}">
                  <a16:creationId xmlns:a16="http://schemas.microsoft.com/office/drawing/2014/main" id="{10E165DD-1C1A-45AF-AAA5-B932FFD44867}"/>
                </a:ext>
              </a:extLst>
            </p:cNvPr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9032875" y="1920875"/>
              <a:ext cx="19050" cy="58738"/>
            </a:xfrm>
            <a:custGeom>
              <a:avLst/>
              <a:gdLst>
                <a:gd name="T0" fmla="*/ 39 w 39"/>
                <a:gd name="T1" fmla="*/ 19 h 19"/>
                <a:gd name="T2" fmla="*/ 13 w 39"/>
                <a:gd name="T3" fmla="*/ 19 h 19"/>
                <a:gd name="T4" fmla="*/ 8 w 39"/>
                <a:gd name="T5" fmla="*/ 19 h 19"/>
                <a:gd name="T6" fmla="*/ 5 w 39"/>
                <a:gd name="T7" fmla="*/ 17 h 19"/>
                <a:gd name="T8" fmla="*/ 3 w 39"/>
                <a:gd name="T9" fmla="*/ 14 h 19"/>
                <a:gd name="T10" fmla="*/ 2 w 39"/>
                <a:gd name="T11" fmla="*/ 11 h 19"/>
                <a:gd name="T12" fmla="*/ 0 w 39"/>
                <a:gd name="T13" fmla="*/ 5 h 19"/>
                <a:gd name="T14" fmla="*/ 0 w 39"/>
                <a:gd name="T15" fmla="*/ 0 h 19"/>
                <a:gd name="T16" fmla="*/ 13 w 39"/>
                <a:gd name="T17" fmla="*/ 4 h 19"/>
                <a:gd name="T18" fmla="*/ 22 w 39"/>
                <a:gd name="T19" fmla="*/ 9 h 19"/>
                <a:gd name="T20" fmla="*/ 30 w 39"/>
                <a:gd name="T21" fmla="*/ 14 h 19"/>
                <a:gd name="T22" fmla="*/ 39 w 39"/>
                <a:gd name="T2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4" name="Freeform 513">
              <a:extLst>
                <a:ext uri="{FF2B5EF4-FFF2-40B4-BE49-F238E27FC236}">
                  <a16:creationId xmlns:a16="http://schemas.microsoft.com/office/drawing/2014/main" id="{6A811314-1B5B-4309-8F26-64482E863F0E}"/>
                </a:ext>
              </a:extLst>
            </p:cNvPr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8897939" y="2047875"/>
              <a:ext cx="14287" cy="57150"/>
            </a:xfrm>
            <a:custGeom>
              <a:avLst/>
              <a:gdLst>
                <a:gd name="T0" fmla="*/ 0 w 26"/>
                <a:gd name="T1" fmla="*/ 36 h 36"/>
                <a:gd name="T2" fmla="*/ 3 w 26"/>
                <a:gd name="T3" fmla="*/ 31 h 36"/>
                <a:gd name="T4" fmla="*/ 10 w 26"/>
                <a:gd name="T5" fmla="*/ 20 h 36"/>
                <a:gd name="T6" fmla="*/ 18 w 26"/>
                <a:gd name="T7" fmla="*/ 8 h 36"/>
                <a:gd name="T8" fmla="*/ 26 w 26"/>
                <a:gd name="T9" fmla="*/ 0 h 36"/>
                <a:gd name="T10" fmla="*/ 26 w 26"/>
                <a:gd name="T11" fmla="*/ 9 h 36"/>
                <a:gd name="T12" fmla="*/ 26 w 26"/>
                <a:gd name="T13" fmla="*/ 18 h 36"/>
                <a:gd name="T14" fmla="*/ 25 w 26"/>
                <a:gd name="T15" fmla="*/ 22 h 36"/>
                <a:gd name="T16" fmla="*/ 24 w 26"/>
                <a:gd name="T17" fmla="*/ 26 h 36"/>
                <a:gd name="T18" fmla="*/ 21 w 26"/>
                <a:gd name="T19" fmla="*/ 29 h 36"/>
                <a:gd name="T20" fmla="*/ 17 w 26"/>
                <a:gd name="T21" fmla="*/ 32 h 36"/>
                <a:gd name="T22" fmla="*/ 14 w 26"/>
                <a:gd name="T23" fmla="*/ 34 h 36"/>
                <a:gd name="T24" fmla="*/ 10 w 26"/>
                <a:gd name="T25" fmla="*/ 35 h 36"/>
                <a:gd name="T26" fmla="*/ 4 w 26"/>
                <a:gd name="T27" fmla="*/ 36 h 36"/>
                <a:gd name="T28" fmla="*/ 0 w 26"/>
                <a:gd name="T2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5" name="Freeform 514">
              <a:extLst>
                <a:ext uri="{FF2B5EF4-FFF2-40B4-BE49-F238E27FC236}">
                  <a16:creationId xmlns:a16="http://schemas.microsoft.com/office/drawing/2014/main" id="{42EE54C3-6AB1-4747-B25F-5FD26CE6D719}"/>
                </a:ext>
              </a:extLst>
            </p:cNvPr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8909051" y="2076451"/>
              <a:ext cx="3175" cy="60325"/>
            </a:xfrm>
            <a:custGeom>
              <a:avLst/>
              <a:gdLst>
                <a:gd name="T0" fmla="*/ 0 w 6"/>
                <a:gd name="T1" fmla="*/ 37 h 37"/>
                <a:gd name="T2" fmla="*/ 0 w 6"/>
                <a:gd name="T3" fmla="*/ 0 h 37"/>
                <a:gd name="T4" fmla="*/ 6 w 6"/>
                <a:gd name="T5" fmla="*/ 0 h 37"/>
                <a:gd name="T6" fmla="*/ 6 w 6"/>
                <a:gd name="T7" fmla="*/ 31 h 37"/>
                <a:gd name="T8" fmla="*/ 0 w 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6" name="Freeform 515">
              <a:extLst>
                <a:ext uri="{FF2B5EF4-FFF2-40B4-BE49-F238E27FC236}">
                  <a16:creationId xmlns:a16="http://schemas.microsoft.com/office/drawing/2014/main" id="{B5CB1C7E-848F-4E98-A177-FC83B56E9FB8}"/>
                </a:ext>
              </a:extLst>
            </p:cNvPr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8896351" y="2159001"/>
              <a:ext cx="9525" cy="55563"/>
            </a:xfrm>
            <a:custGeom>
              <a:avLst/>
              <a:gdLst>
                <a:gd name="T0" fmla="*/ 0 w 20"/>
                <a:gd name="T1" fmla="*/ 31 h 43"/>
                <a:gd name="T2" fmla="*/ 0 w 20"/>
                <a:gd name="T3" fmla="*/ 25 h 43"/>
                <a:gd name="T4" fmla="*/ 0 w 20"/>
                <a:gd name="T5" fmla="*/ 18 h 43"/>
                <a:gd name="T6" fmla="*/ 2 w 20"/>
                <a:gd name="T7" fmla="*/ 9 h 43"/>
                <a:gd name="T8" fmla="*/ 7 w 20"/>
                <a:gd name="T9" fmla="*/ 0 h 43"/>
                <a:gd name="T10" fmla="*/ 11 w 20"/>
                <a:gd name="T11" fmla="*/ 7 h 43"/>
                <a:gd name="T12" fmla="*/ 16 w 20"/>
                <a:gd name="T13" fmla="*/ 12 h 43"/>
                <a:gd name="T14" fmla="*/ 17 w 20"/>
                <a:gd name="T15" fmla="*/ 14 h 43"/>
                <a:gd name="T16" fmla="*/ 19 w 20"/>
                <a:gd name="T17" fmla="*/ 18 h 43"/>
                <a:gd name="T18" fmla="*/ 19 w 20"/>
                <a:gd name="T19" fmla="*/ 21 h 43"/>
                <a:gd name="T20" fmla="*/ 20 w 20"/>
                <a:gd name="T21" fmla="*/ 25 h 43"/>
                <a:gd name="T22" fmla="*/ 19 w 20"/>
                <a:gd name="T23" fmla="*/ 27 h 43"/>
                <a:gd name="T24" fmla="*/ 18 w 20"/>
                <a:gd name="T25" fmla="*/ 30 h 43"/>
                <a:gd name="T26" fmla="*/ 16 w 20"/>
                <a:gd name="T27" fmla="*/ 33 h 43"/>
                <a:gd name="T28" fmla="*/ 12 w 20"/>
                <a:gd name="T29" fmla="*/ 36 h 43"/>
                <a:gd name="T30" fmla="*/ 9 w 20"/>
                <a:gd name="T31" fmla="*/ 39 h 43"/>
                <a:gd name="T32" fmla="*/ 6 w 20"/>
                <a:gd name="T33" fmla="*/ 41 h 43"/>
                <a:gd name="T34" fmla="*/ 2 w 20"/>
                <a:gd name="T35" fmla="*/ 42 h 43"/>
                <a:gd name="T36" fmla="*/ 0 w 20"/>
                <a:gd name="T37" fmla="*/ 43 h 43"/>
                <a:gd name="T38" fmla="*/ 0 w 20"/>
                <a:gd name="T39" fmla="*/ 3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7" name="Freeform 516">
              <a:extLst>
                <a:ext uri="{FF2B5EF4-FFF2-40B4-BE49-F238E27FC236}">
                  <a16:creationId xmlns:a16="http://schemas.microsoft.com/office/drawing/2014/main" id="{E11BB435-8FC6-43DF-AD8B-334B6FD7065E}"/>
                </a:ext>
              </a:extLst>
            </p:cNvPr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8874125" y="2193925"/>
              <a:ext cx="0" cy="58738"/>
            </a:xfrm>
            <a:custGeom>
              <a:avLst/>
              <a:gdLst>
                <a:gd name="T0" fmla="*/ 30 h 30"/>
                <a:gd name="T1" fmla="*/ 25 h 30"/>
                <a:gd name="T2" fmla="*/ 18 h 30"/>
                <a:gd name="T3" fmla="*/ 9 h 30"/>
                <a:gd name="T4" fmla="*/ 0 h 3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8" name="Freeform 517">
              <a:extLst>
                <a:ext uri="{FF2B5EF4-FFF2-40B4-BE49-F238E27FC236}">
                  <a16:creationId xmlns:a16="http://schemas.microsoft.com/office/drawing/2014/main" id="{707EC046-3245-4762-8D86-110BD5C9C3FA}"/>
                </a:ext>
              </a:extLst>
            </p:cNvPr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8874125" y="2193925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20 w 20"/>
                <a:gd name="T3" fmla="*/ 0 h 24"/>
                <a:gd name="T4" fmla="*/ 0 w 20"/>
                <a:gd name="T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59" name="Freeform 518">
              <a:extLst>
                <a:ext uri="{FF2B5EF4-FFF2-40B4-BE49-F238E27FC236}">
                  <a16:creationId xmlns:a16="http://schemas.microsoft.com/office/drawing/2014/main" id="{DBFA416D-EFC7-4C04-B3DF-6AFB30520FAB}"/>
                </a:ext>
              </a:extLst>
            </p:cNvPr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8628063" y="1781176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9 w 46"/>
                <a:gd name="T3" fmla="*/ 3 h 19"/>
                <a:gd name="T4" fmla="*/ 14 w 46"/>
                <a:gd name="T5" fmla="*/ 5 h 19"/>
                <a:gd name="T6" fmla="*/ 19 w 46"/>
                <a:gd name="T7" fmla="*/ 8 h 19"/>
                <a:gd name="T8" fmla="*/ 23 w 46"/>
                <a:gd name="T9" fmla="*/ 10 h 19"/>
                <a:gd name="T10" fmla="*/ 26 w 46"/>
                <a:gd name="T11" fmla="*/ 12 h 19"/>
                <a:gd name="T12" fmla="*/ 32 w 46"/>
                <a:gd name="T13" fmla="*/ 14 h 19"/>
                <a:gd name="T14" fmla="*/ 37 w 46"/>
                <a:gd name="T15" fmla="*/ 17 h 19"/>
                <a:gd name="T16" fmla="*/ 46 w 46"/>
                <a:gd name="T17" fmla="*/ 19 h 19"/>
                <a:gd name="T18" fmla="*/ 33 w 46"/>
                <a:gd name="T19" fmla="*/ 19 h 19"/>
                <a:gd name="T20" fmla="*/ 24 w 46"/>
                <a:gd name="T21" fmla="*/ 19 h 19"/>
                <a:gd name="T22" fmla="*/ 18 w 46"/>
                <a:gd name="T23" fmla="*/ 18 h 19"/>
                <a:gd name="T24" fmla="*/ 13 w 46"/>
                <a:gd name="T25" fmla="*/ 17 h 19"/>
                <a:gd name="T26" fmla="*/ 10 w 46"/>
                <a:gd name="T27" fmla="*/ 14 h 19"/>
                <a:gd name="T28" fmla="*/ 7 w 46"/>
                <a:gd name="T29" fmla="*/ 11 h 19"/>
                <a:gd name="T30" fmla="*/ 4 w 46"/>
                <a:gd name="T31" fmla="*/ 7 h 19"/>
                <a:gd name="T32" fmla="*/ 0 w 46"/>
                <a:gd name="T3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0" name="Freeform 519">
              <a:extLst>
                <a:ext uri="{FF2B5EF4-FFF2-40B4-BE49-F238E27FC236}">
                  <a16:creationId xmlns:a16="http://schemas.microsoft.com/office/drawing/2014/main" id="{FE5545EA-7C26-4F59-B6FE-8B110F851ACE}"/>
                </a:ext>
              </a:extLst>
            </p:cNvPr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5943601" y="1920875"/>
              <a:ext cx="47625" cy="58738"/>
            </a:xfrm>
            <a:custGeom>
              <a:avLst/>
              <a:gdLst>
                <a:gd name="T0" fmla="*/ 33 w 100"/>
                <a:gd name="T1" fmla="*/ 0 h 55"/>
                <a:gd name="T2" fmla="*/ 100 w 100"/>
                <a:gd name="T3" fmla="*/ 12 h 55"/>
                <a:gd name="T4" fmla="*/ 100 w 100"/>
                <a:gd name="T5" fmla="*/ 55 h 55"/>
                <a:gd name="T6" fmla="*/ 13 w 100"/>
                <a:gd name="T7" fmla="*/ 55 h 55"/>
                <a:gd name="T8" fmla="*/ 0 w 100"/>
                <a:gd name="T9" fmla="*/ 43 h 55"/>
                <a:gd name="T10" fmla="*/ 1 w 100"/>
                <a:gd name="T11" fmla="*/ 38 h 55"/>
                <a:gd name="T12" fmla="*/ 4 w 100"/>
                <a:gd name="T13" fmla="*/ 32 h 55"/>
                <a:gd name="T14" fmla="*/ 10 w 100"/>
                <a:gd name="T15" fmla="*/ 25 h 55"/>
                <a:gd name="T16" fmla="*/ 16 w 100"/>
                <a:gd name="T17" fmla="*/ 18 h 55"/>
                <a:gd name="T18" fmla="*/ 27 w 100"/>
                <a:gd name="T19" fmla="*/ 5 h 55"/>
                <a:gd name="T20" fmla="*/ 33 w 100"/>
                <a:gd name="T21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1" name="Freeform 520">
              <a:extLst>
                <a:ext uri="{FF2B5EF4-FFF2-40B4-BE49-F238E27FC236}">
                  <a16:creationId xmlns:a16="http://schemas.microsoft.com/office/drawing/2014/main" id="{6DDF893D-1390-4DD9-8613-986E1EB1475D}"/>
                </a:ext>
              </a:extLst>
            </p:cNvPr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6392863" y="1512889"/>
              <a:ext cx="42862" cy="58737"/>
            </a:xfrm>
            <a:custGeom>
              <a:avLst/>
              <a:gdLst>
                <a:gd name="T0" fmla="*/ 53 w 99"/>
                <a:gd name="T1" fmla="*/ 2 h 51"/>
                <a:gd name="T2" fmla="*/ 58 w 99"/>
                <a:gd name="T3" fmla="*/ 1 h 51"/>
                <a:gd name="T4" fmla="*/ 62 w 99"/>
                <a:gd name="T5" fmla="*/ 0 h 51"/>
                <a:gd name="T6" fmla="*/ 65 w 99"/>
                <a:gd name="T7" fmla="*/ 0 h 51"/>
                <a:gd name="T8" fmla="*/ 69 w 99"/>
                <a:gd name="T9" fmla="*/ 1 h 51"/>
                <a:gd name="T10" fmla="*/ 74 w 99"/>
                <a:gd name="T11" fmla="*/ 5 h 51"/>
                <a:gd name="T12" fmla="*/ 79 w 99"/>
                <a:gd name="T13" fmla="*/ 11 h 51"/>
                <a:gd name="T14" fmla="*/ 83 w 99"/>
                <a:gd name="T15" fmla="*/ 18 h 51"/>
                <a:gd name="T16" fmla="*/ 87 w 99"/>
                <a:gd name="T17" fmla="*/ 25 h 51"/>
                <a:gd name="T18" fmla="*/ 91 w 99"/>
                <a:gd name="T19" fmla="*/ 28 h 51"/>
                <a:gd name="T20" fmla="*/ 93 w 99"/>
                <a:gd name="T21" fmla="*/ 30 h 51"/>
                <a:gd name="T22" fmla="*/ 96 w 99"/>
                <a:gd name="T23" fmla="*/ 32 h 51"/>
                <a:gd name="T24" fmla="*/ 99 w 99"/>
                <a:gd name="T25" fmla="*/ 34 h 51"/>
                <a:gd name="T26" fmla="*/ 99 w 99"/>
                <a:gd name="T27" fmla="*/ 37 h 51"/>
                <a:gd name="T28" fmla="*/ 97 w 99"/>
                <a:gd name="T29" fmla="*/ 40 h 51"/>
                <a:gd name="T30" fmla="*/ 95 w 99"/>
                <a:gd name="T31" fmla="*/ 43 h 51"/>
                <a:gd name="T32" fmla="*/ 91 w 99"/>
                <a:gd name="T33" fmla="*/ 45 h 51"/>
                <a:gd name="T34" fmla="*/ 86 w 99"/>
                <a:gd name="T35" fmla="*/ 47 h 51"/>
                <a:gd name="T36" fmla="*/ 81 w 99"/>
                <a:gd name="T37" fmla="*/ 48 h 51"/>
                <a:gd name="T38" fmla="*/ 74 w 99"/>
                <a:gd name="T39" fmla="*/ 50 h 51"/>
                <a:gd name="T40" fmla="*/ 68 w 99"/>
                <a:gd name="T41" fmla="*/ 50 h 51"/>
                <a:gd name="T42" fmla="*/ 52 w 99"/>
                <a:gd name="T43" fmla="*/ 51 h 51"/>
                <a:gd name="T44" fmla="*/ 36 w 99"/>
                <a:gd name="T45" fmla="*/ 49 h 51"/>
                <a:gd name="T46" fmla="*/ 27 w 99"/>
                <a:gd name="T47" fmla="*/ 48 h 51"/>
                <a:gd name="T48" fmla="*/ 18 w 99"/>
                <a:gd name="T49" fmla="*/ 45 h 51"/>
                <a:gd name="T50" fmla="*/ 9 w 99"/>
                <a:gd name="T51" fmla="*/ 43 h 51"/>
                <a:gd name="T52" fmla="*/ 1 w 99"/>
                <a:gd name="T53" fmla="*/ 40 h 51"/>
                <a:gd name="T54" fmla="*/ 0 w 99"/>
                <a:gd name="T55" fmla="*/ 39 h 51"/>
                <a:gd name="T56" fmla="*/ 1 w 99"/>
                <a:gd name="T57" fmla="*/ 37 h 51"/>
                <a:gd name="T58" fmla="*/ 3 w 99"/>
                <a:gd name="T59" fmla="*/ 35 h 51"/>
                <a:gd name="T60" fmla="*/ 6 w 99"/>
                <a:gd name="T61" fmla="*/ 33 h 51"/>
                <a:gd name="T62" fmla="*/ 14 w 99"/>
                <a:gd name="T63" fmla="*/ 29 h 51"/>
                <a:gd name="T64" fmla="*/ 25 w 99"/>
                <a:gd name="T65" fmla="*/ 24 h 51"/>
                <a:gd name="T66" fmla="*/ 35 w 99"/>
                <a:gd name="T67" fmla="*/ 19 h 51"/>
                <a:gd name="T68" fmla="*/ 45 w 99"/>
                <a:gd name="T69" fmla="*/ 12 h 51"/>
                <a:gd name="T70" fmla="*/ 48 w 99"/>
                <a:gd name="T71" fmla="*/ 10 h 51"/>
                <a:gd name="T72" fmla="*/ 51 w 99"/>
                <a:gd name="T73" fmla="*/ 7 h 51"/>
                <a:gd name="T74" fmla="*/ 52 w 99"/>
                <a:gd name="T75" fmla="*/ 5 h 51"/>
                <a:gd name="T76" fmla="*/ 53 w 99"/>
                <a:gd name="T77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2" name="Freeform 521">
              <a:extLst>
                <a:ext uri="{FF2B5EF4-FFF2-40B4-BE49-F238E27FC236}">
                  <a16:creationId xmlns:a16="http://schemas.microsoft.com/office/drawing/2014/main" id="{A999F635-08D0-43E9-A97A-3C8BC0B24940}"/>
                </a:ext>
              </a:extLst>
            </p:cNvPr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6427788" y="1325563"/>
              <a:ext cx="228600" cy="163512"/>
            </a:xfrm>
            <a:custGeom>
              <a:avLst/>
              <a:gdLst>
                <a:gd name="T0" fmla="*/ 315 w 525"/>
                <a:gd name="T1" fmla="*/ 27 h 311"/>
                <a:gd name="T2" fmla="*/ 342 w 525"/>
                <a:gd name="T3" fmla="*/ 21 h 311"/>
                <a:gd name="T4" fmla="*/ 385 w 525"/>
                <a:gd name="T5" fmla="*/ 20 h 311"/>
                <a:gd name="T6" fmla="*/ 408 w 525"/>
                <a:gd name="T7" fmla="*/ 17 h 311"/>
                <a:gd name="T8" fmla="*/ 427 w 525"/>
                <a:gd name="T9" fmla="*/ 7 h 311"/>
                <a:gd name="T10" fmla="*/ 514 w 525"/>
                <a:gd name="T11" fmla="*/ 6 h 311"/>
                <a:gd name="T12" fmla="*/ 525 w 525"/>
                <a:gd name="T13" fmla="*/ 19 h 311"/>
                <a:gd name="T14" fmla="*/ 468 w 525"/>
                <a:gd name="T15" fmla="*/ 47 h 311"/>
                <a:gd name="T16" fmla="*/ 392 w 525"/>
                <a:gd name="T17" fmla="*/ 73 h 311"/>
                <a:gd name="T18" fmla="*/ 356 w 525"/>
                <a:gd name="T19" fmla="*/ 80 h 311"/>
                <a:gd name="T20" fmla="*/ 321 w 525"/>
                <a:gd name="T21" fmla="*/ 83 h 311"/>
                <a:gd name="T22" fmla="*/ 279 w 525"/>
                <a:gd name="T23" fmla="*/ 101 h 311"/>
                <a:gd name="T24" fmla="*/ 244 w 525"/>
                <a:gd name="T25" fmla="*/ 121 h 311"/>
                <a:gd name="T26" fmla="*/ 218 w 525"/>
                <a:gd name="T27" fmla="*/ 129 h 311"/>
                <a:gd name="T28" fmla="*/ 187 w 525"/>
                <a:gd name="T29" fmla="*/ 123 h 311"/>
                <a:gd name="T30" fmla="*/ 178 w 525"/>
                <a:gd name="T31" fmla="*/ 137 h 311"/>
                <a:gd name="T32" fmla="*/ 175 w 525"/>
                <a:gd name="T33" fmla="*/ 145 h 311"/>
                <a:gd name="T34" fmla="*/ 185 w 525"/>
                <a:gd name="T35" fmla="*/ 148 h 311"/>
                <a:gd name="T36" fmla="*/ 184 w 525"/>
                <a:gd name="T37" fmla="*/ 157 h 311"/>
                <a:gd name="T38" fmla="*/ 176 w 525"/>
                <a:gd name="T39" fmla="*/ 167 h 311"/>
                <a:gd name="T40" fmla="*/ 180 w 525"/>
                <a:gd name="T41" fmla="*/ 179 h 311"/>
                <a:gd name="T42" fmla="*/ 162 w 525"/>
                <a:gd name="T43" fmla="*/ 194 h 311"/>
                <a:gd name="T44" fmla="*/ 144 w 525"/>
                <a:gd name="T45" fmla="*/ 204 h 311"/>
                <a:gd name="T46" fmla="*/ 141 w 525"/>
                <a:gd name="T47" fmla="*/ 213 h 311"/>
                <a:gd name="T48" fmla="*/ 144 w 525"/>
                <a:gd name="T49" fmla="*/ 228 h 311"/>
                <a:gd name="T50" fmla="*/ 163 w 525"/>
                <a:gd name="T51" fmla="*/ 247 h 311"/>
                <a:gd name="T52" fmla="*/ 191 w 525"/>
                <a:gd name="T53" fmla="*/ 267 h 311"/>
                <a:gd name="T54" fmla="*/ 256 w 525"/>
                <a:gd name="T55" fmla="*/ 300 h 311"/>
                <a:gd name="T56" fmla="*/ 243 w 525"/>
                <a:gd name="T57" fmla="*/ 311 h 311"/>
                <a:gd name="T58" fmla="*/ 189 w 525"/>
                <a:gd name="T59" fmla="*/ 309 h 311"/>
                <a:gd name="T60" fmla="*/ 145 w 525"/>
                <a:gd name="T61" fmla="*/ 308 h 311"/>
                <a:gd name="T62" fmla="*/ 129 w 525"/>
                <a:gd name="T63" fmla="*/ 304 h 311"/>
                <a:gd name="T64" fmla="*/ 123 w 525"/>
                <a:gd name="T65" fmla="*/ 298 h 311"/>
                <a:gd name="T66" fmla="*/ 120 w 525"/>
                <a:gd name="T67" fmla="*/ 282 h 311"/>
                <a:gd name="T68" fmla="*/ 116 w 525"/>
                <a:gd name="T69" fmla="*/ 278 h 311"/>
                <a:gd name="T70" fmla="*/ 95 w 525"/>
                <a:gd name="T71" fmla="*/ 277 h 311"/>
                <a:gd name="T72" fmla="*/ 80 w 525"/>
                <a:gd name="T73" fmla="*/ 296 h 311"/>
                <a:gd name="T74" fmla="*/ 44 w 525"/>
                <a:gd name="T75" fmla="*/ 282 h 311"/>
                <a:gd name="T76" fmla="*/ 0 w 525"/>
                <a:gd name="T77" fmla="*/ 246 h 311"/>
                <a:gd name="T78" fmla="*/ 18 w 525"/>
                <a:gd name="T79" fmla="*/ 239 h 311"/>
                <a:gd name="T80" fmla="*/ 34 w 525"/>
                <a:gd name="T81" fmla="*/ 222 h 311"/>
                <a:gd name="T82" fmla="*/ 28 w 525"/>
                <a:gd name="T83" fmla="*/ 213 h 311"/>
                <a:gd name="T84" fmla="*/ 34 w 525"/>
                <a:gd name="T85" fmla="*/ 200 h 311"/>
                <a:gd name="T86" fmla="*/ 40 w 525"/>
                <a:gd name="T87" fmla="*/ 188 h 311"/>
                <a:gd name="T88" fmla="*/ 34 w 525"/>
                <a:gd name="T89" fmla="*/ 179 h 311"/>
                <a:gd name="T90" fmla="*/ 134 w 525"/>
                <a:gd name="T91" fmla="*/ 179 h 311"/>
                <a:gd name="T92" fmla="*/ 131 w 525"/>
                <a:gd name="T93" fmla="*/ 177 h 311"/>
                <a:gd name="T94" fmla="*/ 90 w 525"/>
                <a:gd name="T95" fmla="*/ 166 h 311"/>
                <a:gd name="T96" fmla="*/ 54 w 525"/>
                <a:gd name="T97" fmla="*/ 148 h 311"/>
                <a:gd name="T98" fmla="*/ 84 w 525"/>
                <a:gd name="T99" fmla="*/ 134 h 311"/>
                <a:gd name="T100" fmla="*/ 120 w 525"/>
                <a:gd name="T101" fmla="*/ 111 h 311"/>
                <a:gd name="T102" fmla="*/ 111 w 525"/>
                <a:gd name="T103" fmla="*/ 103 h 311"/>
                <a:gd name="T104" fmla="*/ 100 w 525"/>
                <a:gd name="T105" fmla="*/ 80 h 311"/>
                <a:gd name="T106" fmla="*/ 127 w 525"/>
                <a:gd name="T107" fmla="*/ 76 h 311"/>
                <a:gd name="T108" fmla="*/ 184 w 525"/>
                <a:gd name="T109" fmla="*/ 58 h 311"/>
                <a:gd name="T110" fmla="*/ 254 w 525"/>
                <a:gd name="T111" fmla="*/ 35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3" name="Freeform 522">
              <a:extLst>
                <a:ext uri="{FF2B5EF4-FFF2-40B4-BE49-F238E27FC236}">
                  <a16:creationId xmlns:a16="http://schemas.microsoft.com/office/drawing/2014/main" id="{9BD84591-06B8-4CBF-AE9A-CC8DF8518B5E}"/>
                </a:ext>
              </a:extLst>
            </p:cNvPr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6219825" y="1636713"/>
              <a:ext cx="31750" cy="55562"/>
            </a:xfrm>
            <a:custGeom>
              <a:avLst/>
              <a:gdLst>
                <a:gd name="T0" fmla="*/ 46 w 79"/>
                <a:gd name="T1" fmla="*/ 0 h 38"/>
                <a:gd name="T2" fmla="*/ 54 w 79"/>
                <a:gd name="T3" fmla="*/ 1 h 38"/>
                <a:gd name="T4" fmla="*/ 62 w 79"/>
                <a:gd name="T5" fmla="*/ 3 h 38"/>
                <a:gd name="T6" fmla="*/ 68 w 79"/>
                <a:gd name="T7" fmla="*/ 7 h 38"/>
                <a:gd name="T8" fmla="*/ 72 w 79"/>
                <a:gd name="T9" fmla="*/ 12 h 38"/>
                <a:gd name="T10" fmla="*/ 75 w 79"/>
                <a:gd name="T11" fmla="*/ 17 h 38"/>
                <a:gd name="T12" fmla="*/ 77 w 79"/>
                <a:gd name="T13" fmla="*/ 22 h 38"/>
                <a:gd name="T14" fmla="*/ 79 w 79"/>
                <a:gd name="T15" fmla="*/ 27 h 38"/>
                <a:gd name="T16" fmla="*/ 79 w 79"/>
                <a:gd name="T17" fmla="*/ 32 h 38"/>
                <a:gd name="T18" fmla="*/ 77 w 79"/>
                <a:gd name="T19" fmla="*/ 34 h 38"/>
                <a:gd name="T20" fmla="*/ 75 w 79"/>
                <a:gd name="T21" fmla="*/ 35 h 38"/>
                <a:gd name="T22" fmla="*/ 72 w 79"/>
                <a:gd name="T23" fmla="*/ 36 h 38"/>
                <a:gd name="T24" fmla="*/ 68 w 79"/>
                <a:gd name="T25" fmla="*/ 37 h 38"/>
                <a:gd name="T26" fmla="*/ 57 w 79"/>
                <a:gd name="T27" fmla="*/ 38 h 38"/>
                <a:gd name="T28" fmla="*/ 46 w 79"/>
                <a:gd name="T29" fmla="*/ 38 h 38"/>
                <a:gd name="T30" fmla="*/ 38 w 79"/>
                <a:gd name="T31" fmla="*/ 37 h 38"/>
                <a:gd name="T32" fmla="*/ 30 w 79"/>
                <a:gd name="T33" fmla="*/ 36 h 38"/>
                <a:gd name="T34" fmla="*/ 21 w 79"/>
                <a:gd name="T35" fmla="*/ 35 h 38"/>
                <a:gd name="T36" fmla="*/ 15 w 79"/>
                <a:gd name="T37" fmla="*/ 32 h 38"/>
                <a:gd name="T38" fmla="*/ 8 w 79"/>
                <a:gd name="T39" fmla="*/ 29 h 38"/>
                <a:gd name="T40" fmla="*/ 4 w 79"/>
                <a:gd name="T41" fmla="*/ 25 h 38"/>
                <a:gd name="T42" fmla="*/ 2 w 79"/>
                <a:gd name="T43" fmla="*/ 22 h 38"/>
                <a:gd name="T44" fmla="*/ 1 w 79"/>
                <a:gd name="T45" fmla="*/ 20 h 38"/>
                <a:gd name="T46" fmla="*/ 0 w 79"/>
                <a:gd name="T47" fmla="*/ 17 h 38"/>
                <a:gd name="T48" fmla="*/ 0 w 79"/>
                <a:gd name="T49" fmla="*/ 13 h 38"/>
                <a:gd name="T50" fmla="*/ 1 w 79"/>
                <a:gd name="T51" fmla="*/ 11 h 38"/>
                <a:gd name="T52" fmla="*/ 4 w 79"/>
                <a:gd name="T53" fmla="*/ 9 h 38"/>
                <a:gd name="T54" fmla="*/ 10 w 79"/>
                <a:gd name="T55" fmla="*/ 6 h 38"/>
                <a:gd name="T56" fmla="*/ 17 w 79"/>
                <a:gd name="T57" fmla="*/ 4 h 38"/>
                <a:gd name="T58" fmla="*/ 32 w 79"/>
                <a:gd name="T59" fmla="*/ 1 h 38"/>
                <a:gd name="T60" fmla="*/ 46 w 79"/>
                <a:gd name="T6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4" name="Freeform 523">
              <a:extLst>
                <a:ext uri="{FF2B5EF4-FFF2-40B4-BE49-F238E27FC236}">
                  <a16:creationId xmlns:a16="http://schemas.microsoft.com/office/drawing/2014/main" id="{B89B2E27-9E91-43B2-9995-59298A3867D4}"/>
                </a:ext>
              </a:extLst>
            </p:cNvPr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8524875" y="1933575"/>
              <a:ext cx="196850" cy="268288"/>
            </a:xfrm>
            <a:custGeom>
              <a:avLst/>
              <a:gdLst>
                <a:gd name="T0" fmla="*/ 26 w 459"/>
                <a:gd name="T1" fmla="*/ 45 h 511"/>
                <a:gd name="T2" fmla="*/ 12 w 459"/>
                <a:gd name="T3" fmla="*/ 25 h 511"/>
                <a:gd name="T4" fmla="*/ 0 w 459"/>
                <a:gd name="T5" fmla="*/ 0 h 511"/>
                <a:gd name="T6" fmla="*/ 22 w 459"/>
                <a:gd name="T7" fmla="*/ 7 h 511"/>
                <a:gd name="T8" fmla="*/ 33 w 459"/>
                <a:gd name="T9" fmla="*/ 6 h 511"/>
                <a:gd name="T10" fmla="*/ 95 w 459"/>
                <a:gd name="T11" fmla="*/ 67 h 511"/>
                <a:gd name="T12" fmla="*/ 146 w 459"/>
                <a:gd name="T13" fmla="*/ 123 h 511"/>
                <a:gd name="T14" fmla="*/ 216 w 459"/>
                <a:gd name="T15" fmla="*/ 198 h 511"/>
                <a:gd name="T16" fmla="*/ 258 w 459"/>
                <a:gd name="T17" fmla="*/ 237 h 511"/>
                <a:gd name="T18" fmla="*/ 303 w 459"/>
                <a:gd name="T19" fmla="*/ 266 h 511"/>
                <a:gd name="T20" fmla="*/ 372 w 459"/>
                <a:gd name="T21" fmla="*/ 311 h 511"/>
                <a:gd name="T22" fmla="*/ 398 w 459"/>
                <a:gd name="T23" fmla="*/ 336 h 511"/>
                <a:gd name="T24" fmla="*/ 365 w 459"/>
                <a:gd name="T25" fmla="*/ 320 h 511"/>
                <a:gd name="T26" fmla="*/ 324 w 459"/>
                <a:gd name="T27" fmla="*/ 296 h 511"/>
                <a:gd name="T28" fmla="*/ 314 w 459"/>
                <a:gd name="T29" fmla="*/ 298 h 511"/>
                <a:gd name="T30" fmla="*/ 313 w 459"/>
                <a:gd name="T31" fmla="*/ 311 h 511"/>
                <a:gd name="T32" fmla="*/ 317 w 459"/>
                <a:gd name="T33" fmla="*/ 337 h 511"/>
                <a:gd name="T34" fmla="*/ 326 w 459"/>
                <a:gd name="T35" fmla="*/ 358 h 511"/>
                <a:gd name="T36" fmla="*/ 348 w 459"/>
                <a:gd name="T37" fmla="*/ 387 h 511"/>
                <a:gd name="T38" fmla="*/ 394 w 459"/>
                <a:gd name="T39" fmla="*/ 421 h 511"/>
                <a:gd name="T40" fmla="*/ 440 w 459"/>
                <a:gd name="T41" fmla="*/ 458 h 511"/>
                <a:gd name="T42" fmla="*/ 448 w 459"/>
                <a:gd name="T43" fmla="*/ 476 h 511"/>
                <a:gd name="T44" fmla="*/ 428 w 459"/>
                <a:gd name="T45" fmla="*/ 469 h 511"/>
                <a:gd name="T46" fmla="*/ 392 w 459"/>
                <a:gd name="T47" fmla="*/ 462 h 511"/>
                <a:gd name="T48" fmla="*/ 393 w 459"/>
                <a:gd name="T49" fmla="*/ 494 h 511"/>
                <a:gd name="T50" fmla="*/ 398 w 459"/>
                <a:gd name="T51" fmla="*/ 511 h 511"/>
                <a:gd name="T52" fmla="*/ 388 w 459"/>
                <a:gd name="T53" fmla="*/ 492 h 511"/>
                <a:gd name="T54" fmla="*/ 363 w 459"/>
                <a:gd name="T55" fmla="*/ 466 h 511"/>
                <a:gd name="T56" fmla="*/ 343 w 459"/>
                <a:gd name="T57" fmla="*/ 445 h 511"/>
                <a:gd name="T58" fmla="*/ 339 w 459"/>
                <a:gd name="T59" fmla="*/ 431 h 511"/>
                <a:gd name="T60" fmla="*/ 328 w 459"/>
                <a:gd name="T61" fmla="*/ 411 h 511"/>
                <a:gd name="T62" fmla="*/ 310 w 459"/>
                <a:gd name="T63" fmla="*/ 384 h 511"/>
                <a:gd name="T64" fmla="*/ 298 w 459"/>
                <a:gd name="T65" fmla="*/ 367 h 511"/>
                <a:gd name="T66" fmla="*/ 280 w 459"/>
                <a:gd name="T67" fmla="*/ 358 h 511"/>
                <a:gd name="T68" fmla="*/ 264 w 459"/>
                <a:gd name="T69" fmla="*/ 343 h 511"/>
                <a:gd name="T70" fmla="*/ 249 w 459"/>
                <a:gd name="T71" fmla="*/ 314 h 511"/>
                <a:gd name="T72" fmla="*/ 245 w 459"/>
                <a:gd name="T73" fmla="*/ 293 h 511"/>
                <a:gd name="T74" fmla="*/ 234 w 459"/>
                <a:gd name="T75" fmla="*/ 281 h 511"/>
                <a:gd name="T76" fmla="*/ 194 w 459"/>
                <a:gd name="T77" fmla="*/ 244 h 511"/>
                <a:gd name="T78" fmla="*/ 171 w 459"/>
                <a:gd name="T79" fmla="*/ 220 h 511"/>
                <a:gd name="T80" fmla="*/ 163 w 459"/>
                <a:gd name="T81" fmla="*/ 203 h 511"/>
                <a:gd name="T82" fmla="*/ 154 w 459"/>
                <a:gd name="T83" fmla="*/ 187 h 511"/>
                <a:gd name="T84" fmla="*/ 115 w 459"/>
                <a:gd name="T85" fmla="*/ 155 h 511"/>
                <a:gd name="T86" fmla="*/ 70 w 459"/>
                <a:gd name="T87" fmla="*/ 130 h 511"/>
                <a:gd name="T88" fmla="*/ 47 w 459"/>
                <a:gd name="T89" fmla="*/ 110 h 511"/>
                <a:gd name="T90" fmla="*/ 38 w 459"/>
                <a:gd name="T91" fmla="*/ 93 h 511"/>
                <a:gd name="T92" fmla="*/ 34 w 459"/>
                <a:gd name="T93" fmla="*/ 7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grpSp>
          <p:nvGrpSpPr>
            <p:cNvPr id="365" name="Group 524">
              <a:extLst>
                <a:ext uri="{FF2B5EF4-FFF2-40B4-BE49-F238E27FC236}">
                  <a16:creationId xmlns:a16="http://schemas.microsoft.com/office/drawing/2014/main" id="{3D4A51A2-901C-46C1-91B4-1F95C12C7F62}"/>
                </a:ext>
              </a:extLst>
            </p:cNvPr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7315201" y="1889126"/>
              <a:ext cx="671513" cy="384175"/>
              <a:chOff x="4115" y="1551"/>
              <a:chExt cx="504" cy="244"/>
            </a:xfrm>
          </p:grpSpPr>
          <p:sp>
            <p:nvSpPr>
              <p:cNvPr id="390" name="Freeform 525">
                <a:extLst>
                  <a:ext uri="{FF2B5EF4-FFF2-40B4-BE49-F238E27FC236}">
                    <a16:creationId xmlns:a16="http://schemas.microsoft.com/office/drawing/2014/main" id="{BAF8DCF0-2F8E-4F4F-BC6F-F36F82D400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13 w 240"/>
                  <a:gd name="T1" fmla="*/ 247 h 259"/>
                  <a:gd name="T2" fmla="*/ 79 w 240"/>
                  <a:gd name="T3" fmla="*/ 259 h 259"/>
                  <a:gd name="T4" fmla="*/ 120 w 240"/>
                  <a:gd name="T5" fmla="*/ 240 h 259"/>
                  <a:gd name="T6" fmla="*/ 133 w 240"/>
                  <a:gd name="T7" fmla="*/ 210 h 259"/>
                  <a:gd name="T8" fmla="*/ 192 w 240"/>
                  <a:gd name="T9" fmla="*/ 161 h 259"/>
                  <a:gd name="T10" fmla="*/ 212 w 240"/>
                  <a:gd name="T11" fmla="*/ 111 h 259"/>
                  <a:gd name="T12" fmla="*/ 240 w 240"/>
                  <a:gd name="T13" fmla="*/ 26 h 259"/>
                  <a:gd name="T14" fmla="*/ 212 w 240"/>
                  <a:gd name="T15" fmla="*/ 0 h 259"/>
                  <a:gd name="T16" fmla="*/ 206 w 240"/>
                  <a:gd name="T17" fmla="*/ 32 h 259"/>
                  <a:gd name="T18" fmla="*/ 199 w 240"/>
                  <a:gd name="T19" fmla="*/ 74 h 259"/>
                  <a:gd name="T20" fmla="*/ 166 w 240"/>
                  <a:gd name="T21" fmla="*/ 105 h 259"/>
                  <a:gd name="T22" fmla="*/ 133 w 240"/>
                  <a:gd name="T23" fmla="*/ 149 h 259"/>
                  <a:gd name="T24" fmla="*/ 113 w 240"/>
                  <a:gd name="T25" fmla="*/ 179 h 259"/>
                  <a:gd name="T26" fmla="*/ 93 w 240"/>
                  <a:gd name="T27" fmla="*/ 216 h 259"/>
                  <a:gd name="T28" fmla="*/ 20 w 240"/>
                  <a:gd name="T29" fmla="*/ 222 h 259"/>
                  <a:gd name="T30" fmla="*/ 0 w 240"/>
                  <a:gd name="T31" fmla="*/ 222 h 259"/>
                  <a:gd name="T32" fmla="*/ 13 w 240"/>
                  <a:gd name="T33" fmla="*/ 24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91" name="Freeform 526">
                <a:extLst>
                  <a:ext uri="{FF2B5EF4-FFF2-40B4-BE49-F238E27FC236}">
                    <a16:creationId xmlns:a16="http://schemas.microsoft.com/office/drawing/2014/main" id="{82468AC4-FBB0-4CDC-9983-98A8F2C175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33 w 259"/>
                  <a:gd name="T1" fmla="*/ 104 h 104"/>
                  <a:gd name="T2" fmla="*/ 26 w 259"/>
                  <a:gd name="T3" fmla="*/ 86 h 104"/>
                  <a:gd name="T4" fmla="*/ 52 w 259"/>
                  <a:gd name="T5" fmla="*/ 62 h 104"/>
                  <a:gd name="T6" fmla="*/ 72 w 259"/>
                  <a:gd name="T7" fmla="*/ 49 h 104"/>
                  <a:gd name="T8" fmla="*/ 126 w 259"/>
                  <a:gd name="T9" fmla="*/ 43 h 104"/>
                  <a:gd name="T10" fmla="*/ 172 w 259"/>
                  <a:gd name="T11" fmla="*/ 43 h 104"/>
                  <a:gd name="T12" fmla="*/ 246 w 259"/>
                  <a:gd name="T13" fmla="*/ 31 h 104"/>
                  <a:gd name="T14" fmla="*/ 259 w 259"/>
                  <a:gd name="T15" fmla="*/ 7 h 104"/>
                  <a:gd name="T16" fmla="*/ 246 w 259"/>
                  <a:gd name="T17" fmla="*/ 0 h 104"/>
                  <a:gd name="T18" fmla="*/ 205 w 259"/>
                  <a:gd name="T19" fmla="*/ 13 h 104"/>
                  <a:gd name="T20" fmla="*/ 152 w 259"/>
                  <a:gd name="T21" fmla="*/ 7 h 104"/>
                  <a:gd name="T22" fmla="*/ 106 w 259"/>
                  <a:gd name="T23" fmla="*/ 13 h 104"/>
                  <a:gd name="T24" fmla="*/ 52 w 259"/>
                  <a:gd name="T25" fmla="*/ 19 h 104"/>
                  <a:gd name="T26" fmla="*/ 26 w 259"/>
                  <a:gd name="T27" fmla="*/ 43 h 104"/>
                  <a:gd name="T28" fmla="*/ 0 w 259"/>
                  <a:gd name="T29" fmla="*/ 68 h 104"/>
                  <a:gd name="T30" fmla="*/ 0 w 259"/>
                  <a:gd name="T31" fmla="*/ 104 h 104"/>
                  <a:gd name="T32" fmla="*/ 33 w 259"/>
                  <a:gd name="T33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366" name="Freeform 527">
              <a:extLst>
                <a:ext uri="{FF2B5EF4-FFF2-40B4-BE49-F238E27FC236}">
                  <a16:creationId xmlns:a16="http://schemas.microsoft.com/office/drawing/2014/main" id="{DD286587-F969-48EB-B9AE-43C3D1422227}"/>
                </a:ext>
              </a:extLst>
            </p:cNvPr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6372226" y="2638426"/>
              <a:ext cx="530225" cy="511175"/>
            </a:xfrm>
            <a:custGeom>
              <a:avLst/>
              <a:gdLst>
                <a:gd name="T0" fmla="*/ 932 w 1227"/>
                <a:gd name="T1" fmla="*/ 466 h 979"/>
                <a:gd name="T2" fmla="*/ 932 w 1227"/>
                <a:gd name="T3" fmla="*/ 442 h 979"/>
                <a:gd name="T4" fmla="*/ 930 w 1227"/>
                <a:gd name="T5" fmla="*/ 412 h 979"/>
                <a:gd name="T6" fmla="*/ 908 w 1227"/>
                <a:gd name="T7" fmla="*/ 385 h 979"/>
                <a:gd name="T8" fmla="*/ 899 w 1227"/>
                <a:gd name="T9" fmla="*/ 367 h 979"/>
                <a:gd name="T10" fmla="*/ 817 w 1227"/>
                <a:gd name="T11" fmla="*/ 312 h 979"/>
                <a:gd name="T12" fmla="*/ 759 w 1227"/>
                <a:gd name="T13" fmla="*/ 263 h 979"/>
                <a:gd name="T14" fmla="*/ 752 w 1227"/>
                <a:gd name="T15" fmla="*/ 229 h 979"/>
                <a:gd name="T16" fmla="*/ 726 w 1227"/>
                <a:gd name="T17" fmla="*/ 218 h 979"/>
                <a:gd name="T18" fmla="*/ 695 w 1227"/>
                <a:gd name="T19" fmla="*/ 207 h 979"/>
                <a:gd name="T20" fmla="*/ 638 w 1227"/>
                <a:gd name="T21" fmla="*/ 196 h 979"/>
                <a:gd name="T22" fmla="*/ 596 w 1227"/>
                <a:gd name="T23" fmla="*/ 201 h 979"/>
                <a:gd name="T24" fmla="*/ 570 w 1227"/>
                <a:gd name="T25" fmla="*/ 204 h 979"/>
                <a:gd name="T26" fmla="*/ 530 w 1227"/>
                <a:gd name="T27" fmla="*/ 195 h 979"/>
                <a:gd name="T28" fmla="*/ 505 w 1227"/>
                <a:gd name="T29" fmla="*/ 179 h 979"/>
                <a:gd name="T30" fmla="*/ 483 w 1227"/>
                <a:gd name="T31" fmla="*/ 128 h 979"/>
                <a:gd name="T32" fmla="*/ 465 w 1227"/>
                <a:gd name="T33" fmla="*/ 103 h 979"/>
                <a:gd name="T34" fmla="*/ 432 w 1227"/>
                <a:gd name="T35" fmla="*/ 81 h 979"/>
                <a:gd name="T36" fmla="*/ 365 w 1227"/>
                <a:gd name="T37" fmla="*/ 61 h 979"/>
                <a:gd name="T38" fmla="*/ 303 w 1227"/>
                <a:gd name="T39" fmla="*/ 32 h 979"/>
                <a:gd name="T40" fmla="*/ 214 w 1227"/>
                <a:gd name="T41" fmla="*/ 10 h 979"/>
                <a:gd name="T42" fmla="*/ 166 w 1227"/>
                <a:gd name="T43" fmla="*/ 38 h 979"/>
                <a:gd name="T44" fmla="*/ 151 w 1227"/>
                <a:gd name="T45" fmla="*/ 61 h 979"/>
                <a:gd name="T46" fmla="*/ 153 w 1227"/>
                <a:gd name="T47" fmla="*/ 90 h 979"/>
                <a:gd name="T48" fmla="*/ 169 w 1227"/>
                <a:gd name="T49" fmla="*/ 118 h 979"/>
                <a:gd name="T50" fmla="*/ 151 w 1227"/>
                <a:gd name="T51" fmla="*/ 150 h 979"/>
                <a:gd name="T52" fmla="*/ 95 w 1227"/>
                <a:gd name="T53" fmla="*/ 186 h 979"/>
                <a:gd name="T54" fmla="*/ 54 w 1227"/>
                <a:gd name="T55" fmla="*/ 190 h 979"/>
                <a:gd name="T56" fmla="*/ 9 w 1227"/>
                <a:gd name="T57" fmla="*/ 183 h 979"/>
                <a:gd name="T58" fmla="*/ 0 w 1227"/>
                <a:gd name="T59" fmla="*/ 236 h 979"/>
                <a:gd name="T60" fmla="*/ 9 w 1227"/>
                <a:gd name="T61" fmla="*/ 269 h 979"/>
                <a:gd name="T62" fmla="*/ 25 w 1227"/>
                <a:gd name="T63" fmla="*/ 282 h 979"/>
                <a:gd name="T64" fmla="*/ 40 w 1227"/>
                <a:gd name="T65" fmla="*/ 307 h 979"/>
                <a:gd name="T66" fmla="*/ 83 w 1227"/>
                <a:gd name="T67" fmla="*/ 364 h 979"/>
                <a:gd name="T68" fmla="*/ 102 w 1227"/>
                <a:gd name="T69" fmla="*/ 414 h 979"/>
                <a:gd name="T70" fmla="*/ 121 w 1227"/>
                <a:gd name="T71" fmla="*/ 427 h 979"/>
                <a:gd name="T72" fmla="*/ 133 w 1227"/>
                <a:gd name="T73" fmla="*/ 438 h 979"/>
                <a:gd name="T74" fmla="*/ 148 w 1227"/>
                <a:gd name="T75" fmla="*/ 469 h 979"/>
                <a:gd name="T76" fmla="*/ 224 w 1227"/>
                <a:gd name="T77" fmla="*/ 546 h 979"/>
                <a:gd name="T78" fmla="*/ 249 w 1227"/>
                <a:gd name="T79" fmla="*/ 585 h 979"/>
                <a:gd name="T80" fmla="*/ 256 w 1227"/>
                <a:gd name="T81" fmla="*/ 624 h 979"/>
                <a:gd name="T82" fmla="*/ 266 w 1227"/>
                <a:gd name="T83" fmla="*/ 659 h 979"/>
                <a:gd name="T84" fmla="*/ 299 w 1227"/>
                <a:gd name="T85" fmla="*/ 701 h 979"/>
                <a:gd name="T86" fmla="*/ 361 w 1227"/>
                <a:gd name="T87" fmla="*/ 761 h 979"/>
                <a:gd name="T88" fmla="*/ 388 w 1227"/>
                <a:gd name="T89" fmla="*/ 814 h 979"/>
                <a:gd name="T90" fmla="*/ 425 w 1227"/>
                <a:gd name="T91" fmla="*/ 867 h 979"/>
                <a:gd name="T92" fmla="*/ 483 w 1227"/>
                <a:gd name="T93" fmla="*/ 938 h 979"/>
                <a:gd name="T94" fmla="*/ 528 w 1227"/>
                <a:gd name="T95" fmla="*/ 979 h 979"/>
                <a:gd name="T96" fmla="*/ 543 w 1227"/>
                <a:gd name="T97" fmla="*/ 953 h 979"/>
                <a:gd name="T98" fmla="*/ 546 w 1227"/>
                <a:gd name="T99" fmla="*/ 909 h 979"/>
                <a:gd name="T100" fmla="*/ 570 w 1227"/>
                <a:gd name="T101" fmla="*/ 896 h 979"/>
                <a:gd name="T102" fmla="*/ 605 w 1227"/>
                <a:gd name="T103" fmla="*/ 895 h 979"/>
                <a:gd name="T104" fmla="*/ 660 w 1227"/>
                <a:gd name="T105" fmla="*/ 909 h 979"/>
                <a:gd name="T106" fmla="*/ 708 w 1227"/>
                <a:gd name="T107" fmla="*/ 943 h 979"/>
                <a:gd name="T108" fmla="*/ 787 w 1227"/>
                <a:gd name="T109" fmla="*/ 838 h 979"/>
                <a:gd name="T110" fmla="*/ 1199 w 1227"/>
                <a:gd name="T111" fmla="*/ 567 h 979"/>
                <a:gd name="T112" fmla="*/ 940 w 1227"/>
                <a:gd name="T113" fmla="*/ 468 h 9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7" name="Freeform 528">
              <a:extLst>
                <a:ext uri="{FF2B5EF4-FFF2-40B4-BE49-F238E27FC236}">
                  <a16:creationId xmlns:a16="http://schemas.microsoft.com/office/drawing/2014/main" id="{8C1EC04A-DBE2-43FE-B1E9-A32BC0F07E23}"/>
                </a:ext>
              </a:extLst>
            </p:cNvPr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5846763" y="2182813"/>
              <a:ext cx="57150" cy="57150"/>
            </a:xfrm>
            <a:custGeom>
              <a:avLst/>
              <a:gdLst>
                <a:gd name="T0" fmla="*/ 146 w 146"/>
                <a:gd name="T1" fmla="*/ 18 h 81"/>
                <a:gd name="T2" fmla="*/ 138 w 146"/>
                <a:gd name="T3" fmla="*/ 24 h 81"/>
                <a:gd name="T4" fmla="*/ 130 w 146"/>
                <a:gd name="T5" fmla="*/ 29 h 81"/>
                <a:gd name="T6" fmla="*/ 123 w 146"/>
                <a:gd name="T7" fmla="*/ 35 h 81"/>
                <a:gd name="T8" fmla="*/ 118 w 146"/>
                <a:gd name="T9" fmla="*/ 41 h 81"/>
                <a:gd name="T10" fmla="*/ 108 w 146"/>
                <a:gd name="T11" fmla="*/ 53 h 81"/>
                <a:gd name="T12" fmla="*/ 98 w 146"/>
                <a:gd name="T13" fmla="*/ 64 h 81"/>
                <a:gd name="T14" fmla="*/ 93 w 146"/>
                <a:gd name="T15" fmla="*/ 69 h 81"/>
                <a:gd name="T16" fmla="*/ 85 w 146"/>
                <a:gd name="T17" fmla="*/ 73 h 81"/>
                <a:gd name="T18" fmla="*/ 76 w 146"/>
                <a:gd name="T19" fmla="*/ 77 h 81"/>
                <a:gd name="T20" fmla="*/ 66 w 146"/>
                <a:gd name="T21" fmla="*/ 80 h 81"/>
                <a:gd name="T22" fmla="*/ 53 w 146"/>
                <a:gd name="T23" fmla="*/ 81 h 81"/>
                <a:gd name="T24" fmla="*/ 39 w 146"/>
                <a:gd name="T25" fmla="*/ 80 h 81"/>
                <a:gd name="T26" fmla="*/ 21 w 146"/>
                <a:gd name="T27" fmla="*/ 77 h 81"/>
                <a:gd name="T28" fmla="*/ 0 w 146"/>
                <a:gd name="T29" fmla="*/ 74 h 81"/>
                <a:gd name="T30" fmla="*/ 0 w 146"/>
                <a:gd name="T31" fmla="*/ 62 h 81"/>
                <a:gd name="T32" fmla="*/ 0 w 146"/>
                <a:gd name="T33" fmla="*/ 49 h 81"/>
                <a:gd name="T34" fmla="*/ 0 w 146"/>
                <a:gd name="T35" fmla="*/ 34 h 81"/>
                <a:gd name="T36" fmla="*/ 0 w 146"/>
                <a:gd name="T37" fmla="*/ 18 h 81"/>
                <a:gd name="T38" fmla="*/ 14 w 146"/>
                <a:gd name="T39" fmla="*/ 18 h 81"/>
                <a:gd name="T40" fmla="*/ 22 w 146"/>
                <a:gd name="T41" fmla="*/ 18 h 81"/>
                <a:gd name="T42" fmla="*/ 31 w 146"/>
                <a:gd name="T43" fmla="*/ 18 h 81"/>
                <a:gd name="T44" fmla="*/ 40 w 146"/>
                <a:gd name="T45" fmla="*/ 18 h 81"/>
                <a:gd name="T46" fmla="*/ 52 w 146"/>
                <a:gd name="T47" fmla="*/ 18 h 81"/>
                <a:gd name="T48" fmla="*/ 63 w 146"/>
                <a:gd name="T49" fmla="*/ 16 h 81"/>
                <a:gd name="T50" fmla="*/ 73 w 146"/>
                <a:gd name="T51" fmla="*/ 14 h 81"/>
                <a:gd name="T52" fmla="*/ 83 w 146"/>
                <a:gd name="T53" fmla="*/ 11 h 81"/>
                <a:gd name="T54" fmla="*/ 101 w 146"/>
                <a:gd name="T55" fmla="*/ 5 h 81"/>
                <a:gd name="T56" fmla="*/ 120 w 146"/>
                <a:gd name="T57" fmla="*/ 0 h 81"/>
                <a:gd name="T58" fmla="*/ 129 w 146"/>
                <a:gd name="T59" fmla="*/ 4 h 81"/>
                <a:gd name="T60" fmla="*/ 135 w 146"/>
                <a:gd name="T61" fmla="*/ 9 h 81"/>
                <a:gd name="T62" fmla="*/ 141 w 146"/>
                <a:gd name="T63" fmla="*/ 14 h 81"/>
                <a:gd name="T64" fmla="*/ 146 w 146"/>
                <a:gd name="T65" fmla="*/ 18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8" name="Freeform 529">
              <a:extLst>
                <a:ext uri="{FF2B5EF4-FFF2-40B4-BE49-F238E27FC236}">
                  <a16:creationId xmlns:a16="http://schemas.microsoft.com/office/drawing/2014/main" id="{8A17C0B8-6FAD-4A80-BAD9-CF5F2760A460}"/>
                </a:ext>
              </a:extLst>
            </p:cNvPr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5586414" y="2395538"/>
              <a:ext cx="15875" cy="57150"/>
            </a:xfrm>
            <a:custGeom>
              <a:avLst/>
              <a:gdLst>
                <a:gd name="T0" fmla="*/ 34 w 34"/>
                <a:gd name="T1" fmla="*/ 49 h 49"/>
                <a:gd name="T2" fmla="*/ 34 w 34"/>
                <a:gd name="T3" fmla="*/ 34 h 49"/>
                <a:gd name="T4" fmla="*/ 34 w 34"/>
                <a:gd name="T5" fmla="*/ 25 h 49"/>
                <a:gd name="T6" fmla="*/ 33 w 34"/>
                <a:gd name="T7" fmla="*/ 21 h 49"/>
                <a:gd name="T8" fmla="*/ 33 w 34"/>
                <a:gd name="T9" fmla="*/ 17 h 49"/>
                <a:gd name="T10" fmla="*/ 31 w 34"/>
                <a:gd name="T11" fmla="*/ 15 h 49"/>
                <a:gd name="T12" fmla="*/ 30 w 34"/>
                <a:gd name="T13" fmla="*/ 12 h 49"/>
                <a:gd name="T14" fmla="*/ 25 w 34"/>
                <a:gd name="T15" fmla="*/ 8 h 49"/>
                <a:gd name="T16" fmla="*/ 21 w 34"/>
                <a:gd name="T17" fmla="*/ 0 h 49"/>
                <a:gd name="T18" fmla="*/ 8 w 34"/>
                <a:gd name="T19" fmla="*/ 0 h 49"/>
                <a:gd name="T20" fmla="*/ 0 w 34"/>
                <a:gd name="T21" fmla="*/ 0 h 49"/>
                <a:gd name="T22" fmla="*/ 3 w 34"/>
                <a:gd name="T23" fmla="*/ 11 h 49"/>
                <a:gd name="T24" fmla="*/ 7 w 34"/>
                <a:gd name="T25" fmla="*/ 20 h 49"/>
                <a:gd name="T26" fmla="*/ 10 w 34"/>
                <a:gd name="T27" fmla="*/ 27 h 49"/>
                <a:gd name="T28" fmla="*/ 14 w 34"/>
                <a:gd name="T29" fmla="*/ 34 h 49"/>
                <a:gd name="T30" fmla="*/ 19 w 34"/>
                <a:gd name="T31" fmla="*/ 39 h 49"/>
                <a:gd name="T32" fmla="*/ 24 w 34"/>
                <a:gd name="T33" fmla="*/ 43 h 49"/>
                <a:gd name="T34" fmla="*/ 29 w 34"/>
                <a:gd name="T35" fmla="*/ 46 h 49"/>
                <a:gd name="T36" fmla="*/ 34 w 34"/>
                <a:gd name="T3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69" name="Freeform 530">
              <a:extLst>
                <a:ext uri="{FF2B5EF4-FFF2-40B4-BE49-F238E27FC236}">
                  <a16:creationId xmlns:a16="http://schemas.microsoft.com/office/drawing/2014/main" id="{3B345ABC-3493-4807-AAC3-6F40D2E987AE}"/>
                </a:ext>
              </a:extLst>
            </p:cNvPr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5178426" y="2741613"/>
              <a:ext cx="28575" cy="57150"/>
            </a:xfrm>
            <a:custGeom>
              <a:avLst/>
              <a:gdLst>
                <a:gd name="T0" fmla="*/ 60 w 60"/>
                <a:gd name="T1" fmla="*/ 0 h 74"/>
                <a:gd name="T2" fmla="*/ 56 w 60"/>
                <a:gd name="T3" fmla="*/ 4 h 74"/>
                <a:gd name="T4" fmla="*/ 51 w 60"/>
                <a:gd name="T5" fmla="*/ 10 h 74"/>
                <a:gd name="T6" fmla="*/ 48 w 60"/>
                <a:gd name="T7" fmla="*/ 15 h 74"/>
                <a:gd name="T8" fmla="*/ 46 w 60"/>
                <a:gd name="T9" fmla="*/ 21 h 74"/>
                <a:gd name="T10" fmla="*/ 41 w 60"/>
                <a:gd name="T11" fmla="*/ 31 h 74"/>
                <a:gd name="T12" fmla="*/ 37 w 60"/>
                <a:gd name="T13" fmla="*/ 42 h 74"/>
                <a:gd name="T14" fmla="*/ 35 w 60"/>
                <a:gd name="T15" fmla="*/ 47 h 74"/>
                <a:gd name="T16" fmla="*/ 32 w 60"/>
                <a:gd name="T17" fmla="*/ 51 h 74"/>
                <a:gd name="T18" fmla="*/ 29 w 60"/>
                <a:gd name="T19" fmla="*/ 56 h 74"/>
                <a:gd name="T20" fmla="*/ 25 w 60"/>
                <a:gd name="T21" fmla="*/ 60 h 74"/>
                <a:gd name="T22" fmla="*/ 20 w 60"/>
                <a:gd name="T23" fmla="*/ 65 h 74"/>
                <a:gd name="T24" fmla="*/ 15 w 60"/>
                <a:gd name="T25" fmla="*/ 69 h 74"/>
                <a:gd name="T26" fmla="*/ 8 w 60"/>
                <a:gd name="T27" fmla="*/ 72 h 74"/>
                <a:gd name="T28" fmla="*/ 0 w 60"/>
                <a:gd name="T29" fmla="*/ 74 h 74"/>
                <a:gd name="T30" fmla="*/ 5 w 60"/>
                <a:gd name="T31" fmla="*/ 60 h 74"/>
                <a:gd name="T32" fmla="*/ 12 w 60"/>
                <a:gd name="T33" fmla="*/ 47 h 74"/>
                <a:gd name="T34" fmla="*/ 19 w 60"/>
                <a:gd name="T35" fmla="*/ 34 h 74"/>
                <a:gd name="T36" fmla="*/ 27 w 60"/>
                <a:gd name="T37" fmla="*/ 23 h 74"/>
                <a:gd name="T38" fmla="*/ 36 w 60"/>
                <a:gd name="T39" fmla="*/ 14 h 74"/>
                <a:gd name="T40" fmla="*/ 43 w 60"/>
                <a:gd name="T41" fmla="*/ 6 h 74"/>
                <a:gd name="T42" fmla="*/ 48 w 60"/>
                <a:gd name="T43" fmla="*/ 3 h 74"/>
                <a:gd name="T44" fmla="*/ 52 w 60"/>
                <a:gd name="T45" fmla="*/ 1 h 74"/>
                <a:gd name="T46" fmla="*/ 56 w 60"/>
                <a:gd name="T47" fmla="*/ 0 h 74"/>
                <a:gd name="T48" fmla="*/ 60 w 60"/>
                <a:gd name="T4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70" name="Freeform 531">
              <a:extLst>
                <a:ext uri="{FF2B5EF4-FFF2-40B4-BE49-F238E27FC236}">
                  <a16:creationId xmlns:a16="http://schemas.microsoft.com/office/drawing/2014/main" id="{6260A481-3EA0-42A0-BCBD-9E7D14345625}"/>
                </a:ext>
              </a:extLst>
            </p:cNvPr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5119688" y="2757489"/>
              <a:ext cx="23812" cy="60325"/>
            </a:xfrm>
            <a:custGeom>
              <a:avLst/>
              <a:gdLst>
                <a:gd name="T0" fmla="*/ 13 w 47"/>
                <a:gd name="T1" fmla="*/ 8 h 45"/>
                <a:gd name="T2" fmla="*/ 22 w 47"/>
                <a:gd name="T3" fmla="*/ 8 h 45"/>
                <a:gd name="T4" fmla="*/ 28 w 47"/>
                <a:gd name="T5" fmla="*/ 6 h 45"/>
                <a:gd name="T6" fmla="*/ 32 w 47"/>
                <a:gd name="T7" fmla="*/ 5 h 45"/>
                <a:gd name="T8" fmla="*/ 35 w 47"/>
                <a:gd name="T9" fmla="*/ 3 h 45"/>
                <a:gd name="T10" fmla="*/ 37 w 47"/>
                <a:gd name="T11" fmla="*/ 1 h 45"/>
                <a:gd name="T12" fmla="*/ 39 w 47"/>
                <a:gd name="T13" fmla="*/ 0 h 45"/>
                <a:gd name="T14" fmla="*/ 43 w 47"/>
                <a:gd name="T15" fmla="*/ 1 h 45"/>
                <a:gd name="T16" fmla="*/ 47 w 47"/>
                <a:gd name="T17" fmla="*/ 2 h 45"/>
                <a:gd name="T18" fmla="*/ 46 w 47"/>
                <a:gd name="T19" fmla="*/ 7 h 45"/>
                <a:gd name="T20" fmla="*/ 46 w 47"/>
                <a:gd name="T21" fmla="*/ 11 h 45"/>
                <a:gd name="T22" fmla="*/ 44 w 47"/>
                <a:gd name="T23" fmla="*/ 15 h 45"/>
                <a:gd name="T24" fmla="*/ 43 w 47"/>
                <a:gd name="T25" fmla="*/ 19 h 45"/>
                <a:gd name="T26" fmla="*/ 37 w 47"/>
                <a:gd name="T27" fmla="*/ 26 h 45"/>
                <a:gd name="T28" fmla="*/ 30 w 47"/>
                <a:gd name="T29" fmla="*/ 32 h 45"/>
                <a:gd name="T30" fmla="*/ 24 w 47"/>
                <a:gd name="T31" fmla="*/ 38 h 45"/>
                <a:gd name="T32" fmla="*/ 16 w 47"/>
                <a:gd name="T33" fmla="*/ 42 h 45"/>
                <a:gd name="T34" fmla="*/ 7 w 47"/>
                <a:gd name="T35" fmla="*/ 45 h 45"/>
                <a:gd name="T36" fmla="*/ 0 w 47"/>
                <a:gd name="T37" fmla="*/ 45 h 45"/>
                <a:gd name="T38" fmla="*/ 2 w 47"/>
                <a:gd name="T39" fmla="*/ 38 h 45"/>
                <a:gd name="T40" fmla="*/ 6 w 47"/>
                <a:gd name="T41" fmla="*/ 26 h 45"/>
                <a:gd name="T42" fmla="*/ 11 w 47"/>
                <a:gd name="T43" fmla="*/ 15 h 45"/>
                <a:gd name="T44" fmla="*/ 13 w 47"/>
                <a:gd name="T45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71" name="Freeform 532">
              <a:extLst>
                <a:ext uri="{FF2B5EF4-FFF2-40B4-BE49-F238E27FC236}">
                  <a16:creationId xmlns:a16="http://schemas.microsoft.com/office/drawing/2014/main" id="{B600B0C6-63B6-451D-887E-4DF6D6A62F7B}"/>
                </a:ext>
              </a:extLst>
            </p:cNvPr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5094288" y="2751138"/>
              <a:ext cx="6350" cy="57150"/>
            </a:xfrm>
            <a:custGeom>
              <a:avLst/>
              <a:gdLst>
                <a:gd name="T0" fmla="*/ 6 w 26"/>
                <a:gd name="T1" fmla="*/ 36 h 36"/>
                <a:gd name="T2" fmla="*/ 5 w 26"/>
                <a:gd name="T3" fmla="*/ 30 h 36"/>
                <a:gd name="T4" fmla="*/ 3 w 26"/>
                <a:gd name="T5" fmla="*/ 20 h 36"/>
                <a:gd name="T6" fmla="*/ 1 w 26"/>
                <a:gd name="T7" fmla="*/ 10 h 36"/>
                <a:gd name="T8" fmla="*/ 0 w 26"/>
                <a:gd name="T9" fmla="*/ 0 h 36"/>
                <a:gd name="T10" fmla="*/ 26 w 26"/>
                <a:gd name="T11" fmla="*/ 0 h 36"/>
                <a:gd name="T12" fmla="*/ 25 w 26"/>
                <a:gd name="T13" fmla="*/ 12 h 36"/>
                <a:gd name="T14" fmla="*/ 24 w 26"/>
                <a:gd name="T15" fmla="*/ 23 h 36"/>
                <a:gd name="T16" fmla="*/ 23 w 26"/>
                <a:gd name="T17" fmla="*/ 27 h 36"/>
                <a:gd name="T18" fmla="*/ 23 w 26"/>
                <a:gd name="T19" fmla="*/ 31 h 36"/>
                <a:gd name="T20" fmla="*/ 24 w 26"/>
                <a:gd name="T21" fmla="*/ 34 h 36"/>
                <a:gd name="T22" fmla="*/ 26 w 26"/>
                <a:gd name="T23" fmla="*/ 36 h 36"/>
                <a:gd name="T24" fmla="*/ 6 w 26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72" name="Freeform 533">
              <a:extLst>
                <a:ext uri="{FF2B5EF4-FFF2-40B4-BE49-F238E27FC236}">
                  <a16:creationId xmlns:a16="http://schemas.microsoft.com/office/drawing/2014/main" id="{7E9B3D4F-BBDB-450B-ADCB-6E0B81B73CB2}"/>
                </a:ext>
              </a:extLst>
            </p:cNvPr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6365876" y="2479675"/>
              <a:ext cx="174625" cy="158750"/>
            </a:xfrm>
            <a:custGeom>
              <a:avLst/>
              <a:gdLst>
                <a:gd name="T0" fmla="*/ 26 w 405"/>
                <a:gd name="T1" fmla="*/ 162 h 302"/>
                <a:gd name="T2" fmla="*/ 28 w 405"/>
                <a:gd name="T3" fmla="*/ 156 h 302"/>
                <a:gd name="T4" fmla="*/ 30 w 405"/>
                <a:gd name="T5" fmla="*/ 154 h 302"/>
                <a:gd name="T6" fmla="*/ 28 w 405"/>
                <a:gd name="T7" fmla="*/ 151 h 302"/>
                <a:gd name="T8" fmla="*/ 18 w 405"/>
                <a:gd name="T9" fmla="*/ 143 h 302"/>
                <a:gd name="T10" fmla="*/ 6 w 405"/>
                <a:gd name="T11" fmla="*/ 127 h 302"/>
                <a:gd name="T12" fmla="*/ 2 w 405"/>
                <a:gd name="T13" fmla="*/ 116 h 302"/>
                <a:gd name="T14" fmla="*/ 5 w 405"/>
                <a:gd name="T15" fmla="*/ 112 h 302"/>
                <a:gd name="T16" fmla="*/ 6 w 405"/>
                <a:gd name="T17" fmla="*/ 104 h 302"/>
                <a:gd name="T18" fmla="*/ 17 w 405"/>
                <a:gd name="T19" fmla="*/ 97 h 302"/>
                <a:gd name="T20" fmla="*/ 34 w 405"/>
                <a:gd name="T21" fmla="*/ 93 h 302"/>
                <a:gd name="T22" fmla="*/ 47 w 405"/>
                <a:gd name="T23" fmla="*/ 88 h 302"/>
                <a:gd name="T24" fmla="*/ 57 w 405"/>
                <a:gd name="T25" fmla="*/ 82 h 302"/>
                <a:gd name="T26" fmla="*/ 67 w 405"/>
                <a:gd name="T27" fmla="*/ 70 h 302"/>
                <a:gd name="T28" fmla="*/ 75 w 405"/>
                <a:gd name="T29" fmla="*/ 52 h 302"/>
                <a:gd name="T30" fmla="*/ 84 w 405"/>
                <a:gd name="T31" fmla="*/ 47 h 302"/>
                <a:gd name="T32" fmla="*/ 95 w 405"/>
                <a:gd name="T33" fmla="*/ 52 h 302"/>
                <a:gd name="T34" fmla="*/ 117 w 405"/>
                <a:gd name="T35" fmla="*/ 54 h 302"/>
                <a:gd name="T36" fmla="*/ 169 w 405"/>
                <a:gd name="T37" fmla="*/ 46 h 302"/>
                <a:gd name="T38" fmla="*/ 212 w 405"/>
                <a:gd name="T39" fmla="*/ 43 h 302"/>
                <a:gd name="T40" fmla="*/ 234 w 405"/>
                <a:gd name="T41" fmla="*/ 41 h 302"/>
                <a:gd name="T42" fmla="*/ 264 w 405"/>
                <a:gd name="T43" fmla="*/ 35 h 302"/>
                <a:gd name="T44" fmla="*/ 318 w 405"/>
                <a:gd name="T45" fmla="*/ 17 h 302"/>
                <a:gd name="T46" fmla="*/ 359 w 405"/>
                <a:gd name="T47" fmla="*/ 4 h 302"/>
                <a:gd name="T48" fmla="*/ 372 w 405"/>
                <a:gd name="T49" fmla="*/ 3 h 302"/>
                <a:gd name="T50" fmla="*/ 385 w 405"/>
                <a:gd name="T51" fmla="*/ 3 h 302"/>
                <a:gd name="T52" fmla="*/ 398 w 405"/>
                <a:gd name="T53" fmla="*/ 1 h 302"/>
                <a:gd name="T54" fmla="*/ 395 w 405"/>
                <a:gd name="T55" fmla="*/ 8 h 302"/>
                <a:gd name="T56" fmla="*/ 360 w 405"/>
                <a:gd name="T57" fmla="*/ 41 h 302"/>
                <a:gd name="T58" fmla="*/ 344 w 405"/>
                <a:gd name="T59" fmla="*/ 57 h 302"/>
                <a:gd name="T60" fmla="*/ 339 w 405"/>
                <a:gd name="T61" fmla="*/ 64 h 302"/>
                <a:gd name="T62" fmla="*/ 339 w 405"/>
                <a:gd name="T63" fmla="*/ 96 h 302"/>
                <a:gd name="T64" fmla="*/ 337 w 405"/>
                <a:gd name="T65" fmla="*/ 149 h 302"/>
                <a:gd name="T66" fmla="*/ 335 w 405"/>
                <a:gd name="T67" fmla="*/ 180 h 302"/>
                <a:gd name="T68" fmla="*/ 326 w 405"/>
                <a:gd name="T69" fmla="*/ 198 h 302"/>
                <a:gd name="T70" fmla="*/ 305 w 405"/>
                <a:gd name="T71" fmla="*/ 210 h 302"/>
                <a:gd name="T72" fmla="*/ 265 w 405"/>
                <a:gd name="T73" fmla="*/ 227 h 302"/>
                <a:gd name="T74" fmla="*/ 106 w 405"/>
                <a:gd name="T75" fmla="*/ 302 h 302"/>
                <a:gd name="T76" fmla="*/ 57 w 405"/>
                <a:gd name="T77" fmla="*/ 260 h 302"/>
                <a:gd name="T78" fmla="*/ 70 w 405"/>
                <a:gd name="T79" fmla="*/ 228 h 302"/>
                <a:gd name="T80" fmla="*/ 81 w 405"/>
                <a:gd name="T81" fmla="*/ 209 h 302"/>
                <a:gd name="T82" fmla="*/ 86 w 405"/>
                <a:gd name="T83" fmla="*/ 172 h 302"/>
                <a:gd name="T84" fmla="*/ 71 w 405"/>
                <a:gd name="T85" fmla="*/ 173 h 302"/>
                <a:gd name="T86" fmla="*/ 57 w 405"/>
                <a:gd name="T87" fmla="*/ 169 h 302"/>
                <a:gd name="T88" fmla="*/ 41 w 405"/>
                <a:gd name="T89" fmla="*/ 165 h 302"/>
                <a:gd name="T90" fmla="*/ 26 w 405"/>
                <a:gd name="T91" fmla="*/ 166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3" name="Freeform 534">
              <a:extLst>
                <a:ext uri="{FF2B5EF4-FFF2-40B4-BE49-F238E27FC236}">
                  <a16:creationId xmlns:a16="http://schemas.microsoft.com/office/drawing/2014/main" id="{16289E0D-0784-472B-A1AD-027510F3DB4E}"/>
                </a:ext>
              </a:extLst>
            </p:cNvPr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8459788" y="2860676"/>
              <a:ext cx="42862" cy="79375"/>
            </a:xfrm>
            <a:custGeom>
              <a:avLst/>
              <a:gdLst>
                <a:gd name="T0" fmla="*/ 100 w 100"/>
                <a:gd name="T1" fmla="*/ 1 h 155"/>
                <a:gd name="T2" fmla="*/ 100 w 100"/>
                <a:gd name="T3" fmla="*/ 30 h 155"/>
                <a:gd name="T4" fmla="*/ 100 w 100"/>
                <a:gd name="T5" fmla="*/ 55 h 155"/>
                <a:gd name="T6" fmla="*/ 100 w 100"/>
                <a:gd name="T7" fmla="*/ 78 h 155"/>
                <a:gd name="T8" fmla="*/ 100 w 100"/>
                <a:gd name="T9" fmla="*/ 99 h 155"/>
                <a:gd name="T10" fmla="*/ 98 w 100"/>
                <a:gd name="T11" fmla="*/ 109 h 155"/>
                <a:gd name="T12" fmla="*/ 94 w 100"/>
                <a:gd name="T13" fmla="*/ 118 h 155"/>
                <a:gd name="T14" fmla="*/ 89 w 100"/>
                <a:gd name="T15" fmla="*/ 128 h 155"/>
                <a:gd name="T16" fmla="*/ 82 w 100"/>
                <a:gd name="T17" fmla="*/ 137 h 155"/>
                <a:gd name="T18" fmla="*/ 73 w 100"/>
                <a:gd name="T19" fmla="*/ 144 h 155"/>
                <a:gd name="T20" fmla="*/ 62 w 100"/>
                <a:gd name="T21" fmla="*/ 150 h 155"/>
                <a:gd name="T22" fmla="*/ 57 w 100"/>
                <a:gd name="T23" fmla="*/ 152 h 155"/>
                <a:gd name="T24" fmla="*/ 51 w 100"/>
                <a:gd name="T25" fmla="*/ 154 h 155"/>
                <a:gd name="T26" fmla="*/ 46 w 100"/>
                <a:gd name="T27" fmla="*/ 155 h 155"/>
                <a:gd name="T28" fmla="*/ 39 w 100"/>
                <a:gd name="T29" fmla="*/ 155 h 155"/>
                <a:gd name="T30" fmla="*/ 35 w 100"/>
                <a:gd name="T31" fmla="*/ 154 h 155"/>
                <a:gd name="T32" fmla="*/ 30 w 100"/>
                <a:gd name="T33" fmla="*/ 153 h 155"/>
                <a:gd name="T34" fmla="*/ 26 w 100"/>
                <a:gd name="T35" fmla="*/ 151 h 155"/>
                <a:gd name="T36" fmla="*/ 22 w 100"/>
                <a:gd name="T37" fmla="*/ 149 h 155"/>
                <a:gd name="T38" fmla="*/ 15 w 100"/>
                <a:gd name="T39" fmla="*/ 142 h 155"/>
                <a:gd name="T40" fmla="*/ 9 w 100"/>
                <a:gd name="T41" fmla="*/ 134 h 155"/>
                <a:gd name="T42" fmla="*/ 5 w 100"/>
                <a:gd name="T43" fmla="*/ 124 h 155"/>
                <a:gd name="T44" fmla="*/ 2 w 100"/>
                <a:gd name="T45" fmla="*/ 113 h 155"/>
                <a:gd name="T46" fmla="*/ 0 w 100"/>
                <a:gd name="T47" fmla="*/ 103 h 155"/>
                <a:gd name="T48" fmla="*/ 0 w 100"/>
                <a:gd name="T49" fmla="*/ 93 h 155"/>
                <a:gd name="T50" fmla="*/ 0 w 100"/>
                <a:gd name="T51" fmla="*/ 77 h 155"/>
                <a:gd name="T52" fmla="*/ 0 w 100"/>
                <a:gd name="T53" fmla="*/ 65 h 155"/>
                <a:gd name="T54" fmla="*/ 0 w 100"/>
                <a:gd name="T55" fmla="*/ 56 h 155"/>
                <a:gd name="T56" fmla="*/ 0 w 100"/>
                <a:gd name="T57" fmla="*/ 50 h 155"/>
                <a:gd name="T58" fmla="*/ 15 w 100"/>
                <a:gd name="T59" fmla="*/ 50 h 155"/>
                <a:gd name="T60" fmla="*/ 26 w 100"/>
                <a:gd name="T61" fmla="*/ 50 h 155"/>
                <a:gd name="T62" fmla="*/ 26 w 100"/>
                <a:gd name="T63" fmla="*/ 40 h 155"/>
                <a:gd name="T64" fmla="*/ 27 w 100"/>
                <a:gd name="T65" fmla="*/ 31 h 155"/>
                <a:gd name="T66" fmla="*/ 29 w 100"/>
                <a:gd name="T67" fmla="*/ 23 h 155"/>
                <a:gd name="T68" fmla="*/ 31 w 100"/>
                <a:gd name="T69" fmla="*/ 17 h 155"/>
                <a:gd name="T70" fmla="*/ 35 w 100"/>
                <a:gd name="T71" fmla="*/ 12 h 155"/>
                <a:gd name="T72" fmla="*/ 39 w 100"/>
                <a:gd name="T73" fmla="*/ 7 h 155"/>
                <a:gd name="T74" fmla="*/ 42 w 100"/>
                <a:gd name="T75" fmla="*/ 4 h 155"/>
                <a:gd name="T76" fmla="*/ 48 w 100"/>
                <a:gd name="T77" fmla="*/ 2 h 155"/>
                <a:gd name="T78" fmla="*/ 59 w 100"/>
                <a:gd name="T79" fmla="*/ 0 h 155"/>
                <a:gd name="T80" fmla="*/ 71 w 100"/>
                <a:gd name="T81" fmla="*/ 0 h 155"/>
                <a:gd name="T82" fmla="*/ 84 w 100"/>
                <a:gd name="T83" fmla="*/ 0 h 155"/>
                <a:gd name="T84" fmla="*/ 100 w 100"/>
                <a:gd name="T85" fmla="*/ 1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grpSp>
          <p:nvGrpSpPr>
            <p:cNvPr id="374" name="Group 535">
              <a:extLst>
                <a:ext uri="{FF2B5EF4-FFF2-40B4-BE49-F238E27FC236}">
                  <a16:creationId xmlns:a16="http://schemas.microsoft.com/office/drawing/2014/main" id="{C142210B-264B-41F1-9E81-124EEAA57558}"/>
                </a:ext>
              </a:extLst>
            </p:cNvPr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6107113" y="2328863"/>
              <a:ext cx="482600" cy="201612"/>
              <a:chOff x="3289" y="1830"/>
              <a:chExt cx="363" cy="128"/>
            </a:xfrm>
          </p:grpSpPr>
          <p:sp>
            <p:nvSpPr>
              <p:cNvPr id="385" name="Freeform 536">
                <a:extLst>
                  <a:ext uri="{FF2B5EF4-FFF2-40B4-BE49-F238E27FC236}">
                    <a16:creationId xmlns:a16="http://schemas.microsoft.com/office/drawing/2014/main" id="{20FC40E1-2944-4AE0-BE5E-0558EE81CA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13 w 13"/>
                  <a:gd name="T1" fmla="*/ 0 h 7"/>
                  <a:gd name="T2" fmla="*/ 12 w 13"/>
                  <a:gd name="T3" fmla="*/ 1 h 7"/>
                  <a:gd name="T4" fmla="*/ 9 w 13"/>
                  <a:gd name="T5" fmla="*/ 3 h 7"/>
                  <a:gd name="T6" fmla="*/ 4 w 13"/>
                  <a:gd name="T7" fmla="*/ 5 h 7"/>
                  <a:gd name="T8" fmla="*/ 0 w 13"/>
                  <a:gd name="T9" fmla="*/ 7 h 7"/>
                  <a:gd name="T10" fmla="*/ 7 w 13"/>
                  <a:gd name="T11" fmla="*/ 3 h 7"/>
                  <a:gd name="T12" fmla="*/ 13 w 13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86" name="Freeform 537">
                <a:extLst>
                  <a:ext uri="{FF2B5EF4-FFF2-40B4-BE49-F238E27FC236}">
                    <a16:creationId xmlns:a16="http://schemas.microsoft.com/office/drawing/2014/main" id="{B27CC958-F08E-4137-97BB-B952C424D9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6 h 8"/>
                  <a:gd name="T2" fmla="*/ 7 w 34"/>
                  <a:gd name="T3" fmla="*/ 5 h 8"/>
                  <a:gd name="T4" fmla="*/ 15 w 34"/>
                  <a:gd name="T5" fmla="*/ 3 h 8"/>
                  <a:gd name="T6" fmla="*/ 25 w 34"/>
                  <a:gd name="T7" fmla="*/ 1 h 8"/>
                  <a:gd name="T8" fmla="*/ 34 w 34"/>
                  <a:gd name="T9" fmla="*/ 0 h 8"/>
                  <a:gd name="T10" fmla="*/ 31 w 34"/>
                  <a:gd name="T11" fmla="*/ 2 h 8"/>
                  <a:gd name="T12" fmla="*/ 27 w 34"/>
                  <a:gd name="T13" fmla="*/ 4 h 8"/>
                  <a:gd name="T14" fmla="*/ 22 w 34"/>
                  <a:gd name="T15" fmla="*/ 6 h 8"/>
                  <a:gd name="T16" fmla="*/ 18 w 34"/>
                  <a:gd name="T17" fmla="*/ 7 h 8"/>
                  <a:gd name="T18" fmla="*/ 12 w 34"/>
                  <a:gd name="T19" fmla="*/ 8 h 8"/>
                  <a:gd name="T20" fmla="*/ 8 w 34"/>
                  <a:gd name="T21" fmla="*/ 8 h 8"/>
                  <a:gd name="T22" fmla="*/ 4 w 34"/>
                  <a:gd name="T23" fmla="*/ 8 h 8"/>
                  <a:gd name="T24" fmla="*/ 0 w 34"/>
                  <a:gd name="T25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87" name="Freeform 538">
                <a:extLst>
                  <a:ext uri="{FF2B5EF4-FFF2-40B4-BE49-F238E27FC236}">
                    <a16:creationId xmlns:a16="http://schemas.microsoft.com/office/drawing/2014/main" id="{FDD09779-9D8E-49DA-A215-63396854C1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24 h 24"/>
                  <a:gd name="T2" fmla="*/ 0 w 13"/>
                  <a:gd name="T3" fmla="*/ 0 h 24"/>
                  <a:gd name="T4" fmla="*/ 13 w 13"/>
                  <a:gd name="T5" fmla="*/ 12 h 24"/>
                  <a:gd name="T6" fmla="*/ 0 w 13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88" name="Freeform 539">
                <a:extLst>
                  <a:ext uri="{FF2B5EF4-FFF2-40B4-BE49-F238E27FC236}">
                    <a16:creationId xmlns:a16="http://schemas.microsoft.com/office/drawing/2014/main" id="{B3B1919C-4D75-4FEE-A57A-D3709AFB1A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13 h 69"/>
                  <a:gd name="T2" fmla="*/ 0 w 107"/>
                  <a:gd name="T3" fmla="*/ 27 h 69"/>
                  <a:gd name="T4" fmla="*/ 0 w 107"/>
                  <a:gd name="T5" fmla="*/ 45 h 69"/>
                  <a:gd name="T6" fmla="*/ 0 w 107"/>
                  <a:gd name="T7" fmla="*/ 62 h 69"/>
                  <a:gd name="T8" fmla="*/ 0 w 107"/>
                  <a:gd name="T9" fmla="*/ 69 h 69"/>
                  <a:gd name="T10" fmla="*/ 16 w 107"/>
                  <a:gd name="T11" fmla="*/ 66 h 69"/>
                  <a:gd name="T12" fmla="*/ 49 w 107"/>
                  <a:gd name="T13" fmla="*/ 58 h 69"/>
                  <a:gd name="T14" fmla="*/ 85 w 107"/>
                  <a:gd name="T15" fmla="*/ 50 h 69"/>
                  <a:gd name="T16" fmla="*/ 107 w 107"/>
                  <a:gd name="T17" fmla="*/ 44 h 69"/>
                  <a:gd name="T18" fmla="*/ 101 w 107"/>
                  <a:gd name="T19" fmla="*/ 38 h 69"/>
                  <a:gd name="T20" fmla="*/ 94 w 107"/>
                  <a:gd name="T21" fmla="*/ 34 h 69"/>
                  <a:gd name="T22" fmla="*/ 86 w 107"/>
                  <a:gd name="T23" fmla="*/ 30 h 69"/>
                  <a:gd name="T24" fmla="*/ 78 w 107"/>
                  <a:gd name="T25" fmla="*/ 27 h 69"/>
                  <a:gd name="T26" fmla="*/ 72 w 107"/>
                  <a:gd name="T27" fmla="*/ 23 h 69"/>
                  <a:gd name="T28" fmla="*/ 65 w 107"/>
                  <a:gd name="T29" fmla="*/ 18 h 69"/>
                  <a:gd name="T30" fmla="*/ 63 w 107"/>
                  <a:gd name="T31" fmla="*/ 15 h 69"/>
                  <a:gd name="T32" fmla="*/ 62 w 107"/>
                  <a:gd name="T33" fmla="*/ 11 h 69"/>
                  <a:gd name="T34" fmla="*/ 61 w 107"/>
                  <a:gd name="T35" fmla="*/ 7 h 69"/>
                  <a:gd name="T36" fmla="*/ 61 w 107"/>
                  <a:gd name="T37" fmla="*/ 0 h 69"/>
                  <a:gd name="T38" fmla="*/ 54 w 107"/>
                  <a:gd name="T39" fmla="*/ 1 h 69"/>
                  <a:gd name="T40" fmla="*/ 38 w 107"/>
                  <a:gd name="T41" fmla="*/ 4 h 69"/>
                  <a:gd name="T42" fmla="*/ 18 w 107"/>
                  <a:gd name="T43" fmla="*/ 9 h 69"/>
                  <a:gd name="T44" fmla="*/ 0 w 107"/>
                  <a:gd name="T45" fmla="*/ 13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389" name="Freeform 540">
                <a:extLst>
                  <a:ext uri="{FF2B5EF4-FFF2-40B4-BE49-F238E27FC236}">
                    <a16:creationId xmlns:a16="http://schemas.microsoft.com/office/drawing/2014/main" id="{D2470BD5-D2F4-4E33-8861-9612BD6EAC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992 w 1070"/>
                  <a:gd name="T1" fmla="*/ 124 h 382"/>
                  <a:gd name="T2" fmla="*/ 970 w 1070"/>
                  <a:gd name="T3" fmla="*/ 103 h 382"/>
                  <a:gd name="T4" fmla="*/ 962 w 1070"/>
                  <a:gd name="T5" fmla="*/ 57 h 382"/>
                  <a:gd name="T6" fmla="*/ 936 w 1070"/>
                  <a:gd name="T7" fmla="*/ 36 h 382"/>
                  <a:gd name="T8" fmla="*/ 817 w 1070"/>
                  <a:gd name="T9" fmla="*/ 19 h 382"/>
                  <a:gd name="T10" fmla="*/ 726 w 1070"/>
                  <a:gd name="T11" fmla="*/ 58 h 382"/>
                  <a:gd name="T12" fmla="*/ 678 w 1070"/>
                  <a:gd name="T13" fmla="*/ 65 h 382"/>
                  <a:gd name="T14" fmla="*/ 632 w 1070"/>
                  <a:gd name="T15" fmla="*/ 65 h 382"/>
                  <a:gd name="T16" fmla="*/ 612 w 1070"/>
                  <a:gd name="T17" fmla="*/ 44 h 382"/>
                  <a:gd name="T18" fmla="*/ 560 w 1070"/>
                  <a:gd name="T19" fmla="*/ 37 h 382"/>
                  <a:gd name="T20" fmla="*/ 525 w 1070"/>
                  <a:gd name="T21" fmla="*/ 19 h 382"/>
                  <a:gd name="T22" fmla="*/ 483 w 1070"/>
                  <a:gd name="T23" fmla="*/ 21 h 382"/>
                  <a:gd name="T24" fmla="*/ 465 w 1070"/>
                  <a:gd name="T25" fmla="*/ 0 h 382"/>
                  <a:gd name="T26" fmla="*/ 390 w 1070"/>
                  <a:gd name="T27" fmla="*/ 16 h 382"/>
                  <a:gd name="T28" fmla="*/ 299 w 1070"/>
                  <a:gd name="T29" fmla="*/ 26 h 382"/>
                  <a:gd name="T30" fmla="*/ 257 w 1070"/>
                  <a:gd name="T31" fmla="*/ 45 h 382"/>
                  <a:gd name="T32" fmla="*/ 138 w 1070"/>
                  <a:gd name="T33" fmla="*/ 61 h 382"/>
                  <a:gd name="T34" fmla="*/ 173 w 1070"/>
                  <a:gd name="T35" fmla="*/ 75 h 382"/>
                  <a:gd name="T36" fmla="*/ 164 w 1070"/>
                  <a:gd name="T37" fmla="*/ 90 h 382"/>
                  <a:gd name="T38" fmla="*/ 114 w 1070"/>
                  <a:gd name="T39" fmla="*/ 93 h 382"/>
                  <a:gd name="T40" fmla="*/ 42 w 1070"/>
                  <a:gd name="T41" fmla="*/ 94 h 382"/>
                  <a:gd name="T42" fmla="*/ 8 w 1070"/>
                  <a:gd name="T43" fmla="*/ 110 h 382"/>
                  <a:gd name="T44" fmla="*/ 0 w 1070"/>
                  <a:gd name="T45" fmla="*/ 147 h 382"/>
                  <a:gd name="T46" fmla="*/ 16 w 1070"/>
                  <a:gd name="T47" fmla="*/ 167 h 382"/>
                  <a:gd name="T48" fmla="*/ 22 w 1070"/>
                  <a:gd name="T49" fmla="*/ 193 h 382"/>
                  <a:gd name="T50" fmla="*/ 21 w 1070"/>
                  <a:gd name="T51" fmla="*/ 210 h 382"/>
                  <a:gd name="T52" fmla="*/ 49 w 1070"/>
                  <a:gd name="T53" fmla="*/ 237 h 382"/>
                  <a:gd name="T54" fmla="*/ 56 w 1070"/>
                  <a:gd name="T55" fmla="*/ 259 h 382"/>
                  <a:gd name="T56" fmla="*/ 74 w 1070"/>
                  <a:gd name="T57" fmla="*/ 271 h 382"/>
                  <a:gd name="T58" fmla="*/ 96 w 1070"/>
                  <a:gd name="T59" fmla="*/ 290 h 382"/>
                  <a:gd name="T60" fmla="*/ 205 w 1070"/>
                  <a:gd name="T61" fmla="*/ 352 h 382"/>
                  <a:gd name="T62" fmla="*/ 253 w 1070"/>
                  <a:gd name="T63" fmla="*/ 370 h 382"/>
                  <a:gd name="T64" fmla="*/ 267 w 1070"/>
                  <a:gd name="T65" fmla="*/ 358 h 382"/>
                  <a:gd name="T66" fmla="*/ 277 w 1070"/>
                  <a:gd name="T67" fmla="*/ 338 h 382"/>
                  <a:gd name="T68" fmla="*/ 297 w 1070"/>
                  <a:gd name="T69" fmla="*/ 316 h 382"/>
                  <a:gd name="T70" fmla="*/ 334 w 1070"/>
                  <a:gd name="T71" fmla="*/ 323 h 382"/>
                  <a:gd name="T72" fmla="*/ 362 w 1070"/>
                  <a:gd name="T73" fmla="*/ 358 h 382"/>
                  <a:gd name="T74" fmla="*/ 399 w 1070"/>
                  <a:gd name="T75" fmla="*/ 370 h 382"/>
                  <a:gd name="T76" fmla="*/ 447 w 1070"/>
                  <a:gd name="T77" fmla="*/ 359 h 382"/>
                  <a:gd name="T78" fmla="*/ 493 w 1070"/>
                  <a:gd name="T79" fmla="*/ 335 h 382"/>
                  <a:gd name="T80" fmla="*/ 525 w 1070"/>
                  <a:gd name="T81" fmla="*/ 327 h 382"/>
                  <a:gd name="T82" fmla="*/ 564 w 1070"/>
                  <a:gd name="T83" fmla="*/ 326 h 382"/>
                  <a:gd name="T84" fmla="*/ 567 w 1070"/>
                  <a:gd name="T85" fmla="*/ 367 h 382"/>
                  <a:gd name="T86" fmla="*/ 590 w 1070"/>
                  <a:gd name="T87" fmla="*/ 377 h 382"/>
                  <a:gd name="T88" fmla="*/ 613 w 1070"/>
                  <a:gd name="T89" fmla="*/ 362 h 382"/>
                  <a:gd name="T90" fmla="*/ 647 w 1070"/>
                  <a:gd name="T91" fmla="*/ 336 h 382"/>
                  <a:gd name="T92" fmla="*/ 752 w 1070"/>
                  <a:gd name="T93" fmla="*/ 327 h 382"/>
                  <a:gd name="T94" fmla="*/ 831 w 1070"/>
                  <a:gd name="T95" fmla="*/ 315 h 382"/>
                  <a:gd name="T96" fmla="*/ 918 w 1070"/>
                  <a:gd name="T97" fmla="*/ 283 h 382"/>
                  <a:gd name="T98" fmla="*/ 967 w 1070"/>
                  <a:gd name="T99" fmla="*/ 286 h 382"/>
                  <a:gd name="T100" fmla="*/ 1005 w 1070"/>
                  <a:gd name="T101" fmla="*/ 293 h 382"/>
                  <a:gd name="T102" fmla="*/ 1056 w 1070"/>
                  <a:gd name="T103" fmla="*/ 308 h 382"/>
                  <a:gd name="T104" fmla="*/ 1056 w 1070"/>
                  <a:gd name="T105" fmla="*/ 268 h 382"/>
                  <a:gd name="T106" fmla="*/ 1026 w 1070"/>
                  <a:gd name="T107" fmla="*/ 219 h 382"/>
                  <a:gd name="T108" fmla="*/ 1017 w 1070"/>
                  <a:gd name="T109" fmla="*/ 167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375" name="Freeform 541">
              <a:extLst>
                <a:ext uri="{FF2B5EF4-FFF2-40B4-BE49-F238E27FC236}">
                  <a16:creationId xmlns:a16="http://schemas.microsoft.com/office/drawing/2014/main" id="{984037CE-DCFF-4773-BAED-57F7EC2563DA}"/>
                </a:ext>
              </a:extLst>
            </p:cNvPr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4095751" y="3481389"/>
              <a:ext cx="100013" cy="122237"/>
            </a:xfrm>
            <a:custGeom>
              <a:avLst/>
              <a:gdLst>
                <a:gd name="T0" fmla="*/ 63 w 226"/>
                <a:gd name="T1" fmla="*/ 236 h 237"/>
                <a:gd name="T2" fmla="*/ 68 w 226"/>
                <a:gd name="T3" fmla="*/ 237 h 237"/>
                <a:gd name="T4" fmla="*/ 75 w 226"/>
                <a:gd name="T5" fmla="*/ 235 h 237"/>
                <a:gd name="T6" fmla="*/ 83 w 226"/>
                <a:gd name="T7" fmla="*/ 234 h 237"/>
                <a:gd name="T8" fmla="*/ 89 w 226"/>
                <a:gd name="T9" fmla="*/ 230 h 237"/>
                <a:gd name="T10" fmla="*/ 96 w 226"/>
                <a:gd name="T11" fmla="*/ 223 h 237"/>
                <a:gd name="T12" fmla="*/ 99 w 226"/>
                <a:gd name="T13" fmla="*/ 214 h 237"/>
                <a:gd name="T14" fmla="*/ 123 w 226"/>
                <a:gd name="T15" fmla="*/ 209 h 237"/>
                <a:gd name="T16" fmla="*/ 166 w 226"/>
                <a:gd name="T17" fmla="*/ 205 h 237"/>
                <a:gd name="T18" fmla="*/ 195 w 226"/>
                <a:gd name="T19" fmla="*/ 198 h 237"/>
                <a:gd name="T20" fmla="*/ 209 w 226"/>
                <a:gd name="T21" fmla="*/ 191 h 237"/>
                <a:gd name="T22" fmla="*/ 220 w 226"/>
                <a:gd name="T23" fmla="*/ 181 h 237"/>
                <a:gd name="T24" fmla="*/ 225 w 226"/>
                <a:gd name="T25" fmla="*/ 168 h 237"/>
                <a:gd name="T26" fmla="*/ 226 w 226"/>
                <a:gd name="T27" fmla="*/ 153 h 237"/>
                <a:gd name="T28" fmla="*/ 223 w 226"/>
                <a:gd name="T29" fmla="*/ 140 h 237"/>
                <a:gd name="T30" fmla="*/ 215 w 226"/>
                <a:gd name="T31" fmla="*/ 123 h 237"/>
                <a:gd name="T32" fmla="*/ 203 w 226"/>
                <a:gd name="T33" fmla="*/ 100 h 237"/>
                <a:gd name="T34" fmla="*/ 196 w 226"/>
                <a:gd name="T35" fmla="*/ 84 h 237"/>
                <a:gd name="T36" fmla="*/ 193 w 226"/>
                <a:gd name="T37" fmla="*/ 74 h 237"/>
                <a:gd name="T38" fmla="*/ 195 w 226"/>
                <a:gd name="T39" fmla="*/ 59 h 237"/>
                <a:gd name="T40" fmla="*/ 200 w 226"/>
                <a:gd name="T41" fmla="*/ 43 h 237"/>
                <a:gd name="T42" fmla="*/ 213 w 226"/>
                <a:gd name="T43" fmla="*/ 25 h 237"/>
                <a:gd name="T44" fmla="*/ 213 w 226"/>
                <a:gd name="T45" fmla="*/ 14 h 237"/>
                <a:gd name="T46" fmla="*/ 191 w 226"/>
                <a:gd name="T47" fmla="*/ 7 h 237"/>
                <a:gd name="T48" fmla="*/ 154 w 226"/>
                <a:gd name="T49" fmla="*/ 2 h 237"/>
                <a:gd name="T50" fmla="*/ 20 w 226"/>
                <a:gd name="T51" fmla="*/ 6 h 237"/>
                <a:gd name="T52" fmla="*/ 18 w 226"/>
                <a:gd name="T53" fmla="*/ 31 h 237"/>
                <a:gd name="T54" fmla="*/ 10 w 226"/>
                <a:gd name="T55" fmla="*/ 54 h 237"/>
                <a:gd name="T56" fmla="*/ 3 w 226"/>
                <a:gd name="T57" fmla="*/ 79 h 237"/>
                <a:gd name="T58" fmla="*/ 0 w 226"/>
                <a:gd name="T59" fmla="*/ 111 h 237"/>
                <a:gd name="T60" fmla="*/ 3 w 226"/>
                <a:gd name="T61" fmla="*/ 130 h 237"/>
                <a:gd name="T62" fmla="*/ 10 w 226"/>
                <a:gd name="T63" fmla="*/ 146 h 237"/>
                <a:gd name="T64" fmla="*/ 30 w 226"/>
                <a:gd name="T65" fmla="*/ 173 h 237"/>
                <a:gd name="T66" fmla="*/ 51 w 226"/>
                <a:gd name="T67" fmla="*/ 199 h 237"/>
                <a:gd name="T68" fmla="*/ 57 w 226"/>
                <a:gd name="T69" fmla="*/ 216 h 237"/>
                <a:gd name="T70" fmla="*/ 61 w 226"/>
                <a:gd name="T71" fmla="*/ 234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76" name="Freeform 542">
              <a:extLst>
                <a:ext uri="{FF2B5EF4-FFF2-40B4-BE49-F238E27FC236}">
                  <a16:creationId xmlns:a16="http://schemas.microsoft.com/office/drawing/2014/main" id="{432269F7-24F5-4B64-B6FD-80D623120E56}"/>
                </a:ext>
              </a:extLst>
            </p:cNvPr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8040688" y="2917825"/>
              <a:ext cx="207962" cy="458788"/>
            </a:xfrm>
            <a:custGeom>
              <a:avLst/>
              <a:gdLst>
                <a:gd name="T0" fmla="*/ 287 w 478"/>
                <a:gd name="T1" fmla="*/ 109 h 875"/>
                <a:gd name="T2" fmla="*/ 250 w 478"/>
                <a:gd name="T3" fmla="*/ 138 h 875"/>
                <a:gd name="T4" fmla="*/ 199 w 478"/>
                <a:gd name="T5" fmla="*/ 197 h 875"/>
                <a:gd name="T6" fmla="*/ 198 w 478"/>
                <a:gd name="T7" fmla="*/ 213 h 875"/>
                <a:gd name="T8" fmla="*/ 206 w 478"/>
                <a:gd name="T9" fmla="*/ 239 h 875"/>
                <a:gd name="T10" fmla="*/ 221 w 478"/>
                <a:gd name="T11" fmla="*/ 265 h 875"/>
                <a:gd name="T12" fmla="*/ 240 w 478"/>
                <a:gd name="T13" fmla="*/ 288 h 875"/>
                <a:gd name="T14" fmla="*/ 259 w 478"/>
                <a:gd name="T15" fmla="*/ 301 h 875"/>
                <a:gd name="T16" fmla="*/ 279 w 478"/>
                <a:gd name="T17" fmla="*/ 329 h 875"/>
                <a:gd name="T18" fmla="*/ 295 w 478"/>
                <a:gd name="T19" fmla="*/ 361 h 875"/>
                <a:gd name="T20" fmla="*/ 305 w 478"/>
                <a:gd name="T21" fmla="*/ 369 h 875"/>
                <a:gd name="T22" fmla="*/ 438 w 478"/>
                <a:gd name="T23" fmla="*/ 499 h 875"/>
                <a:gd name="T24" fmla="*/ 471 w 478"/>
                <a:gd name="T25" fmla="*/ 589 h 875"/>
                <a:gd name="T26" fmla="*/ 478 w 478"/>
                <a:gd name="T27" fmla="*/ 647 h 875"/>
                <a:gd name="T28" fmla="*/ 476 w 478"/>
                <a:gd name="T29" fmla="*/ 687 h 875"/>
                <a:gd name="T30" fmla="*/ 478 w 478"/>
                <a:gd name="T31" fmla="*/ 708 h 875"/>
                <a:gd name="T32" fmla="*/ 447 w 478"/>
                <a:gd name="T33" fmla="*/ 718 h 875"/>
                <a:gd name="T34" fmla="*/ 420 w 478"/>
                <a:gd name="T35" fmla="*/ 733 h 875"/>
                <a:gd name="T36" fmla="*/ 391 w 478"/>
                <a:gd name="T37" fmla="*/ 756 h 875"/>
                <a:gd name="T38" fmla="*/ 365 w 478"/>
                <a:gd name="T39" fmla="*/ 789 h 875"/>
                <a:gd name="T40" fmla="*/ 348 w 478"/>
                <a:gd name="T41" fmla="*/ 785 h 875"/>
                <a:gd name="T42" fmla="*/ 319 w 478"/>
                <a:gd name="T43" fmla="*/ 789 h 875"/>
                <a:gd name="T44" fmla="*/ 313 w 478"/>
                <a:gd name="T45" fmla="*/ 804 h 875"/>
                <a:gd name="T46" fmla="*/ 289 w 478"/>
                <a:gd name="T47" fmla="*/ 838 h 875"/>
                <a:gd name="T48" fmla="*/ 256 w 478"/>
                <a:gd name="T49" fmla="*/ 868 h 875"/>
                <a:gd name="T50" fmla="*/ 239 w 478"/>
                <a:gd name="T51" fmla="*/ 875 h 875"/>
                <a:gd name="T52" fmla="*/ 232 w 478"/>
                <a:gd name="T53" fmla="*/ 868 h 875"/>
                <a:gd name="T54" fmla="*/ 225 w 478"/>
                <a:gd name="T55" fmla="*/ 844 h 875"/>
                <a:gd name="T56" fmla="*/ 231 w 478"/>
                <a:gd name="T57" fmla="*/ 800 h 875"/>
                <a:gd name="T58" fmla="*/ 253 w 478"/>
                <a:gd name="T59" fmla="*/ 775 h 875"/>
                <a:gd name="T60" fmla="*/ 277 w 478"/>
                <a:gd name="T61" fmla="*/ 760 h 875"/>
                <a:gd name="T62" fmla="*/ 295 w 478"/>
                <a:gd name="T63" fmla="*/ 753 h 875"/>
                <a:gd name="T64" fmla="*/ 305 w 478"/>
                <a:gd name="T65" fmla="*/ 743 h 875"/>
                <a:gd name="T66" fmla="*/ 314 w 478"/>
                <a:gd name="T67" fmla="*/ 714 h 875"/>
                <a:gd name="T68" fmla="*/ 330 w 478"/>
                <a:gd name="T69" fmla="*/ 686 h 875"/>
                <a:gd name="T70" fmla="*/ 365 w 478"/>
                <a:gd name="T71" fmla="*/ 643 h 875"/>
                <a:gd name="T72" fmla="*/ 371 w 478"/>
                <a:gd name="T73" fmla="*/ 536 h 875"/>
                <a:gd name="T74" fmla="*/ 364 w 478"/>
                <a:gd name="T75" fmla="*/ 475 h 875"/>
                <a:gd name="T76" fmla="*/ 341 w 478"/>
                <a:gd name="T77" fmla="*/ 427 h 875"/>
                <a:gd name="T78" fmla="*/ 297 w 478"/>
                <a:gd name="T79" fmla="*/ 377 h 875"/>
                <a:gd name="T80" fmla="*/ 219 w 478"/>
                <a:gd name="T81" fmla="*/ 308 h 875"/>
                <a:gd name="T82" fmla="*/ 161 w 478"/>
                <a:gd name="T83" fmla="*/ 255 h 875"/>
                <a:gd name="T84" fmla="*/ 108 w 478"/>
                <a:gd name="T85" fmla="*/ 198 h 875"/>
                <a:gd name="T86" fmla="*/ 72 w 478"/>
                <a:gd name="T87" fmla="*/ 146 h 875"/>
                <a:gd name="T88" fmla="*/ 42 w 478"/>
                <a:gd name="T89" fmla="*/ 104 h 875"/>
                <a:gd name="T90" fmla="*/ 46 w 478"/>
                <a:gd name="T91" fmla="*/ 41 h 875"/>
                <a:gd name="T92" fmla="*/ 129 w 478"/>
                <a:gd name="T93" fmla="*/ 19 h 875"/>
                <a:gd name="T94" fmla="*/ 148 w 478"/>
                <a:gd name="T95" fmla="*/ 5 h 875"/>
                <a:gd name="T96" fmla="*/ 175 w 478"/>
                <a:gd name="T97" fmla="*/ 16 h 875"/>
                <a:gd name="T98" fmla="*/ 221 w 478"/>
                <a:gd name="T99" fmla="*/ 35 h 875"/>
                <a:gd name="T100" fmla="*/ 269 w 478"/>
                <a:gd name="T101" fmla="*/ 67 h 8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7" name="Freeform 543">
              <a:extLst>
                <a:ext uri="{FF2B5EF4-FFF2-40B4-BE49-F238E27FC236}">
                  <a16:creationId xmlns:a16="http://schemas.microsoft.com/office/drawing/2014/main" id="{0258259C-B41C-4164-8720-4FD9B0F94D83}"/>
                </a:ext>
              </a:extLst>
            </p:cNvPr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8128000" y="3603625"/>
              <a:ext cx="25400" cy="57150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78" name="Freeform 544">
              <a:extLst>
                <a:ext uri="{FF2B5EF4-FFF2-40B4-BE49-F238E27FC236}">
                  <a16:creationId xmlns:a16="http://schemas.microsoft.com/office/drawing/2014/main" id="{ECDF807A-60EE-4709-B079-13E6496141BD}"/>
                </a:ext>
              </a:extLst>
            </p:cNvPr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6819901" y="2862263"/>
              <a:ext cx="174625" cy="271462"/>
            </a:xfrm>
            <a:custGeom>
              <a:avLst/>
              <a:gdLst>
                <a:gd name="T0" fmla="*/ 200 w 399"/>
                <a:gd name="T1" fmla="*/ 8 h 518"/>
                <a:gd name="T2" fmla="*/ 202 w 399"/>
                <a:gd name="T3" fmla="*/ 22 h 518"/>
                <a:gd name="T4" fmla="*/ 208 w 399"/>
                <a:gd name="T5" fmla="*/ 36 h 518"/>
                <a:gd name="T6" fmla="*/ 214 w 399"/>
                <a:gd name="T7" fmla="*/ 49 h 518"/>
                <a:gd name="T8" fmla="*/ 224 w 399"/>
                <a:gd name="T9" fmla="*/ 63 h 518"/>
                <a:gd name="T10" fmla="*/ 235 w 399"/>
                <a:gd name="T11" fmla="*/ 75 h 518"/>
                <a:gd name="T12" fmla="*/ 249 w 399"/>
                <a:gd name="T13" fmla="*/ 86 h 518"/>
                <a:gd name="T14" fmla="*/ 264 w 399"/>
                <a:gd name="T15" fmla="*/ 95 h 518"/>
                <a:gd name="T16" fmla="*/ 316 w 399"/>
                <a:gd name="T17" fmla="*/ 106 h 518"/>
                <a:gd name="T18" fmla="*/ 365 w 399"/>
                <a:gd name="T19" fmla="*/ 119 h 518"/>
                <a:gd name="T20" fmla="*/ 380 w 399"/>
                <a:gd name="T21" fmla="*/ 127 h 518"/>
                <a:gd name="T22" fmla="*/ 392 w 399"/>
                <a:gd name="T23" fmla="*/ 137 h 518"/>
                <a:gd name="T24" fmla="*/ 398 w 399"/>
                <a:gd name="T25" fmla="*/ 151 h 518"/>
                <a:gd name="T26" fmla="*/ 398 w 399"/>
                <a:gd name="T27" fmla="*/ 174 h 518"/>
                <a:gd name="T28" fmla="*/ 390 w 399"/>
                <a:gd name="T29" fmla="*/ 200 h 518"/>
                <a:gd name="T30" fmla="*/ 369 w 399"/>
                <a:gd name="T31" fmla="*/ 239 h 518"/>
                <a:gd name="T32" fmla="*/ 344 w 399"/>
                <a:gd name="T33" fmla="*/ 276 h 518"/>
                <a:gd name="T34" fmla="*/ 328 w 399"/>
                <a:gd name="T35" fmla="*/ 303 h 518"/>
                <a:gd name="T36" fmla="*/ 314 w 399"/>
                <a:gd name="T37" fmla="*/ 330 h 518"/>
                <a:gd name="T38" fmla="*/ 307 w 399"/>
                <a:gd name="T39" fmla="*/ 360 h 518"/>
                <a:gd name="T40" fmla="*/ 297 w 399"/>
                <a:gd name="T41" fmla="*/ 377 h 518"/>
                <a:gd name="T42" fmla="*/ 268 w 399"/>
                <a:gd name="T43" fmla="*/ 387 h 518"/>
                <a:gd name="T44" fmla="*/ 246 w 399"/>
                <a:gd name="T45" fmla="*/ 399 h 518"/>
                <a:gd name="T46" fmla="*/ 235 w 399"/>
                <a:gd name="T47" fmla="*/ 408 h 518"/>
                <a:gd name="T48" fmla="*/ 227 w 399"/>
                <a:gd name="T49" fmla="*/ 417 h 518"/>
                <a:gd name="T50" fmla="*/ 224 w 399"/>
                <a:gd name="T51" fmla="*/ 427 h 518"/>
                <a:gd name="T52" fmla="*/ 213 w 399"/>
                <a:gd name="T53" fmla="*/ 438 h 518"/>
                <a:gd name="T54" fmla="*/ 188 w 399"/>
                <a:gd name="T55" fmla="*/ 450 h 518"/>
                <a:gd name="T56" fmla="*/ 173 w 399"/>
                <a:gd name="T57" fmla="*/ 456 h 518"/>
                <a:gd name="T58" fmla="*/ 166 w 399"/>
                <a:gd name="T59" fmla="*/ 467 h 518"/>
                <a:gd name="T60" fmla="*/ 158 w 399"/>
                <a:gd name="T61" fmla="*/ 481 h 518"/>
                <a:gd name="T62" fmla="*/ 146 w 399"/>
                <a:gd name="T63" fmla="*/ 490 h 518"/>
                <a:gd name="T64" fmla="*/ 131 w 399"/>
                <a:gd name="T65" fmla="*/ 494 h 518"/>
                <a:gd name="T66" fmla="*/ 102 w 399"/>
                <a:gd name="T67" fmla="*/ 498 h 518"/>
                <a:gd name="T68" fmla="*/ 73 w 399"/>
                <a:gd name="T69" fmla="*/ 504 h 518"/>
                <a:gd name="T70" fmla="*/ 55 w 399"/>
                <a:gd name="T71" fmla="*/ 512 h 518"/>
                <a:gd name="T72" fmla="*/ 46 w 399"/>
                <a:gd name="T73" fmla="*/ 514 h 518"/>
                <a:gd name="T74" fmla="*/ 43 w 399"/>
                <a:gd name="T75" fmla="*/ 506 h 518"/>
                <a:gd name="T76" fmla="*/ 38 w 399"/>
                <a:gd name="T77" fmla="*/ 497 h 518"/>
                <a:gd name="T78" fmla="*/ 34 w 399"/>
                <a:gd name="T79" fmla="*/ 487 h 518"/>
                <a:gd name="T80" fmla="*/ 33 w 399"/>
                <a:gd name="T81" fmla="*/ 468 h 518"/>
                <a:gd name="T82" fmla="*/ 29 w 399"/>
                <a:gd name="T83" fmla="*/ 445 h 518"/>
                <a:gd name="T84" fmla="*/ 17 w 399"/>
                <a:gd name="T85" fmla="*/ 418 h 518"/>
                <a:gd name="T86" fmla="*/ 0 w 399"/>
                <a:gd name="T87" fmla="*/ 358 h 518"/>
                <a:gd name="T88" fmla="*/ 194 w 399"/>
                <a:gd name="T89" fmla="*/ 185 h 518"/>
                <a:gd name="T90" fmla="*/ 200 w 399"/>
                <a:gd name="T91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79" name="Freeform 545">
              <a:extLst>
                <a:ext uri="{FF2B5EF4-FFF2-40B4-BE49-F238E27FC236}">
                  <a16:creationId xmlns:a16="http://schemas.microsoft.com/office/drawing/2014/main" id="{DF767502-4DE3-46F2-90E4-150E5168D83C}"/>
                </a:ext>
              </a:extLst>
            </p:cNvPr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5546725" y="2916238"/>
              <a:ext cx="376238" cy="385762"/>
            </a:xfrm>
            <a:custGeom>
              <a:avLst/>
              <a:gdLst>
                <a:gd name="T0" fmla="*/ 231 w 866"/>
                <a:gd name="T1" fmla="*/ 270 h 740"/>
                <a:gd name="T2" fmla="*/ 245 w 866"/>
                <a:gd name="T3" fmla="*/ 264 h 740"/>
                <a:gd name="T4" fmla="*/ 272 w 866"/>
                <a:gd name="T5" fmla="*/ 272 h 740"/>
                <a:gd name="T6" fmla="*/ 654 w 866"/>
                <a:gd name="T7" fmla="*/ 1 h 740"/>
                <a:gd name="T8" fmla="*/ 679 w 866"/>
                <a:gd name="T9" fmla="*/ 6 h 740"/>
                <a:gd name="T10" fmla="*/ 711 w 866"/>
                <a:gd name="T11" fmla="*/ 21 h 740"/>
                <a:gd name="T12" fmla="*/ 730 w 866"/>
                <a:gd name="T13" fmla="*/ 35 h 740"/>
                <a:gd name="T14" fmla="*/ 760 w 866"/>
                <a:gd name="T15" fmla="*/ 57 h 740"/>
                <a:gd name="T16" fmla="*/ 791 w 866"/>
                <a:gd name="T17" fmla="*/ 59 h 740"/>
                <a:gd name="T18" fmla="*/ 831 w 866"/>
                <a:gd name="T19" fmla="*/ 43 h 740"/>
                <a:gd name="T20" fmla="*/ 854 w 866"/>
                <a:gd name="T21" fmla="*/ 166 h 740"/>
                <a:gd name="T22" fmla="*/ 866 w 866"/>
                <a:gd name="T23" fmla="*/ 205 h 740"/>
                <a:gd name="T24" fmla="*/ 850 w 866"/>
                <a:gd name="T25" fmla="*/ 301 h 740"/>
                <a:gd name="T26" fmla="*/ 848 w 866"/>
                <a:gd name="T27" fmla="*/ 376 h 740"/>
                <a:gd name="T28" fmla="*/ 834 w 866"/>
                <a:gd name="T29" fmla="*/ 421 h 740"/>
                <a:gd name="T30" fmla="*/ 802 w 866"/>
                <a:gd name="T31" fmla="*/ 467 h 740"/>
                <a:gd name="T32" fmla="*/ 777 w 866"/>
                <a:gd name="T33" fmla="*/ 499 h 740"/>
                <a:gd name="T34" fmla="*/ 758 w 866"/>
                <a:gd name="T35" fmla="*/ 567 h 740"/>
                <a:gd name="T36" fmla="*/ 711 w 866"/>
                <a:gd name="T37" fmla="*/ 629 h 740"/>
                <a:gd name="T38" fmla="*/ 680 w 866"/>
                <a:gd name="T39" fmla="*/ 646 h 740"/>
                <a:gd name="T40" fmla="*/ 644 w 866"/>
                <a:gd name="T41" fmla="*/ 638 h 740"/>
                <a:gd name="T42" fmla="*/ 611 w 866"/>
                <a:gd name="T43" fmla="*/ 625 h 740"/>
                <a:gd name="T44" fmla="*/ 566 w 866"/>
                <a:gd name="T45" fmla="*/ 633 h 740"/>
                <a:gd name="T46" fmla="*/ 530 w 866"/>
                <a:gd name="T47" fmla="*/ 659 h 740"/>
                <a:gd name="T48" fmla="*/ 511 w 866"/>
                <a:gd name="T49" fmla="*/ 680 h 740"/>
                <a:gd name="T50" fmla="*/ 491 w 866"/>
                <a:gd name="T51" fmla="*/ 684 h 740"/>
                <a:gd name="T52" fmla="*/ 470 w 866"/>
                <a:gd name="T53" fmla="*/ 668 h 740"/>
                <a:gd name="T54" fmla="*/ 446 w 866"/>
                <a:gd name="T55" fmla="*/ 639 h 740"/>
                <a:gd name="T56" fmla="*/ 421 w 866"/>
                <a:gd name="T57" fmla="*/ 635 h 740"/>
                <a:gd name="T58" fmla="*/ 405 w 866"/>
                <a:gd name="T59" fmla="*/ 647 h 740"/>
                <a:gd name="T60" fmla="*/ 384 w 866"/>
                <a:gd name="T61" fmla="*/ 652 h 740"/>
                <a:gd name="T62" fmla="*/ 350 w 866"/>
                <a:gd name="T63" fmla="*/ 638 h 740"/>
                <a:gd name="T64" fmla="*/ 306 w 866"/>
                <a:gd name="T65" fmla="*/ 608 h 740"/>
                <a:gd name="T66" fmla="*/ 271 w 866"/>
                <a:gd name="T67" fmla="*/ 604 h 740"/>
                <a:gd name="T68" fmla="*/ 237 w 866"/>
                <a:gd name="T69" fmla="*/ 620 h 740"/>
                <a:gd name="T70" fmla="*/ 209 w 866"/>
                <a:gd name="T71" fmla="*/ 653 h 740"/>
                <a:gd name="T72" fmla="*/ 190 w 866"/>
                <a:gd name="T73" fmla="*/ 692 h 740"/>
                <a:gd name="T74" fmla="*/ 178 w 866"/>
                <a:gd name="T75" fmla="*/ 719 h 740"/>
                <a:gd name="T76" fmla="*/ 149 w 866"/>
                <a:gd name="T77" fmla="*/ 702 h 740"/>
                <a:gd name="T78" fmla="*/ 100 w 866"/>
                <a:gd name="T79" fmla="*/ 740 h 740"/>
                <a:gd name="T80" fmla="*/ 66 w 866"/>
                <a:gd name="T81" fmla="*/ 699 h 740"/>
                <a:gd name="T82" fmla="*/ 64 w 866"/>
                <a:gd name="T83" fmla="*/ 644 h 740"/>
                <a:gd name="T84" fmla="*/ 50 w 866"/>
                <a:gd name="T85" fmla="*/ 613 h 740"/>
                <a:gd name="T86" fmla="*/ 20 w 866"/>
                <a:gd name="T87" fmla="*/ 587 h 740"/>
                <a:gd name="T88" fmla="*/ 5 w 866"/>
                <a:gd name="T89" fmla="*/ 558 h 740"/>
                <a:gd name="T90" fmla="*/ 53 w 866"/>
                <a:gd name="T91" fmla="*/ 530 h 740"/>
                <a:gd name="T92" fmla="*/ 76 w 866"/>
                <a:gd name="T93" fmla="*/ 518 h 740"/>
                <a:gd name="T94" fmla="*/ 139 w 866"/>
                <a:gd name="T95" fmla="*/ 510 h 740"/>
                <a:gd name="T96" fmla="*/ 182 w 866"/>
                <a:gd name="T97" fmla="*/ 500 h 740"/>
                <a:gd name="T98" fmla="*/ 201 w 866"/>
                <a:gd name="T99" fmla="*/ 475 h 740"/>
                <a:gd name="T100" fmla="*/ 219 w 866"/>
                <a:gd name="T101" fmla="*/ 424 h 740"/>
                <a:gd name="T102" fmla="*/ 224 w 866"/>
                <a:gd name="T103" fmla="*/ 367 h 740"/>
                <a:gd name="T104" fmla="*/ 219 w 866"/>
                <a:gd name="T105" fmla="*/ 320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380" name="Freeform 546">
              <a:extLst>
                <a:ext uri="{FF2B5EF4-FFF2-40B4-BE49-F238E27FC236}">
                  <a16:creationId xmlns:a16="http://schemas.microsoft.com/office/drawing/2014/main" id="{0613F941-0B2F-4043-9403-A0D41449AED2}"/>
                </a:ext>
              </a:extLst>
            </p:cNvPr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5216525" y="2533650"/>
              <a:ext cx="300038" cy="260350"/>
            </a:xfrm>
            <a:custGeom>
              <a:avLst/>
              <a:gdLst>
                <a:gd name="T0" fmla="*/ 648 w 697"/>
                <a:gd name="T1" fmla="*/ 53 h 500"/>
                <a:gd name="T2" fmla="*/ 657 w 697"/>
                <a:gd name="T3" fmla="*/ 161 h 500"/>
                <a:gd name="T4" fmla="*/ 661 w 697"/>
                <a:gd name="T5" fmla="*/ 167 h 500"/>
                <a:gd name="T6" fmla="*/ 677 w 697"/>
                <a:gd name="T7" fmla="*/ 177 h 500"/>
                <a:gd name="T8" fmla="*/ 694 w 697"/>
                <a:gd name="T9" fmla="*/ 189 h 500"/>
                <a:gd name="T10" fmla="*/ 697 w 697"/>
                <a:gd name="T11" fmla="*/ 198 h 500"/>
                <a:gd name="T12" fmla="*/ 694 w 697"/>
                <a:gd name="T13" fmla="*/ 211 h 500"/>
                <a:gd name="T14" fmla="*/ 685 w 697"/>
                <a:gd name="T15" fmla="*/ 217 h 500"/>
                <a:gd name="T16" fmla="*/ 655 w 697"/>
                <a:gd name="T17" fmla="*/ 218 h 500"/>
                <a:gd name="T18" fmla="*/ 605 w 697"/>
                <a:gd name="T19" fmla="*/ 228 h 500"/>
                <a:gd name="T20" fmla="*/ 567 w 697"/>
                <a:gd name="T21" fmla="*/ 250 h 500"/>
                <a:gd name="T22" fmla="*/ 549 w 697"/>
                <a:gd name="T23" fmla="*/ 267 h 500"/>
                <a:gd name="T24" fmla="*/ 539 w 697"/>
                <a:gd name="T25" fmla="*/ 288 h 500"/>
                <a:gd name="T26" fmla="*/ 521 w 697"/>
                <a:gd name="T27" fmla="*/ 302 h 500"/>
                <a:gd name="T28" fmla="*/ 491 w 697"/>
                <a:gd name="T29" fmla="*/ 324 h 500"/>
                <a:gd name="T30" fmla="*/ 455 w 697"/>
                <a:gd name="T31" fmla="*/ 352 h 500"/>
                <a:gd name="T32" fmla="*/ 420 w 697"/>
                <a:gd name="T33" fmla="*/ 370 h 500"/>
                <a:gd name="T34" fmla="*/ 372 w 697"/>
                <a:gd name="T35" fmla="*/ 377 h 500"/>
                <a:gd name="T36" fmla="*/ 344 w 697"/>
                <a:gd name="T37" fmla="*/ 380 h 500"/>
                <a:gd name="T38" fmla="*/ 316 w 697"/>
                <a:gd name="T39" fmla="*/ 396 h 500"/>
                <a:gd name="T40" fmla="*/ 290 w 697"/>
                <a:gd name="T41" fmla="*/ 417 h 500"/>
                <a:gd name="T42" fmla="*/ 265 w 697"/>
                <a:gd name="T43" fmla="*/ 426 h 500"/>
                <a:gd name="T44" fmla="*/ 5 w 697"/>
                <a:gd name="T45" fmla="*/ 496 h 500"/>
                <a:gd name="T46" fmla="*/ 32 w 697"/>
                <a:gd name="T47" fmla="*/ 487 h 500"/>
                <a:gd name="T48" fmla="*/ 85 w 697"/>
                <a:gd name="T49" fmla="*/ 473 h 500"/>
                <a:gd name="T50" fmla="*/ 93 w 697"/>
                <a:gd name="T51" fmla="*/ 459 h 500"/>
                <a:gd name="T52" fmla="*/ 99 w 697"/>
                <a:gd name="T53" fmla="*/ 438 h 500"/>
                <a:gd name="T54" fmla="*/ 119 w 697"/>
                <a:gd name="T55" fmla="*/ 422 h 500"/>
                <a:gd name="T56" fmla="*/ 160 w 697"/>
                <a:gd name="T57" fmla="*/ 399 h 500"/>
                <a:gd name="T58" fmla="*/ 181 w 697"/>
                <a:gd name="T59" fmla="*/ 382 h 500"/>
                <a:gd name="T60" fmla="*/ 192 w 697"/>
                <a:gd name="T61" fmla="*/ 357 h 500"/>
                <a:gd name="T62" fmla="*/ 193 w 697"/>
                <a:gd name="T63" fmla="*/ 316 h 500"/>
                <a:gd name="T64" fmla="*/ 195 w 697"/>
                <a:gd name="T65" fmla="*/ 254 h 500"/>
                <a:gd name="T66" fmla="*/ 192 w 697"/>
                <a:gd name="T67" fmla="*/ 192 h 500"/>
                <a:gd name="T68" fmla="*/ 214 w 697"/>
                <a:gd name="T69" fmla="*/ 189 h 500"/>
                <a:gd name="T70" fmla="*/ 228 w 697"/>
                <a:gd name="T71" fmla="*/ 179 h 500"/>
                <a:gd name="T72" fmla="*/ 241 w 697"/>
                <a:gd name="T73" fmla="*/ 165 h 500"/>
                <a:gd name="T74" fmla="*/ 252 w 697"/>
                <a:gd name="T75" fmla="*/ 152 h 500"/>
                <a:gd name="T76" fmla="*/ 281 w 697"/>
                <a:gd name="T77" fmla="*/ 146 h 500"/>
                <a:gd name="T78" fmla="*/ 314 w 697"/>
                <a:gd name="T79" fmla="*/ 143 h 500"/>
                <a:gd name="T80" fmla="*/ 340 w 697"/>
                <a:gd name="T81" fmla="*/ 131 h 500"/>
                <a:gd name="T82" fmla="*/ 360 w 697"/>
                <a:gd name="T83" fmla="*/ 108 h 500"/>
                <a:gd name="T84" fmla="*/ 388 w 697"/>
                <a:gd name="T85" fmla="*/ 48 h 500"/>
                <a:gd name="T86" fmla="*/ 407 w 697"/>
                <a:gd name="T87" fmla="*/ 12 h 500"/>
                <a:gd name="T88" fmla="*/ 426 w 697"/>
                <a:gd name="T89" fmla="*/ 8 h 500"/>
                <a:gd name="T90" fmla="*/ 449 w 697"/>
                <a:gd name="T91" fmla="*/ 20 h 500"/>
                <a:gd name="T92" fmla="*/ 512 w 697"/>
                <a:gd name="T93" fmla="*/ 18 h 500"/>
                <a:gd name="T94" fmla="*/ 590 w 697"/>
                <a:gd name="T95" fmla="*/ 13 h 500"/>
                <a:gd name="T96" fmla="*/ 597 w 697"/>
                <a:gd name="T97" fmla="*/ 17 h 500"/>
                <a:gd name="T98" fmla="*/ 605 w 697"/>
                <a:gd name="T99" fmla="*/ 36 h 500"/>
                <a:gd name="T100" fmla="*/ 611 w 697"/>
                <a:gd name="T101" fmla="*/ 51 h 500"/>
                <a:gd name="T102" fmla="*/ 618 w 697"/>
                <a:gd name="T103" fmla="*/ 5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81" name="Freeform 547">
              <a:extLst>
                <a:ext uri="{FF2B5EF4-FFF2-40B4-BE49-F238E27FC236}">
                  <a16:creationId xmlns:a16="http://schemas.microsoft.com/office/drawing/2014/main" id="{3DD33DDF-D9B5-4D09-AF36-6B9EA079C990}"/>
                </a:ext>
              </a:extLst>
            </p:cNvPr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5916614" y="1463676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82" name="Freeform 548">
              <a:extLst>
                <a:ext uri="{FF2B5EF4-FFF2-40B4-BE49-F238E27FC236}">
                  <a16:creationId xmlns:a16="http://schemas.microsoft.com/office/drawing/2014/main" id="{8108E601-0525-4C25-A32F-F08A6F0399FE}"/>
                </a:ext>
              </a:extLst>
            </p:cNvPr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6427788" y="1447801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83" name="Freeform 549">
              <a:extLst>
                <a:ext uri="{FF2B5EF4-FFF2-40B4-BE49-F238E27FC236}">
                  <a16:creationId xmlns:a16="http://schemas.microsoft.com/office/drawing/2014/main" id="{1C0B7F08-4268-486B-AFF2-938CD612D06B}"/>
                </a:ext>
              </a:extLst>
            </p:cNvPr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6570663" y="143033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384" name="Freeform 550">
              <a:extLst>
                <a:ext uri="{FF2B5EF4-FFF2-40B4-BE49-F238E27FC236}">
                  <a16:creationId xmlns:a16="http://schemas.microsoft.com/office/drawing/2014/main" id="{9FCC800F-B6DC-4D81-BCD0-F49AD44BFFAA}"/>
                </a:ext>
              </a:extLst>
            </p:cNvPr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6607176" y="14382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553" name="Freeform: Shape 552">
            <a:extLst>
              <a:ext uri="{FF2B5EF4-FFF2-40B4-BE49-F238E27FC236}">
                <a16:creationId xmlns:a16="http://schemas.microsoft.com/office/drawing/2014/main" id="{B44604FF-6D15-4CB0-A53D-243D554ED699}"/>
              </a:ext>
            </a:extLst>
          </p:cNvPr>
          <p:cNvSpPr/>
          <p:nvPr/>
        </p:nvSpPr>
        <p:spPr>
          <a:xfrm>
            <a:off x="5039591" y="2628900"/>
            <a:ext cx="2421082" cy="1236518"/>
          </a:xfrm>
          <a:custGeom>
            <a:avLst/>
            <a:gdLst>
              <a:gd name="connsiteX0" fmla="*/ 2421082 w 2421082"/>
              <a:gd name="connsiteY0" fmla="*/ 841664 h 1236518"/>
              <a:gd name="connsiteX1" fmla="*/ 2410691 w 2421082"/>
              <a:gd name="connsiteY1" fmla="*/ 1039091 h 1236518"/>
              <a:gd name="connsiteX2" fmla="*/ 2369127 w 2421082"/>
              <a:gd name="connsiteY2" fmla="*/ 1132609 h 1236518"/>
              <a:gd name="connsiteX3" fmla="*/ 2306782 w 2421082"/>
              <a:gd name="connsiteY3" fmla="*/ 1174173 h 1236518"/>
              <a:gd name="connsiteX4" fmla="*/ 2275609 w 2421082"/>
              <a:gd name="connsiteY4" fmla="*/ 1184564 h 1236518"/>
              <a:gd name="connsiteX5" fmla="*/ 2244436 w 2421082"/>
              <a:gd name="connsiteY5" fmla="*/ 1205345 h 1236518"/>
              <a:gd name="connsiteX6" fmla="*/ 1891145 w 2421082"/>
              <a:gd name="connsiteY6" fmla="*/ 1215736 h 1236518"/>
              <a:gd name="connsiteX7" fmla="*/ 1797627 w 2421082"/>
              <a:gd name="connsiteY7" fmla="*/ 1236518 h 1236518"/>
              <a:gd name="connsiteX8" fmla="*/ 1704109 w 2421082"/>
              <a:gd name="connsiteY8" fmla="*/ 1226127 h 1236518"/>
              <a:gd name="connsiteX9" fmla="*/ 1662545 w 2421082"/>
              <a:gd name="connsiteY9" fmla="*/ 1122218 h 1236518"/>
              <a:gd name="connsiteX10" fmla="*/ 1652154 w 2421082"/>
              <a:gd name="connsiteY10" fmla="*/ 1091045 h 1236518"/>
              <a:gd name="connsiteX11" fmla="*/ 1631373 w 2421082"/>
              <a:gd name="connsiteY11" fmla="*/ 1059873 h 1236518"/>
              <a:gd name="connsiteX12" fmla="*/ 1620982 w 2421082"/>
              <a:gd name="connsiteY12" fmla="*/ 1028700 h 1236518"/>
              <a:gd name="connsiteX13" fmla="*/ 1589809 w 2421082"/>
              <a:gd name="connsiteY13" fmla="*/ 997527 h 1236518"/>
              <a:gd name="connsiteX14" fmla="*/ 1548245 w 2421082"/>
              <a:gd name="connsiteY14" fmla="*/ 945573 h 1236518"/>
              <a:gd name="connsiteX15" fmla="*/ 1496291 w 2421082"/>
              <a:gd name="connsiteY15" fmla="*/ 904009 h 1236518"/>
              <a:gd name="connsiteX16" fmla="*/ 1454727 w 2421082"/>
              <a:gd name="connsiteY16" fmla="*/ 841664 h 1236518"/>
              <a:gd name="connsiteX17" fmla="*/ 1402773 w 2421082"/>
              <a:gd name="connsiteY17" fmla="*/ 779318 h 1236518"/>
              <a:gd name="connsiteX18" fmla="*/ 1371600 w 2421082"/>
              <a:gd name="connsiteY18" fmla="*/ 716973 h 1236518"/>
              <a:gd name="connsiteX19" fmla="*/ 1340427 w 2421082"/>
              <a:gd name="connsiteY19" fmla="*/ 685800 h 1236518"/>
              <a:gd name="connsiteX20" fmla="*/ 1319645 w 2421082"/>
              <a:gd name="connsiteY20" fmla="*/ 654627 h 1236518"/>
              <a:gd name="connsiteX21" fmla="*/ 1257300 w 2421082"/>
              <a:gd name="connsiteY21" fmla="*/ 613064 h 1236518"/>
              <a:gd name="connsiteX22" fmla="*/ 1236518 w 2421082"/>
              <a:gd name="connsiteY22" fmla="*/ 581891 h 1236518"/>
              <a:gd name="connsiteX23" fmla="*/ 1205345 w 2421082"/>
              <a:gd name="connsiteY23" fmla="*/ 571500 h 1236518"/>
              <a:gd name="connsiteX24" fmla="*/ 1070264 w 2421082"/>
              <a:gd name="connsiteY24" fmla="*/ 529936 h 1236518"/>
              <a:gd name="connsiteX25" fmla="*/ 1070264 w 2421082"/>
              <a:gd name="connsiteY25" fmla="*/ 529936 h 1236518"/>
              <a:gd name="connsiteX26" fmla="*/ 1007918 w 2421082"/>
              <a:gd name="connsiteY26" fmla="*/ 509155 h 1236518"/>
              <a:gd name="connsiteX27" fmla="*/ 924791 w 2421082"/>
              <a:gd name="connsiteY27" fmla="*/ 488373 h 1236518"/>
              <a:gd name="connsiteX28" fmla="*/ 893618 w 2421082"/>
              <a:gd name="connsiteY28" fmla="*/ 477982 h 1236518"/>
              <a:gd name="connsiteX29" fmla="*/ 852054 w 2421082"/>
              <a:gd name="connsiteY29" fmla="*/ 467591 h 1236518"/>
              <a:gd name="connsiteX30" fmla="*/ 789709 w 2421082"/>
              <a:gd name="connsiteY30" fmla="*/ 446809 h 1236518"/>
              <a:gd name="connsiteX31" fmla="*/ 623454 w 2421082"/>
              <a:gd name="connsiteY31" fmla="*/ 415636 h 1236518"/>
              <a:gd name="connsiteX32" fmla="*/ 342900 w 2421082"/>
              <a:gd name="connsiteY32" fmla="*/ 426027 h 1236518"/>
              <a:gd name="connsiteX33" fmla="*/ 311727 w 2421082"/>
              <a:gd name="connsiteY33" fmla="*/ 436418 h 1236518"/>
              <a:gd name="connsiteX34" fmla="*/ 270164 w 2421082"/>
              <a:gd name="connsiteY34" fmla="*/ 446809 h 1236518"/>
              <a:gd name="connsiteX35" fmla="*/ 207818 w 2421082"/>
              <a:gd name="connsiteY35" fmla="*/ 467591 h 1236518"/>
              <a:gd name="connsiteX36" fmla="*/ 114300 w 2421082"/>
              <a:gd name="connsiteY36" fmla="*/ 498764 h 1236518"/>
              <a:gd name="connsiteX37" fmla="*/ 83127 w 2421082"/>
              <a:gd name="connsiteY37" fmla="*/ 509155 h 1236518"/>
              <a:gd name="connsiteX38" fmla="*/ 51954 w 2421082"/>
              <a:gd name="connsiteY38" fmla="*/ 519545 h 1236518"/>
              <a:gd name="connsiteX39" fmla="*/ 20782 w 2421082"/>
              <a:gd name="connsiteY39" fmla="*/ 457200 h 1236518"/>
              <a:gd name="connsiteX40" fmla="*/ 0 w 2421082"/>
              <a:gd name="connsiteY40" fmla="*/ 353291 h 1236518"/>
              <a:gd name="connsiteX41" fmla="*/ 10391 w 2421082"/>
              <a:gd name="connsiteY41" fmla="*/ 259773 h 1236518"/>
              <a:gd name="connsiteX42" fmla="*/ 20782 w 2421082"/>
              <a:gd name="connsiteY42" fmla="*/ 228600 h 1236518"/>
              <a:gd name="connsiteX43" fmla="*/ 114300 w 2421082"/>
              <a:gd name="connsiteY43" fmla="*/ 155864 h 1236518"/>
              <a:gd name="connsiteX44" fmla="*/ 176645 w 2421082"/>
              <a:gd name="connsiteY44" fmla="*/ 114300 h 1236518"/>
              <a:gd name="connsiteX45" fmla="*/ 207818 w 2421082"/>
              <a:gd name="connsiteY45" fmla="*/ 93518 h 1236518"/>
              <a:gd name="connsiteX46" fmla="*/ 238991 w 2421082"/>
              <a:gd name="connsiteY46" fmla="*/ 83127 h 1236518"/>
              <a:gd name="connsiteX47" fmla="*/ 301336 w 2421082"/>
              <a:gd name="connsiteY47" fmla="*/ 51955 h 1236518"/>
              <a:gd name="connsiteX48" fmla="*/ 332509 w 2421082"/>
              <a:gd name="connsiteY48" fmla="*/ 31173 h 1236518"/>
              <a:gd name="connsiteX49" fmla="*/ 353291 w 2421082"/>
              <a:gd name="connsiteY49" fmla="*/ 0 h 12365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2421082" h="1236518">
                <a:moveTo>
                  <a:pt x="2421082" y="841664"/>
                </a:moveTo>
                <a:cubicBezTo>
                  <a:pt x="2417618" y="907473"/>
                  <a:pt x="2418543" y="973660"/>
                  <a:pt x="2410691" y="1039091"/>
                </a:cubicBezTo>
                <a:cubicBezTo>
                  <a:pt x="2408486" y="1057469"/>
                  <a:pt x="2389218" y="1115029"/>
                  <a:pt x="2369127" y="1132609"/>
                </a:cubicBezTo>
                <a:cubicBezTo>
                  <a:pt x="2350330" y="1149056"/>
                  <a:pt x="2330477" y="1166275"/>
                  <a:pt x="2306782" y="1174173"/>
                </a:cubicBezTo>
                <a:cubicBezTo>
                  <a:pt x="2296391" y="1177637"/>
                  <a:pt x="2285406" y="1179666"/>
                  <a:pt x="2275609" y="1184564"/>
                </a:cubicBezTo>
                <a:cubicBezTo>
                  <a:pt x="2264439" y="1190149"/>
                  <a:pt x="2256883" y="1204336"/>
                  <a:pt x="2244436" y="1205345"/>
                </a:cubicBezTo>
                <a:cubicBezTo>
                  <a:pt x="2127007" y="1214866"/>
                  <a:pt x="2008909" y="1212272"/>
                  <a:pt x="1891145" y="1215736"/>
                </a:cubicBezTo>
                <a:cubicBezTo>
                  <a:pt x="1858999" y="1226452"/>
                  <a:pt x="1834203" y="1236518"/>
                  <a:pt x="1797627" y="1236518"/>
                </a:cubicBezTo>
                <a:cubicBezTo>
                  <a:pt x="1766262" y="1236518"/>
                  <a:pt x="1735282" y="1229591"/>
                  <a:pt x="1704109" y="1226127"/>
                </a:cubicBezTo>
                <a:cubicBezTo>
                  <a:pt x="1673530" y="1164971"/>
                  <a:pt x="1688225" y="1199259"/>
                  <a:pt x="1662545" y="1122218"/>
                </a:cubicBezTo>
                <a:cubicBezTo>
                  <a:pt x="1659081" y="1111827"/>
                  <a:pt x="1658230" y="1100159"/>
                  <a:pt x="1652154" y="1091045"/>
                </a:cubicBezTo>
                <a:cubicBezTo>
                  <a:pt x="1645227" y="1080654"/>
                  <a:pt x="1636958" y="1071043"/>
                  <a:pt x="1631373" y="1059873"/>
                </a:cubicBezTo>
                <a:cubicBezTo>
                  <a:pt x="1626475" y="1050076"/>
                  <a:pt x="1627058" y="1037814"/>
                  <a:pt x="1620982" y="1028700"/>
                </a:cubicBezTo>
                <a:cubicBezTo>
                  <a:pt x="1612831" y="1016473"/>
                  <a:pt x="1600200" y="1007918"/>
                  <a:pt x="1589809" y="997527"/>
                </a:cubicBezTo>
                <a:cubicBezTo>
                  <a:pt x="1569579" y="936840"/>
                  <a:pt x="1595246" y="992575"/>
                  <a:pt x="1548245" y="945573"/>
                </a:cubicBezTo>
                <a:cubicBezTo>
                  <a:pt x="1501245" y="898572"/>
                  <a:pt x="1556979" y="924238"/>
                  <a:pt x="1496291" y="904009"/>
                </a:cubicBezTo>
                <a:cubicBezTo>
                  <a:pt x="1482436" y="883227"/>
                  <a:pt x="1472388" y="859325"/>
                  <a:pt x="1454727" y="841664"/>
                </a:cubicBezTo>
                <a:cubicBezTo>
                  <a:pt x="1431745" y="818682"/>
                  <a:pt x="1417240" y="808253"/>
                  <a:pt x="1402773" y="779318"/>
                </a:cubicBezTo>
                <a:cubicBezTo>
                  <a:pt x="1379343" y="732456"/>
                  <a:pt x="1408822" y="761639"/>
                  <a:pt x="1371600" y="716973"/>
                </a:cubicBezTo>
                <a:cubicBezTo>
                  <a:pt x="1362192" y="705684"/>
                  <a:pt x="1349835" y="697089"/>
                  <a:pt x="1340427" y="685800"/>
                </a:cubicBezTo>
                <a:cubicBezTo>
                  <a:pt x="1332432" y="676206"/>
                  <a:pt x="1329044" y="662851"/>
                  <a:pt x="1319645" y="654627"/>
                </a:cubicBezTo>
                <a:cubicBezTo>
                  <a:pt x="1300848" y="638180"/>
                  <a:pt x="1257300" y="613064"/>
                  <a:pt x="1257300" y="613064"/>
                </a:cubicBezTo>
                <a:cubicBezTo>
                  <a:pt x="1250373" y="602673"/>
                  <a:pt x="1246270" y="589692"/>
                  <a:pt x="1236518" y="581891"/>
                </a:cubicBezTo>
                <a:cubicBezTo>
                  <a:pt x="1227965" y="575049"/>
                  <a:pt x="1215142" y="576398"/>
                  <a:pt x="1205345" y="571500"/>
                </a:cubicBezTo>
                <a:cubicBezTo>
                  <a:pt x="1111136" y="524395"/>
                  <a:pt x="1281589" y="572201"/>
                  <a:pt x="1070264" y="529936"/>
                </a:cubicBezTo>
                <a:lnTo>
                  <a:pt x="1070264" y="529936"/>
                </a:lnTo>
                <a:cubicBezTo>
                  <a:pt x="1049482" y="523009"/>
                  <a:pt x="1029170" y="514468"/>
                  <a:pt x="1007918" y="509155"/>
                </a:cubicBezTo>
                <a:cubicBezTo>
                  <a:pt x="980209" y="502228"/>
                  <a:pt x="951887" y="497405"/>
                  <a:pt x="924791" y="488373"/>
                </a:cubicBezTo>
                <a:cubicBezTo>
                  <a:pt x="914400" y="484909"/>
                  <a:pt x="904150" y="480991"/>
                  <a:pt x="893618" y="477982"/>
                </a:cubicBezTo>
                <a:cubicBezTo>
                  <a:pt x="879886" y="474059"/>
                  <a:pt x="865733" y="471695"/>
                  <a:pt x="852054" y="467591"/>
                </a:cubicBezTo>
                <a:cubicBezTo>
                  <a:pt x="831072" y="461296"/>
                  <a:pt x="811317" y="450410"/>
                  <a:pt x="789709" y="446809"/>
                </a:cubicBezTo>
                <a:cubicBezTo>
                  <a:pt x="650931" y="423679"/>
                  <a:pt x="705897" y="436247"/>
                  <a:pt x="623454" y="415636"/>
                </a:cubicBezTo>
                <a:cubicBezTo>
                  <a:pt x="529936" y="419100"/>
                  <a:pt x="436275" y="419802"/>
                  <a:pt x="342900" y="426027"/>
                </a:cubicBezTo>
                <a:cubicBezTo>
                  <a:pt x="331971" y="426756"/>
                  <a:pt x="322259" y="433409"/>
                  <a:pt x="311727" y="436418"/>
                </a:cubicBezTo>
                <a:cubicBezTo>
                  <a:pt x="297996" y="440341"/>
                  <a:pt x="283842" y="442705"/>
                  <a:pt x="270164" y="446809"/>
                </a:cubicBezTo>
                <a:cubicBezTo>
                  <a:pt x="249182" y="453104"/>
                  <a:pt x="228600" y="460664"/>
                  <a:pt x="207818" y="467591"/>
                </a:cubicBezTo>
                <a:lnTo>
                  <a:pt x="114300" y="498764"/>
                </a:lnTo>
                <a:lnTo>
                  <a:pt x="83127" y="509155"/>
                </a:lnTo>
                <a:lnTo>
                  <a:pt x="51954" y="519545"/>
                </a:lnTo>
                <a:cubicBezTo>
                  <a:pt x="32791" y="490800"/>
                  <a:pt x="28374" y="490098"/>
                  <a:pt x="20782" y="457200"/>
                </a:cubicBezTo>
                <a:cubicBezTo>
                  <a:pt x="12839" y="422782"/>
                  <a:pt x="0" y="353291"/>
                  <a:pt x="0" y="353291"/>
                </a:cubicBezTo>
                <a:cubicBezTo>
                  <a:pt x="3464" y="322118"/>
                  <a:pt x="5235" y="290711"/>
                  <a:pt x="10391" y="259773"/>
                </a:cubicBezTo>
                <a:cubicBezTo>
                  <a:pt x="12192" y="248969"/>
                  <a:pt x="14706" y="237714"/>
                  <a:pt x="20782" y="228600"/>
                </a:cubicBezTo>
                <a:cubicBezTo>
                  <a:pt x="40317" y="199297"/>
                  <a:pt x="89525" y="172381"/>
                  <a:pt x="114300" y="155864"/>
                </a:cubicBezTo>
                <a:lnTo>
                  <a:pt x="176645" y="114300"/>
                </a:lnTo>
                <a:cubicBezTo>
                  <a:pt x="187036" y="107373"/>
                  <a:pt x="195970" y="97467"/>
                  <a:pt x="207818" y="93518"/>
                </a:cubicBezTo>
                <a:cubicBezTo>
                  <a:pt x="218209" y="90054"/>
                  <a:pt x="229194" y="88025"/>
                  <a:pt x="238991" y="83127"/>
                </a:cubicBezTo>
                <a:cubicBezTo>
                  <a:pt x="319558" y="42843"/>
                  <a:pt x="222989" y="78069"/>
                  <a:pt x="301336" y="51955"/>
                </a:cubicBezTo>
                <a:cubicBezTo>
                  <a:pt x="311727" y="45028"/>
                  <a:pt x="323678" y="40004"/>
                  <a:pt x="332509" y="31173"/>
                </a:cubicBezTo>
                <a:cubicBezTo>
                  <a:pt x="341340" y="22342"/>
                  <a:pt x="353291" y="0"/>
                  <a:pt x="353291" y="0"/>
                </a:cubicBezTo>
              </a:path>
            </a:pathLst>
          </a:custGeom>
          <a:noFill/>
          <a:ln w="508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54" name="TextBox 553">
            <a:extLst>
              <a:ext uri="{FF2B5EF4-FFF2-40B4-BE49-F238E27FC236}">
                <a16:creationId xmlns:a16="http://schemas.microsoft.com/office/drawing/2014/main" id="{84BBB66E-54BA-4923-BC2A-A3205FB0B093}"/>
              </a:ext>
            </a:extLst>
          </p:cNvPr>
          <p:cNvSpPr txBox="1"/>
          <p:nvPr/>
        </p:nvSpPr>
        <p:spPr>
          <a:xfrm>
            <a:off x="6871932" y="3822671"/>
            <a:ext cx="14417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1952 by ship to UK</a:t>
            </a:r>
          </a:p>
        </p:txBody>
      </p:sp>
      <p:cxnSp>
        <p:nvCxnSpPr>
          <p:cNvPr id="556" name="Straight Arrow Connector 555">
            <a:extLst>
              <a:ext uri="{FF2B5EF4-FFF2-40B4-BE49-F238E27FC236}">
                <a16:creationId xmlns:a16="http://schemas.microsoft.com/office/drawing/2014/main" id="{8C189FD1-8D0A-4869-9096-52C9252B56AA}"/>
              </a:ext>
            </a:extLst>
          </p:cNvPr>
          <p:cNvCxnSpPr>
            <a:stCxn id="12" idx="35"/>
          </p:cNvCxnSpPr>
          <p:nvPr/>
        </p:nvCxnSpPr>
        <p:spPr>
          <a:xfrm flipH="1">
            <a:off x="2752619" y="2634915"/>
            <a:ext cx="2567651" cy="352730"/>
          </a:xfrm>
          <a:prstGeom prst="straightConnector1">
            <a:avLst/>
          </a:prstGeom>
          <a:ln w="508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7" name="TextBox 556">
            <a:extLst>
              <a:ext uri="{FF2B5EF4-FFF2-40B4-BE49-F238E27FC236}">
                <a16:creationId xmlns:a16="http://schemas.microsoft.com/office/drawing/2014/main" id="{49B8E366-2FCC-4140-9FFA-A32B2831C6E7}"/>
              </a:ext>
            </a:extLst>
          </p:cNvPr>
          <p:cNvSpPr txBox="1"/>
          <p:nvPr/>
        </p:nvSpPr>
        <p:spPr>
          <a:xfrm>
            <a:off x="289057" y="2384427"/>
            <a:ext cx="46643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1981 UK to St Charles, Illinois (3 days)</a:t>
            </a:r>
          </a:p>
        </p:txBody>
      </p:sp>
      <p:cxnSp>
        <p:nvCxnSpPr>
          <p:cNvPr id="558" name="Straight Arrow Connector 557">
            <a:extLst>
              <a:ext uri="{FF2B5EF4-FFF2-40B4-BE49-F238E27FC236}">
                <a16:creationId xmlns:a16="http://schemas.microsoft.com/office/drawing/2014/main" id="{08545E86-64B8-433F-80A7-42032B507D7C}"/>
              </a:ext>
            </a:extLst>
          </p:cNvPr>
          <p:cNvCxnSpPr>
            <a:cxnSpLocks/>
            <a:stCxn id="6" idx="50"/>
            <a:endCxn id="6" idx="8"/>
          </p:cNvCxnSpPr>
          <p:nvPr/>
        </p:nvCxnSpPr>
        <p:spPr>
          <a:xfrm>
            <a:off x="2862306" y="2945730"/>
            <a:ext cx="250650" cy="153255"/>
          </a:xfrm>
          <a:prstGeom prst="straightConnector1">
            <a:avLst/>
          </a:prstGeom>
          <a:ln w="508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1" name="TextBox 560">
            <a:extLst>
              <a:ext uri="{FF2B5EF4-FFF2-40B4-BE49-F238E27FC236}">
                <a16:creationId xmlns:a16="http://schemas.microsoft.com/office/drawing/2014/main" id="{10452710-32F6-43A4-8C32-8FCB0A2813E6}"/>
              </a:ext>
            </a:extLst>
          </p:cNvPr>
          <p:cNvSpPr txBox="1"/>
          <p:nvPr/>
        </p:nvSpPr>
        <p:spPr>
          <a:xfrm>
            <a:off x="1043644" y="3207792"/>
            <a:ext cx="43279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St Charles to Washington (3 days)</a:t>
            </a:r>
          </a:p>
        </p:txBody>
      </p:sp>
      <p:sp>
        <p:nvSpPr>
          <p:cNvPr id="562" name="TextBox 561">
            <a:extLst>
              <a:ext uri="{FF2B5EF4-FFF2-40B4-BE49-F238E27FC236}">
                <a16:creationId xmlns:a16="http://schemas.microsoft.com/office/drawing/2014/main" id="{D5BB0F89-375B-4D42-8C60-EAE9A2EE1730}"/>
              </a:ext>
            </a:extLst>
          </p:cNvPr>
          <p:cNvSpPr txBox="1"/>
          <p:nvPr/>
        </p:nvSpPr>
        <p:spPr>
          <a:xfrm>
            <a:off x="947428" y="6237312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Slide </a:t>
            </a:r>
            <a:fld id="{B8D4D8F1-594F-4164-A7A5-512E320BA361}" type="slidenum">
              <a:rPr lang="en-GB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24459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473870-AFFA-4F6C-8A2D-C2CA3787B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We choose what we consum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3A34DA-3FE2-4653-96F4-29C066428F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Magazines</a:t>
            </a:r>
          </a:p>
          <a:p>
            <a:pPr lvl="1"/>
            <a:r>
              <a:rPr lang="en-GB" dirty="0"/>
              <a:t>Time</a:t>
            </a:r>
          </a:p>
          <a:p>
            <a:pPr lvl="1"/>
            <a:r>
              <a:rPr lang="en-GB" dirty="0"/>
              <a:t>Newsweek</a:t>
            </a:r>
          </a:p>
          <a:p>
            <a:pPr lvl="1"/>
            <a:r>
              <a:rPr lang="en-GB" dirty="0"/>
              <a:t>The New York Review of Books</a:t>
            </a:r>
          </a:p>
          <a:p>
            <a:r>
              <a:rPr lang="en-GB" dirty="0"/>
              <a:t>TV</a:t>
            </a:r>
          </a:p>
          <a:p>
            <a:pPr lvl="1"/>
            <a:r>
              <a:rPr lang="en-GB" dirty="0"/>
              <a:t>US politics from age of 10</a:t>
            </a:r>
          </a:p>
          <a:p>
            <a:pPr lvl="1"/>
            <a:r>
              <a:rPr lang="en-GB" dirty="0"/>
              <a:t>“Slattery’s People”</a:t>
            </a:r>
          </a:p>
          <a:p>
            <a:r>
              <a:rPr lang="en-GB" dirty="0"/>
              <a:t>Book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F95D49F-02D6-467F-884C-9E37F4358AFE}"/>
              </a:ext>
            </a:extLst>
          </p:cNvPr>
          <p:cNvSpPr txBox="1"/>
          <p:nvPr/>
        </p:nvSpPr>
        <p:spPr>
          <a:xfrm>
            <a:off x="947428" y="6237312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Slide </a:t>
            </a:r>
            <a:fld id="{B8D4D8F1-594F-4164-A7A5-512E320BA361}" type="slidenum">
              <a:rPr lang="en-GB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50789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5440" y="2747772"/>
            <a:ext cx="10081120" cy="1362456"/>
          </a:xfrm>
        </p:spPr>
        <p:txBody>
          <a:bodyPr/>
          <a:lstStyle/>
          <a:p>
            <a:r>
              <a:rPr lang="en-GB" dirty="0"/>
              <a:t>A closer look at my care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8A48381-0B28-4A73-9B03-CEBF2E151D53}"/>
              </a:ext>
            </a:extLst>
          </p:cNvPr>
          <p:cNvSpPr txBox="1"/>
          <p:nvPr/>
        </p:nvSpPr>
        <p:spPr>
          <a:xfrm>
            <a:off x="947428" y="6237312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Slide </a:t>
            </a:r>
            <a:fld id="{B8D4D8F1-594F-4164-A7A5-512E320BA361}" type="slidenum">
              <a:rPr lang="en-GB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22194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678AC4-2F2E-41BF-B243-B71D898DB8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Tax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D2C592-C412-4B77-8F26-9F48B57A1E5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Country specific</a:t>
            </a:r>
          </a:p>
          <a:p>
            <a:r>
              <a:rPr lang="en-GB" dirty="0"/>
              <a:t>Advised only on UK tax</a:t>
            </a:r>
          </a:p>
          <a:p>
            <a:r>
              <a:rPr lang="en-GB" dirty="0"/>
              <a:t>Other country tax systems?</a:t>
            </a:r>
          </a:p>
          <a:p>
            <a:pPr lvl="1"/>
            <a:r>
              <a:rPr lang="en-GB" dirty="0"/>
              <a:t>Cannot advise US multinationals on UK tax without understanding US tax law.</a:t>
            </a:r>
          </a:p>
          <a:p>
            <a:pPr lvl="1"/>
            <a:r>
              <a:rPr lang="en-GB" dirty="0"/>
              <a:t>Ditto other countries?</a:t>
            </a:r>
          </a:p>
          <a:p>
            <a:r>
              <a:rPr lang="en-GB" dirty="0"/>
              <a:t>When your client invests overseas</a:t>
            </a:r>
          </a:p>
          <a:p>
            <a:pPr lvl="1"/>
            <a:r>
              <a:rPr lang="en-GB" dirty="0"/>
              <a:t>Is the foreign tax advice any good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70AE684-C389-47E0-AA9C-2230A7224EFC}"/>
              </a:ext>
            </a:extLst>
          </p:cNvPr>
          <p:cNvSpPr txBox="1"/>
          <p:nvPr/>
        </p:nvSpPr>
        <p:spPr>
          <a:xfrm>
            <a:off x="947428" y="6237312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Slide </a:t>
            </a:r>
            <a:fld id="{B8D4D8F1-594F-4164-A7A5-512E320BA361}" type="slidenum">
              <a:rPr lang="en-GB"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19434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50BD01-C995-4795-BB19-D9E4F5796E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Big international transac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B6C4DC-1136-4915-AE75-799DBA3F6D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UK parent company</a:t>
            </a:r>
          </a:p>
          <a:p>
            <a:pPr lvl="1"/>
            <a:r>
              <a:rPr lang="en-GB" dirty="0"/>
              <a:t>Subsidiaries in 30-40 overseas countries</a:t>
            </a:r>
          </a:p>
          <a:p>
            <a:pPr lvl="1"/>
            <a:r>
              <a:rPr lang="en-GB" dirty="0"/>
              <a:t>Selling the lot</a:t>
            </a:r>
          </a:p>
          <a:p>
            <a:pPr lvl="2"/>
            <a:r>
              <a:rPr lang="en-GB" dirty="0"/>
              <a:t>Tax advice from overseas?</a:t>
            </a:r>
          </a:p>
          <a:p>
            <a:pPr lvl="2"/>
            <a:r>
              <a:rPr lang="en-GB" dirty="0"/>
              <a:t>Interaction with UK taxes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1BEDFCA-EE85-4CDB-90E6-8E330E1E10C9}"/>
              </a:ext>
            </a:extLst>
          </p:cNvPr>
          <p:cNvSpPr txBox="1"/>
          <p:nvPr/>
        </p:nvSpPr>
        <p:spPr>
          <a:xfrm>
            <a:off x="947428" y="6237312"/>
            <a:ext cx="1080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Slide </a:t>
            </a:r>
            <a:fld id="{B8D4D8F1-594F-4164-A7A5-512E320BA361}" type="slidenum">
              <a:rPr lang="en-GB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62384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4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Flow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low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  <a:scene3d>
            <a:camera prst="orthographicFront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25</TotalTime>
  <Words>723</Words>
  <Application>Microsoft Office PowerPoint</Application>
  <PresentationFormat>Widescreen</PresentationFormat>
  <Paragraphs>162</Paragraphs>
  <Slides>25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0" baseType="lpstr">
      <vt:lpstr>Arial</vt:lpstr>
      <vt:lpstr>Calibri</vt:lpstr>
      <vt:lpstr>Times New Roman</vt:lpstr>
      <vt:lpstr>Wingdings 2</vt:lpstr>
      <vt:lpstr>Flow</vt:lpstr>
      <vt:lpstr>Globalising Yourself  and Your Career</vt:lpstr>
      <vt:lpstr>Outline</vt:lpstr>
      <vt:lpstr>Mohammed Amin - chronology</vt:lpstr>
      <vt:lpstr>Being global is a state of mind</vt:lpstr>
      <vt:lpstr>My first travels</vt:lpstr>
      <vt:lpstr>We choose what we consume</vt:lpstr>
      <vt:lpstr>A closer look at my career</vt:lpstr>
      <vt:lpstr>Taxation</vt:lpstr>
      <vt:lpstr>Big international transactions</vt:lpstr>
      <vt:lpstr>You have to meet in person</vt:lpstr>
      <vt:lpstr>My millennial children</vt:lpstr>
      <vt:lpstr>Son 1 - writer</vt:lpstr>
      <vt:lpstr>Son 2 – computer programmer</vt:lpstr>
      <vt:lpstr>Daughter 1 - consultant</vt:lpstr>
      <vt:lpstr>Daughter 2 - linguist</vt:lpstr>
      <vt:lpstr>The future for you</vt:lpstr>
      <vt:lpstr>Yogi Berra</vt:lpstr>
      <vt:lpstr>Berkshire Hathaway 2018 accounts</vt:lpstr>
      <vt:lpstr>UK Real average salary per capita</vt:lpstr>
      <vt:lpstr>My television</vt:lpstr>
      <vt:lpstr>What I wanted as a teenager</vt:lpstr>
      <vt:lpstr>Some trends</vt:lpstr>
      <vt:lpstr>My personal expectations</vt:lpstr>
      <vt:lpstr>Some saw it coming</vt:lpstr>
      <vt:lpstr>Q &amp; 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ne Muslim’s Perspective on Religious Freedom</dc:title>
  <dc:creator>Mohammed Amin</dc:creator>
  <cp:lastModifiedBy>Mohammed Amin</cp:lastModifiedBy>
  <cp:revision>223</cp:revision>
  <cp:lastPrinted>2016-04-10T19:58:50Z</cp:lastPrinted>
  <dcterms:created xsi:type="dcterms:W3CDTF">2013-01-29T13:10:06Z</dcterms:created>
  <dcterms:modified xsi:type="dcterms:W3CDTF">2019-03-05T14:50:58Z</dcterms:modified>
</cp:coreProperties>
</file>